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4" r:id="rId2"/>
  </p:sldMasterIdLst>
  <p:notesMasterIdLst>
    <p:notesMasterId r:id="rId15"/>
  </p:notesMasterIdLst>
  <p:sldIdLst>
    <p:sldId id="329" r:id="rId3"/>
    <p:sldId id="330" r:id="rId4"/>
    <p:sldId id="331" r:id="rId5"/>
    <p:sldId id="332" r:id="rId6"/>
    <p:sldId id="333" r:id="rId7"/>
    <p:sldId id="334" r:id="rId8"/>
    <p:sldId id="335" r:id="rId9"/>
    <p:sldId id="336" r:id="rId10"/>
    <p:sldId id="338" r:id="rId11"/>
    <p:sldId id="339" r:id="rId12"/>
    <p:sldId id="340" r:id="rId13"/>
    <p:sldId id="341" r:id="rId1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E68"/>
    <a:srgbClr val="D8CF12"/>
    <a:srgbClr val="D5551B"/>
    <a:srgbClr val="006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381" autoAdjust="0"/>
    <p:restoredTop sz="74767" autoAdjust="0"/>
  </p:normalViewPr>
  <p:slideViewPr>
    <p:cSldViewPr snapToGrid="0">
      <p:cViewPr>
        <p:scale>
          <a:sx n="50" d="100"/>
          <a:sy n="50" d="100"/>
        </p:scale>
        <p:origin x="2658" y="1122"/>
      </p:cViewPr>
      <p:guideLst>
        <p:guide orient="horz" pos="2160"/>
        <p:guide pos="3840"/>
      </p:guideLst>
    </p:cSldViewPr>
  </p:slideViewPr>
  <p:notesTextViewPr>
    <p:cViewPr>
      <p:scale>
        <a:sx n="3" d="2"/>
        <a:sy n="3" d="2"/>
      </p:scale>
      <p:origin x="0" y="0"/>
    </p:cViewPr>
  </p:notesTextViewPr>
  <p:notesViewPr>
    <p:cSldViewPr snapToGrid="0">
      <p:cViewPr varScale="1">
        <p:scale>
          <a:sx n="88" d="100"/>
          <a:sy n="88" d="100"/>
        </p:scale>
        <p:origin x="382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0.02.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a:t>
            </a:fld>
            <a:endParaRPr lang="de-DE"/>
          </a:p>
        </p:txBody>
      </p:sp>
    </p:spTree>
    <p:extLst>
      <p:ext uri="{BB962C8B-B14F-4D97-AF65-F5344CB8AC3E}">
        <p14:creationId xmlns:p14="http://schemas.microsoft.com/office/powerpoint/2010/main" val="2631333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807F85C0-2A65-49A7-B383-F9EA42915A74}"/>
              </a:ext>
            </a:extLst>
          </p:cNvPr>
          <p:cNvSpPr>
            <a:spLocks noGrp="1" noChangeArrowheads="1"/>
          </p:cNvSpPr>
          <p:nvPr>
            <p:ph type="sldNum" sz="quarter" idx="5"/>
          </p:nvPr>
        </p:nvSpPr>
        <p:spPr>
          <a:ln/>
        </p:spPr>
        <p:txBody>
          <a:bodyPr/>
          <a:lstStyle/>
          <a:p>
            <a:fld id="{C53A6BB9-484A-4C8F-ACD2-E9748AF65EFB}" type="slidenum">
              <a:rPr lang="de-DE" altLang="en-DE"/>
              <a:pPr/>
              <a:t>6</a:t>
            </a:fld>
            <a:endParaRPr lang="de-DE" altLang="en-DE"/>
          </a:p>
        </p:txBody>
      </p:sp>
      <p:sp>
        <p:nvSpPr>
          <p:cNvPr id="410626" name="Rectangle 2">
            <a:extLst>
              <a:ext uri="{FF2B5EF4-FFF2-40B4-BE49-F238E27FC236}">
                <a16:creationId xmlns:a16="http://schemas.microsoft.com/office/drawing/2014/main" id="{4C907509-D687-44D4-8210-79A255E4A03F}"/>
              </a:ext>
            </a:extLst>
          </p:cNvPr>
          <p:cNvSpPr txBox="1">
            <a:spLocks noGrp="1" noRot="1" noChangeAspect="1" noChangeArrowheads="1" noTextEdit="1"/>
          </p:cNvSpPr>
          <p:nvPr>
            <p:ph type="sldImg"/>
          </p:nvPr>
        </p:nvSpPr>
        <p:spPr>
          <a:ln/>
        </p:spPr>
      </p:sp>
      <p:sp>
        <p:nvSpPr>
          <p:cNvPr id="410627" name="Rectangle 3">
            <a:extLst>
              <a:ext uri="{FF2B5EF4-FFF2-40B4-BE49-F238E27FC236}">
                <a16:creationId xmlns:a16="http://schemas.microsoft.com/office/drawing/2014/main" id="{AADA583A-F439-4283-A175-829AB067980F}"/>
              </a:ext>
            </a:extLst>
          </p:cNvPr>
          <p:cNvSpPr txBox="1">
            <a:spLocks noGrp="1" noChangeArrowheads="1"/>
          </p:cNvSpPr>
          <p:nvPr>
            <p:ph type="body" idx="1"/>
          </p:nvPr>
        </p:nvSpPr>
        <p:spPr>
          <a:xfrm>
            <a:off x="673100" y="4681538"/>
            <a:ext cx="5384800" cy="4437062"/>
          </a:xfrm>
          <a:ln/>
          <a:extLst>
            <a:ext uri="{91240B29-F687-4F45-9708-019B960494DF}">
              <a14:hiddenLine xmlns:a14="http://schemas.microsoft.com/office/drawing/2010/main" w="9525">
                <a:solidFill>
                  <a:schemeClr val="tx1"/>
                </a:solidFill>
                <a:round/>
                <a:headEnd/>
                <a:tailEnd/>
              </a14:hiddenLine>
            </a:ext>
          </a:extLst>
        </p:spPr>
        <p:txBody>
          <a:bodyPr wrap="none" anchor="ctr"/>
          <a:lstStyle/>
          <a:p>
            <a:pPr defTabSz="457200"/>
            <a:endParaRPr lang="en-DE" altLang="en-DE"/>
          </a:p>
        </p:txBody>
      </p:sp>
    </p:spTree>
    <p:extLst>
      <p:ext uri="{BB962C8B-B14F-4D97-AF65-F5344CB8AC3E}">
        <p14:creationId xmlns:p14="http://schemas.microsoft.com/office/powerpoint/2010/main" val="31485997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dirty="0">
                <a:latin typeface="+mn-lt"/>
              </a:rPr>
              <a:t>TBM program will likely not be in time for DEMO design. Yet, TBMs will yield crucial information for DEMO on qualification, licensing, manufacturing and integrated operation of blankets in nuclear plasma environment</a:t>
            </a:r>
          </a:p>
          <a:p>
            <a:pPr marL="0" indent="0">
              <a:buNone/>
            </a:pPr>
            <a:r>
              <a:rPr lang="en-US" sz="1200" dirty="0">
                <a:latin typeface="+mn-lt"/>
              </a:rPr>
              <a:t>ITER’s experience with safety and waste production, RH, civil engineering, the hot cell, the management of T and radioactive waste, is an essential reference for DEMO</a:t>
            </a:r>
          </a:p>
          <a:p>
            <a:endParaRPr lang="en-CH" dirty="0"/>
          </a:p>
        </p:txBody>
      </p:sp>
      <p:sp>
        <p:nvSpPr>
          <p:cNvPr id="4" name="Slide Number Placeholder 3"/>
          <p:cNvSpPr>
            <a:spLocks noGrp="1"/>
          </p:cNvSpPr>
          <p:nvPr>
            <p:ph type="sldNum" sz="quarter" idx="5"/>
          </p:nvPr>
        </p:nvSpPr>
        <p:spPr/>
        <p:txBody>
          <a:bodyPr/>
          <a:lstStyle/>
          <a:p>
            <a:fld id="{49027E0A-1465-4A40-B1D5-9126D49509FC}" type="slidenum">
              <a:rPr lang="en-GB" smtClean="0"/>
              <a:pPr/>
              <a:t>11</a:t>
            </a:fld>
            <a:endParaRPr lang="en-GB" dirty="0"/>
          </a:p>
        </p:txBody>
      </p:sp>
    </p:spTree>
    <p:extLst>
      <p:ext uri="{BB962C8B-B14F-4D97-AF65-F5344CB8AC3E}">
        <p14:creationId xmlns:p14="http://schemas.microsoft.com/office/powerpoint/2010/main" val="41801933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H" dirty="0"/>
              <a:t>+ theory and numerical simulations</a:t>
            </a:r>
          </a:p>
        </p:txBody>
      </p:sp>
      <p:sp>
        <p:nvSpPr>
          <p:cNvPr id="4" name="Slide Number Placeholder 3"/>
          <p:cNvSpPr>
            <a:spLocks noGrp="1"/>
          </p:cNvSpPr>
          <p:nvPr>
            <p:ph type="sldNum" sz="quarter" idx="5"/>
          </p:nvPr>
        </p:nvSpPr>
        <p:spPr/>
        <p:txBody>
          <a:bodyPr/>
          <a:lstStyle/>
          <a:p>
            <a:fld id="{49027E0A-1465-4A40-B1D5-9126D49509FC}" type="slidenum">
              <a:rPr lang="en-GB" smtClean="0"/>
              <a:pPr/>
              <a:t>12</a:t>
            </a:fld>
            <a:endParaRPr lang="en-GB" dirty="0"/>
          </a:p>
        </p:txBody>
      </p:sp>
    </p:spTree>
    <p:extLst>
      <p:ext uri="{BB962C8B-B14F-4D97-AF65-F5344CB8AC3E}">
        <p14:creationId xmlns:p14="http://schemas.microsoft.com/office/powerpoint/2010/main" val="35993946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smtClean="0"/>
              <a:t>Titelmasterformat durch Klicken bearbeiten</a:t>
            </a:r>
            <a:endParaRPr lang="de-DE" dirty="0"/>
          </a:p>
        </p:txBody>
      </p:sp>
      <p:sp>
        <p:nvSpPr>
          <p:cNvPr id="3" name="Datumsplatzhalter 2"/>
          <p:cNvSpPr>
            <a:spLocks noGrp="1"/>
          </p:cNvSpPr>
          <p:nvPr>
            <p:ph type="dt" sz="half" idx="10"/>
          </p:nvPr>
        </p:nvSpPr>
        <p:spPr/>
        <p:txBody>
          <a:bodyPr/>
          <a:lstStyle/>
          <a:p>
            <a:r>
              <a:rPr lang="de-DE" smtClean="0"/>
              <a:t>10.10.2023</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6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smtClean="0"/>
              <a:t>Titelmasterformat durch Klicken bearbeiten</a:t>
            </a:r>
            <a:endParaRPr lang="de-DE" dirty="0"/>
          </a:p>
        </p:txBody>
      </p:sp>
      <p:sp>
        <p:nvSpPr>
          <p:cNvPr id="2" name="Datumsplatzhalter 1"/>
          <p:cNvSpPr>
            <a:spLocks noGrp="1"/>
          </p:cNvSpPr>
          <p:nvPr>
            <p:ph type="dt" sz="half" idx="10"/>
          </p:nvPr>
        </p:nvSpPr>
        <p:spPr/>
        <p:txBody>
          <a:bodyPr/>
          <a:lstStyle/>
          <a:p>
            <a:r>
              <a:rPr lang="de-DE" smtClean="0"/>
              <a:t>10.10.2023</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8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223964"/>
            <a:ext cx="10472102" cy="5157786"/>
          </a:xfrm>
          <a:prstGeom prst="rect">
            <a:avLst/>
          </a:prstGeo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10.10.2023</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 und Inhalt (klein)">
    <p:spTree>
      <p:nvGrpSpPr>
        <p:cNvPr id="1" name=""/>
        <p:cNvGrpSpPr/>
        <p:nvPr/>
      </p:nvGrpSpPr>
      <p:grpSpPr>
        <a:xfrm>
          <a:off x="0" y="0"/>
          <a:ext cx="0" cy="0"/>
          <a:chOff x="0" y="0"/>
          <a:chExt cx="0" cy="0"/>
        </a:xfrm>
      </p:grpSpPr>
      <p:sp>
        <p:nvSpPr>
          <p:cNvPr id="2" name="Title 1"/>
          <p:cNvSpPr>
            <a:spLocks noGrp="1"/>
          </p:cNvSpPr>
          <p:nvPr>
            <p:ph type="title"/>
          </p:nvPr>
        </p:nvSpPr>
        <p:spPr>
          <a:xfrm>
            <a:off x="360000" y="324000"/>
            <a:ext cx="11449050" cy="1124780"/>
          </a:xfrm>
        </p:spPr>
        <p:txBody>
          <a:bodyPr/>
          <a:lstStyle>
            <a:lvl1pPr>
              <a:defRPr cap="none" spc="0" baseline="0"/>
            </a:lvl1pPr>
          </a:lstStyle>
          <a:p>
            <a:r>
              <a:rPr lang="de-DE" noProof="0" dirty="0"/>
              <a:t>Titelmasterformat durch Klicken bearbeiten</a:t>
            </a:r>
            <a:endParaRPr lang="en-US" noProof="0" dirty="0"/>
          </a:p>
        </p:txBody>
      </p:sp>
      <p:sp>
        <p:nvSpPr>
          <p:cNvPr id="3" name="Content Placeholder 2"/>
          <p:cNvSpPr>
            <a:spLocks noGrp="1"/>
          </p:cNvSpPr>
          <p:nvPr>
            <p:ph idx="1"/>
          </p:nvPr>
        </p:nvSpPr>
        <p:spPr>
          <a:xfrm>
            <a:off x="360000" y="1578310"/>
            <a:ext cx="11449050" cy="4190666"/>
          </a:xfrm>
        </p:spPr>
        <p:txBody>
          <a:bodyPr/>
          <a:lstStyle>
            <a:lvl1pPr marL="177800" indent="-177800">
              <a:defRPr sz="1800"/>
            </a:lvl1pPr>
            <a:lvl2pPr marL="361950" indent="-184150">
              <a:defRPr sz="1800"/>
            </a:lvl2pPr>
            <a:lvl3pPr marL="539750" indent="-177800">
              <a:defRPr sz="1800"/>
            </a:lvl3pPr>
            <a:lvl4pPr marL="717550" indent="-177800">
              <a:defRPr sz="1800"/>
            </a:lvl4pPr>
            <a:lvl5pPr marL="895350" indent="-177800">
              <a:defRPr sz="1800"/>
            </a:lvl5pPr>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7" name="Textplatzhalter 10">
            <a:extLst>
              <a:ext uri="{FF2B5EF4-FFF2-40B4-BE49-F238E27FC236}">
                <a16:creationId xmlns:a16="http://schemas.microsoft.com/office/drawing/2014/main" id="{29624FD4-E8F5-4C76-8AB0-019D7FCEAADC}"/>
              </a:ext>
            </a:extLst>
          </p:cNvPr>
          <p:cNvSpPr>
            <a:spLocks noGrp="1"/>
          </p:cNvSpPr>
          <p:nvPr>
            <p:ph type="body" sz="quarter" idx="15" hasCustomPrompt="1"/>
          </p:nvPr>
        </p:nvSpPr>
        <p:spPr>
          <a:xfrm>
            <a:off x="358774" y="938786"/>
            <a:ext cx="11449049" cy="509994"/>
          </a:xfrm>
        </p:spPr>
        <p:txBody>
          <a:bodyPr/>
          <a:lstStyle>
            <a:lvl1pPr marL="0" indent="0">
              <a:lnSpc>
                <a:spcPct val="114000"/>
              </a:lnSpc>
              <a:spcAft>
                <a:spcPts val="0"/>
              </a:spcAft>
              <a:buNone/>
              <a:defRPr sz="1800" b="1">
                <a:solidFill>
                  <a:schemeClr val="accent1"/>
                </a:solidFill>
              </a:defRPr>
            </a:lvl1pPr>
          </a:lstStyle>
          <a:p>
            <a:pPr lvl="0"/>
            <a:r>
              <a:rPr lang="en-US" noProof="0"/>
              <a:t>Subline</a:t>
            </a:r>
          </a:p>
        </p:txBody>
      </p:sp>
      <p:sp>
        <p:nvSpPr>
          <p:cNvPr id="4" name="Foliennummernplatzhalter 3">
            <a:extLst>
              <a:ext uri="{FF2B5EF4-FFF2-40B4-BE49-F238E27FC236}">
                <a16:creationId xmlns:a16="http://schemas.microsoft.com/office/drawing/2014/main" id="{94D65862-E64A-4E5F-8934-CBE2F43FDC99}"/>
              </a:ext>
            </a:extLst>
          </p:cNvPr>
          <p:cNvSpPr>
            <a:spLocks noGrp="1"/>
          </p:cNvSpPr>
          <p:nvPr>
            <p:ph type="sldNum" sz="quarter" idx="16"/>
          </p:nvPr>
        </p:nvSpPr>
        <p:spPr/>
        <p:txBody>
          <a:bodyPr/>
          <a:lstStyle/>
          <a:p>
            <a:r>
              <a:rPr lang="en-US"/>
              <a:t>Page </a:t>
            </a:r>
            <a:fld id="{A52F4D17-1AD6-42D9-B93A-EB002C62F438}" type="slidenum">
              <a:rPr lang="en-US" smtClean="0"/>
              <a:pPr/>
              <a:t>‹Nr.›</a:t>
            </a:fld>
            <a:endParaRPr lang="en-US" noProof="0" dirty="0"/>
          </a:p>
        </p:txBody>
      </p:sp>
      <p:sp>
        <p:nvSpPr>
          <p:cNvPr id="9" name="Date Placeholder 3"/>
          <p:cNvSpPr>
            <a:spLocks noGrp="1"/>
          </p:cNvSpPr>
          <p:nvPr>
            <p:ph type="dt" sz="half" idx="2"/>
          </p:nvPr>
        </p:nvSpPr>
        <p:spPr>
          <a:xfrm>
            <a:off x="371475" y="6381328"/>
            <a:ext cx="5005138" cy="221109"/>
          </a:xfrm>
          <a:prstGeom prst="rect">
            <a:avLst/>
          </a:prstGeom>
        </p:spPr>
        <p:txBody>
          <a:bodyPr vert="horz" lIns="0" tIns="0" rIns="0" bIns="0" rtlCol="0" anchor="t" anchorCtr="0">
            <a:noAutofit/>
          </a:bodyPr>
          <a:lstStyle>
            <a:lvl1pPr algn="l">
              <a:defRPr sz="1200">
                <a:solidFill>
                  <a:schemeClr val="accent1"/>
                </a:solidFill>
              </a:defRPr>
            </a:lvl1pPr>
          </a:lstStyle>
          <a:p>
            <a:r>
              <a:rPr lang="en-US" dirty="0"/>
              <a:t>02.02.2023 | 30</a:t>
            </a:r>
            <a:r>
              <a:rPr lang="en-US" baseline="30000" dirty="0"/>
              <a:t>th</a:t>
            </a:r>
            <a:r>
              <a:rPr lang="en-US" dirty="0"/>
              <a:t> EFPW | </a:t>
            </a:r>
            <a:r>
              <a:rPr lang="de-DE" dirty="0"/>
              <a:t>Les </a:t>
            </a:r>
            <a:r>
              <a:rPr lang="de-DE" dirty="0" err="1"/>
              <a:t>Diablerets</a:t>
            </a:r>
            <a:r>
              <a:rPr lang="en-US" dirty="0"/>
              <a:t>  | S. Brezinsek</a:t>
            </a:r>
          </a:p>
        </p:txBody>
      </p:sp>
    </p:spTree>
    <p:extLst>
      <p:ext uri="{BB962C8B-B14F-4D97-AF65-F5344CB8AC3E}">
        <p14:creationId xmlns:p14="http://schemas.microsoft.com/office/powerpoint/2010/main" val="20806746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BD2E413D-76E6-5233-CF73-FD49BCAF474D}"/>
              </a:ext>
            </a:extLst>
          </p:cNvPr>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e la date 3">
            <a:extLst>
              <a:ext uri="{FF2B5EF4-FFF2-40B4-BE49-F238E27FC236}">
                <a16:creationId xmlns:a16="http://schemas.microsoft.com/office/drawing/2014/main" id="{E1C2B0A2-D20B-4AF8-11A0-04ADF7A00166}"/>
              </a:ext>
            </a:extLst>
          </p:cNvPr>
          <p:cNvSpPr>
            <a:spLocks noGrp="1"/>
          </p:cNvSpPr>
          <p:nvPr>
            <p:ph type="dt" sz="half" idx="10"/>
          </p:nvPr>
        </p:nvSpPr>
        <p:spPr/>
        <p:txBody>
          <a:bodyPr/>
          <a:lstStyle/>
          <a:p>
            <a:fld id="{E58C80AA-BD64-4544-A28B-FB156C0B030C}" type="datetime1">
              <a:rPr lang="fr-FR" smtClean="0"/>
              <a:t>20/02/2024</a:t>
            </a:fld>
            <a:endParaRPr lang="fr-FR"/>
          </a:p>
        </p:txBody>
      </p:sp>
      <p:sp>
        <p:nvSpPr>
          <p:cNvPr id="5" name="Espace réservé du pied de page 4">
            <a:extLst>
              <a:ext uri="{FF2B5EF4-FFF2-40B4-BE49-F238E27FC236}">
                <a16:creationId xmlns:a16="http://schemas.microsoft.com/office/drawing/2014/main" id="{E674BCD5-99F2-142E-3FEE-1ACCB474B9C4}"/>
              </a:ext>
            </a:extLst>
          </p:cNvPr>
          <p:cNvSpPr>
            <a:spLocks noGrp="1"/>
          </p:cNvSpPr>
          <p:nvPr>
            <p:ph type="ftr" sz="quarter" idx="11"/>
          </p:nvPr>
        </p:nvSpPr>
        <p:spPr/>
        <p:txBody>
          <a:bodyPr/>
          <a:lstStyle/>
          <a:p>
            <a:r>
              <a:rPr lang="fr-FR"/>
              <a:t>EFPW 2024 PWI WEST part  | N. Fedorczak </a:t>
            </a:r>
          </a:p>
        </p:txBody>
      </p:sp>
      <p:sp>
        <p:nvSpPr>
          <p:cNvPr id="6" name="Espace réservé du numéro de diapositive 5">
            <a:extLst>
              <a:ext uri="{FF2B5EF4-FFF2-40B4-BE49-F238E27FC236}">
                <a16:creationId xmlns:a16="http://schemas.microsoft.com/office/drawing/2014/main" id="{8209301D-2360-8D20-B992-EE6672D60716}"/>
              </a:ext>
            </a:extLst>
          </p:cNvPr>
          <p:cNvSpPr>
            <a:spLocks noGrp="1"/>
          </p:cNvSpPr>
          <p:nvPr>
            <p:ph type="sldNum" sz="quarter" idx="12"/>
          </p:nvPr>
        </p:nvSpPr>
        <p:spPr/>
        <p:txBody>
          <a:bodyPr/>
          <a:lstStyle/>
          <a:p>
            <a:fld id="{0CBC77A0-1F4E-42FF-9FFC-F45C3A64AF90}" type="slidenum">
              <a:rPr lang="fr-FR" smtClean="0"/>
              <a:t>‹Nr.›</a:t>
            </a:fld>
            <a:endParaRPr lang="fr-FR"/>
          </a:p>
        </p:txBody>
      </p:sp>
      <p:sp>
        <p:nvSpPr>
          <p:cNvPr id="7" name="ZoneTexte 6">
            <a:extLst>
              <a:ext uri="{FF2B5EF4-FFF2-40B4-BE49-F238E27FC236}">
                <a16:creationId xmlns:a16="http://schemas.microsoft.com/office/drawing/2014/main" id="{31680F71-13D8-7F13-2E1C-1B43E34B35C6}"/>
              </a:ext>
            </a:extLst>
          </p:cNvPr>
          <p:cNvSpPr txBox="1"/>
          <p:nvPr userDrawn="1"/>
        </p:nvSpPr>
        <p:spPr>
          <a:xfrm>
            <a:off x="-101600" y="-276999"/>
            <a:ext cx="12192000" cy="276999"/>
          </a:xfrm>
          <a:prstGeom prst="rect">
            <a:avLst/>
          </a:prstGeom>
          <a:noFill/>
        </p:spPr>
        <p:txBody>
          <a:bodyPr wrap="square" rtlCol="0">
            <a:spAutoFit/>
          </a:bodyPr>
          <a:lstStyle/>
          <a:p>
            <a:r>
              <a:rPr lang="fr-FR" sz="1200" dirty="0">
                <a:solidFill>
                  <a:schemeClr val="bg1">
                    <a:lumMod val="50000"/>
                  </a:schemeClr>
                </a:solidFill>
              </a:rPr>
              <a:t>Disposition : Titre et contenu</a:t>
            </a:r>
          </a:p>
        </p:txBody>
      </p:sp>
      <p:pic>
        <p:nvPicPr>
          <p:cNvPr id="9" name="PATTERN CARRE DECAL">
            <a:extLst>
              <a:ext uri="{FF2B5EF4-FFF2-40B4-BE49-F238E27FC236}">
                <a16:creationId xmlns:a16="http://schemas.microsoft.com/office/drawing/2014/main" id="{0BAAE597-7E43-80FB-78E3-011B878772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7494" t="76060" r="18770" b="-33262"/>
          <a:stretch/>
        </p:blipFill>
        <p:spPr>
          <a:xfrm>
            <a:off x="9626600" y="-1"/>
            <a:ext cx="2565400" cy="1515209"/>
          </a:xfrm>
          <a:prstGeom prst="rect">
            <a:avLst/>
          </a:prstGeom>
        </p:spPr>
      </p:pic>
      <p:sp>
        <p:nvSpPr>
          <p:cNvPr id="2" name="Titre 1">
            <a:extLst>
              <a:ext uri="{FF2B5EF4-FFF2-40B4-BE49-F238E27FC236}">
                <a16:creationId xmlns:a16="http://schemas.microsoft.com/office/drawing/2014/main" id="{C1303A6F-3D61-F6AC-9302-9FE476FEAE83}"/>
              </a:ext>
            </a:extLst>
          </p:cNvPr>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8734202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en-US"/>
              <a:t>Short title goes here</a:t>
            </a:r>
            <a:endParaRPr lang="de-DE" dirty="0"/>
          </a:p>
        </p:txBody>
      </p:sp>
      <p:sp>
        <p:nvSpPr>
          <p:cNvPr id="16" name="Fußzeilenplatzhalter 15"/>
          <p:cNvSpPr>
            <a:spLocks noGrp="1"/>
          </p:cNvSpPr>
          <p:nvPr>
            <p:ph type="ftr" sz="quarter" idx="15"/>
          </p:nvPr>
        </p:nvSpPr>
        <p:spPr/>
        <p:txBody>
          <a:bodyPr/>
          <a:lstStyle/>
          <a:p>
            <a:r>
              <a:rPr lang="de-DE"/>
              <a:t>Max-Planck-Institut für Plasmaphysik | Author Name | Date</a:t>
            </a:r>
            <a:endParaRPr lang="de-DE" dirty="0"/>
          </a:p>
        </p:txBody>
      </p:sp>
      <p:sp>
        <p:nvSpPr>
          <p:cNvPr id="17" name="Foliennummernplatzhalter 16"/>
          <p:cNvSpPr>
            <a:spLocks noGrp="1"/>
          </p:cNvSpPr>
          <p:nvPr>
            <p:ph type="sldNum" sz="quarter" idx="16"/>
          </p:nvPr>
        </p:nvSpPr>
        <p:spPr/>
        <p:txBody>
          <a:bodyPr/>
          <a:lstStyle>
            <a:lvl1pPr>
              <a:defRPr sz="1600"/>
            </a:lvl1pPr>
          </a:lstStyle>
          <a:p>
            <a:fld id="{ECE691D0-CC49-4FC7-9C4D-6112B0CB3A76}" type="slidenum">
              <a:rPr lang="en-US" smtClean="0"/>
              <a:pPr/>
              <a:t>‹Nr.›</a:t>
            </a:fld>
            <a:endParaRPr lang="en-US"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441369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4500"/>
            </a:lvl1pPr>
          </a:lstStyle>
          <a:p>
            <a:r>
              <a:rPr lang="de-DE"/>
              <a:t>Titelmasterformat durch Klicken bearbeiten</a:t>
            </a:r>
          </a:p>
        </p:txBody>
      </p:sp>
      <p:sp>
        <p:nvSpPr>
          <p:cNvPr id="3" name="Untertitel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55E32E93-B16C-47A8-9537-20408CDEDEEC}" type="datetimeFigureOut">
              <a:rPr lang="de-DE" smtClean="0"/>
              <a:t>20.02.2024</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4C5DBBE2-924E-4034-B5C2-C49DFDC24EB5}" type="slidenum">
              <a:rPr lang="de-DE" smtClean="0"/>
              <a:t>‹Nr.›</a:t>
            </a:fld>
            <a:endParaRPr lang="de-DE"/>
          </a:p>
        </p:txBody>
      </p:sp>
    </p:spTree>
    <p:extLst>
      <p:ext uri="{BB962C8B-B14F-4D97-AF65-F5344CB8AC3E}">
        <p14:creationId xmlns:p14="http://schemas.microsoft.com/office/powerpoint/2010/main" val="33829046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EUROfusion_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dirty="0"/>
              <a:t>Click to edit Master title style</a:t>
            </a:r>
            <a:endParaRPr lang="en-GB" dirty="0"/>
          </a:p>
        </p:txBody>
      </p:sp>
      <p:sp>
        <p:nvSpPr>
          <p:cNvPr id="8" name="Footer Placeholder 7"/>
          <p:cNvSpPr>
            <a:spLocks noGrp="1"/>
          </p:cNvSpPr>
          <p:nvPr>
            <p:ph type="ftr" sz="quarter" idx="11"/>
          </p:nvPr>
        </p:nvSpPr>
        <p:spPr>
          <a:xfrm>
            <a:off x="825624" y="6555770"/>
            <a:ext cx="3470176" cy="329615"/>
          </a:xfrm>
          <a:prstGeom prst="rect">
            <a:avLst/>
          </a:prstGeom>
        </p:spPr>
        <p:txBody>
          <a:bodyPr anchor="t"/>
          <a:lstStyle>
            <a:lvl1pPr>
              <a:defRPr sz="1200">
                <a:solidFill>
                  <a:schemeClr val="bg1"/>
                </a:solidFill>
              </a:defRPr>
            </a:lvl1pPr>
          </a:lstStyle>
          <a:p>
            <a:r>
              <a:rPr lang="en-GB" dirty="0">
                <a:solidFill>
                  <a:prstClr val="white"/>
                </a:solidFill>
              </a:rPr>
              <a:t>Author | Event | dd Month </a:t>
            </a:r>
            <a:r>
              <a:rPr lang="en-GB" dirty="0" err="1">
                <a:solidFill>
                  <a:prstClr val="white"/>
                </a:solidFill>
              </a:rPr>
              <a:t>yyyy</a:t>
            </a:r>
            <a:endParaRPr lang="en-GB" dirty="0">
              <a:solidFill>
                <a:prstClr val="white"/>
              </a:solidFill>
            </a:endParaRPr>
          </a:p>
        </p:txBody>
      </p:sp>
      <p:sp>
        <p:nvSpPr>
          <p:cNvPr id="9" name="Slide Number Placeholder 8"/>
          <p:cNvSpPr>
            <a:spLocks noGrp="1"/>
          </p:cNvSpPr>
          <p:nvPr>
            <p:ph type="sldNum" sz="quarter" idx="12"/>
          </p:nvPr>
        </p:nvSpPr>
        <p:spPr>
          <a:xfrm>
            <a:off x="0" y="6590038"/>
            <a:ext cx="720080" cy="199175"/>
          </a:xfrm>
        </p:spPr>
        <p:txBody>
          <a:bodyPr anchor="ctr"/>
          <a:lstStyle>
            <a:lvl1pPr>
              <a:defRPr sz="1400">
                <a:solidFill>
                  <a:schemeClr val="bg1"/>
                </a:solidFill>
              </a:defRPr>
            </a:lvl1pPr>
          </a:lstStyle>
          <a:p>
            <a:fld id="{6A6D9FA1-99C7-4910-8E32-B85D378B0060}" type="slidenum">
              <a:rPr lang="en-GB" smtClean="0">
                <a:solidFill>
                  <a:prstClr val="white"/>
                </a:solidFill>
              </a:rPr>
              <a:pPr/>
              <a:t>‹Nr.›</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91346" y="57009"/>
            <a:ext cx="636023" cy="6360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6980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r>
              <a:rPr lang="de-DE" smtClean="0"/>
              <a:t>10.10.2023</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2309272461"/>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Titelmasterformat durch Klicken bearbeiten</a:t>
            </a:r>
            <a:endParaRPr lang="de-DE" dirty="0"/>
          </a:p>
        </p:txBody>
      </p:sp>
      <p:sp>
        <p:nvSpPr>
          <p:cNvPr id="12" name="Datumsplatzhalter 11"/>
          <p:cNvSpPr>
            <a:spLocks noGrp="1"/>
          </p:cNvSpPr>
          <p:nvPr>
            <p:ph type="dt" sz="half" idx="10"/>
          </p:nvPr>
        </p:nvSpPr>
        <p:spPr/>
        <p:txBody>
          <a:bodyPr/>
          <a:lstStyle/>
          <a:p>
            <a:r>
              <a:rPr lang="de-DE" smtClean="0"/>
              <a:t>10.10.2023</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23952926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275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3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10.10.2023</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0376850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smtClean="0"/>
              <a:t>Titelmasterformat durch Klicken bearbeiten</a:t>
            </a:r>
            <a:endParaRPr lang="de-DE" dirty="0"/>
          </a:p>
        </p:txBody>
      </p:sp>
      <p:sp>
        <p:nvSpPr>
          <p:cNvPr id="12" name="Datumsplatzhalter 11"/>
          <p:cNvSpPr>
            <a:spLocks noGrp="1"/>
          </p:cNvSpPr>
          <p:nvPr>
            <p:ph type="dt" sz="half" idx="10"/>
          </p:nvPr>
        </p:nvSpPr>
        <p:spPr/>
        <p:txBody>
          <a:bodyPr/>
          <a:lstStyle/>
          <a:p>
            <a:r>
              <a:rPr lang="de-DE" smtClean="0"/>
              <a:t>10.10.2023</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62948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57"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0"/>
          </p:nvPr>
        </p:nvSpPr>
        <p:spPr/>
        <p:txBody>
          <a:bodyPr/>
          <a:lstStyle/>
          <a:p>
            <a:r>
              <a:rPr lang="de-DE" smtClean="0"/>
              <a:t>10.10.2023</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1530870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smtClean="0"/>
              <a:t>10.10.2023</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333715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smtClean="0"/>
              <a:t>10.10.2023</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848988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81113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r>
              <a:rPr lang="de-DE" smtClean="0"/>
              <a:t>10.10.2023</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2319204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535600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0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Titelmasterformat durch Klicken bearbeiten</a:t>
            </a:r>
            <a:endParaRPr lang="de-DE" dirty="0"/>
          </a:p>
        </p:txBody>
      </p:sp>
      <p:sp>
        <p:nvSpPr>
          <p:cNvPr id="2" name="Datumsplatzhalter 1"/>
          <p:cNvSpPr>
            <a:spLocks noGrp="1"/>
          </p:cNvSpPr>
          <p:nvPr>
            <p:ph type="dt" sz="half" idx="10"/>
          </p:nvPr>
        </p:nvSpPr>
        <p:spPr/>
        <p:txBody>
          <a:bodyPr/>
          <a:lstStyle/>
          <a:p>
            <a:r>
              <a:rPr lang="de-DE" smtClean="0"/>
              <a:t>10.10.2023</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7977423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68178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2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10.10.2023</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696983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2" name="Datumsplatzhalter 1"/>
          <p:cNvSpPr>
            <a:spLocks noGrp="1"/>
          </p:cNvSpPr>
          <p:nvPr>
            <p:ph type="dt" sz="half" idx="10"/>
          </p:nvPr>
        </p:nvSpPr>
        <p:spPr/>
        <p:txBody>
          <a:bodyPr/>
          <a:lstStyle/>
          <a:p>
            <a:r>
              <a:rPr lang="de-DE" smtClean="0"/>
              <a:t>10.10.2023</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2" name="Datumsplatzhalter 1"/>
          <p:cNvSpPr>
            <a:spLocks noGrp="1"/>
          </p:cNvSpPr>
          <p:nvPr>
            <p:ph type="dt" sz="half" idx="10"/>
          </p:nvPr>
        </p:nvSpPr>
        <p:spPr/>
        <p:txBody>
          <a:bodyPr/>
          <a:lstStyle/>
          <a:p>
            <a:r>
              <a:rPr lang="de-DE" smtClean="0"/>
              <a:t>10.10.2023</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9"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335741"/>
            <a:ext cx="10801349" cy="5046009"/>
          </a:xfrm>
          <a:prstGeom prst="rect">
            <a:avLst/>
          </a:prstGeo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smtClean="0"/>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10.10.2023</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3"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223963"/>
            <a:ext cx="5112414" cy="5157787"/>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384263" y="1223963"/>
            <a:ext cx="5112412" cy="5157787"/>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2" name="Datumsplatzhalter 1"/>
          <p:cNvSpPr>
            <a:spLocks noGrp="1"/>
          </p:cNvSpPr>
          <p:nvPr>
            <p:ph type="dt" sz="half" idx="10"/>
          </p:nvPr>
        </p:nvSpPr>
        <p:spPr/>
        <p:txBody>
          <a:bodyPr/>
          <a:lstStyle/>
          <a:p>
            <a:r>
              <a:rPr lang="de-DE" smtClean="0"/>
              <a:t>10.10.2023</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smtClean="0"/>
              <a:t>10.10.2023</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smtClean="0"/>
              <a:t>10.10.2023</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3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4" name="Datumsplatzhalter 3"/>
          <p:cNvSpPr>
            <a:spLocks noGrp="1"/>
          </p:cNvSpPr>
          <p:nvPr>
            <p:ph type="dt" sz="half" idx="10"/>
          </p:nvPr>
        </p:nvSpPr>
        <p:spPr/>
        <p:txBody>
          <a:bodyPr/>
          <a:lstStyle/>
          <a:p>
            <a:r>
              <a:rPr lang="de-DE" smtClean="0"/>
              <a:t>10.10.2023</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16.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15.xml"/><Relationship Id="rId2" Type="http://schemas.openxmlformats.org/officeDocument/2006/relationships/slideLayout" Target="../slideLayouts/slideLayout18.xml"/><Relationship Id="rId16" Type="http://schemas.openxmlformats.org/officeDocument/2006/relationships/image" Target="../media/image1.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vmlDrawing" Target="../drawings/vmlDrawing8.vml"/><Relationship Id="rId5" Type="http://schemas.openxmlformats.org/officeDocument/2006/relationships/slideLayout" Target="../slideLayouts/slideLayout21.xml"/><Relationship Id="rId15" Type="http://schemas.openxmlformats.org/officeDocument/2006/relationships/oleObject" Target="../embeddings/oleObject1.bin"/><Relationship Id="rId10" Type="http://schemas.openxmlformats.org/officeDocument/2006/relationships/theme" Target="../theme/theme2.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9"/>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0" name="think-cell Folie" r:id="rId22" imgW="384" imgH="385" progId="TCLayout.ActiveDocument.1">
                  <p:embed/>
                </p:oleObj>
              </mc:Choice>
              <mc:Fallback>
                <p:oleObj name="think-cell Folie" r:id="rId22" imgW="384" imgH="385"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Planck-Institut für Plasmaphysik | Thierry Kremeyer | Divertor Concept Development</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10.10.2023</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664" r:id="rId6"/>
    <p:sldLayoutId id="2147483696" r:id="rId7"/>
    <p:sldLayoutId id="2147483667" r:id="rId8"/>
    <p:sldLayoutId id="2147483700" r:id="rId9"/>
    <p:sldLayoutId id="2147483711" r:id="rId10"/>
    <p:sldLayoutId id="2147483701" r:id="rId11"/>
    <p:sldLayoutId id="2147483726" r:id="rId12"/>
    <p:sldLayoutId id="2147483727" r:id="rId13"/>
    <p:sldLayoutId id="2147483728" r:id="rId14"/>
    <p:sldLayoutId id="2147483729" r:id="rId15"/>
    <p:sldLayoutId id="2147483730" r:id="rId16"/>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2"/>
            </p:custDataLst>
            <p:extLst>
              <p:ext uri="{D42A27DB-BD31-4B8C-83A1-F6EECF244321}">
                <p14:modId xmlns:p14="http://schemas.microsoft.com/office/powerpoint/2010/main" val="372821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09" name="think-cell Folie" r:id="rId15" imgW="384" imgH="385" progId="TCLayout.ActiveDocument.1">
                  <p:embed/>
                </p:oleObj>
              </mc:Choice>
              <mc:Fallback>
                <p:oleObj name="think-cell Folie" r:id="rId15"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Planck-Institut für Plasmaphysik | Thierry Kremeyer | Divertor Concept Development</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10.10.2023</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1" i="0" u="none" strike="noStrike" kern="600" cap="none" spc="40" normalizeH="0" baseline="0" noProof="0" dirty="0" smtClean="0">
                <a:ln>
                  <a:noFill/>
                </a:ln>
                <a:solidFill>
                  <a:srgbClr val="005555"/>
                </a:solidFill>
                <a:effectLst/>
                <a:uLnTx/>
                <a:uFillTx/>
                <a:latin typeface="+mn-lt"/>
                <a:ea typeface="+mn-ea"/>
                <a:cs typeface="+mn-cs"/>
              </a:rPr>
              <a:t>Ebene 1: Headlines</a:t>
            </a:r>
          </a:p>
          <a:p>
            <a:pPr marL="0" marR="0" lvl="1"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2: Fließtext</a:t>
            </a:r>
          </a:p>
          <a:p>
            <a:pPr marL="179388" marR="0" lvl="2"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1" i="0" u="none" strike="noStrike" kern="400" cap="none" spc="40" normalizeH="0" baseline="0" noProof="0" dirty="0" smtClean="0">
                <a:ln>
                  <a:noFill/>
                </a:ln>
                <a:solidFill>
                  <a:srgbClr val="29485D"/>
                </a:solidFill>
                <a:effectLst/>
                <a:uLnTx/>
                <a:uFillTx/>
                <a:latin typeface="+mn-lt"/>
                <a:ea typeface="+mn-ea"/>
                <a:cs typeface="+mn-cs"/>
              </a:rPr>
              <a:t>Ebene 3: Stichpunkte</a:t>
            </a:r>
          </a:p>
          <a:p>
            <a:pPr marL="179388" marR="0" lvl="3"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4: Stichpunkte hervorgehoben</a:t>
            </a:r>
          </a:p>
          <a:p>
            <a:pPr marL="357188" marR="0" lvl="4"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5: Stichpunkte eingerückt</a:t>
            </a:r>
          </a:p>
          <a:p>
            <a:pPr marL="645750" marR="0" lvl="5"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6: Stichpunkte weiter eingerückt</a:t>
            </a:r>
          </a:p>
          <a:p>
            <a:pPr marL="0" marR="0" lvl="6"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a:pPr>
            <a:r>
              <a:rPr kumimoji="0" lang="de-DE" sz="1500" b="0" i="1" u="none" strike="noStrike" kern="600" cap="none" spc="40" normalizeH="0" baseline="0" noProof="0" dirty="0" smtClean="0">
                <a:ln>
                  <a:noFill/>
                </a:ln>
                <a:solidFill>
                  <a:srgbClr val="005555"/>
                </a:solidFill>
                <a:effectLst/>
                <a:uLnTx/>
                <a:uFillTx/>
                <a:latin typeface="+mn-lt"/>
                <a:ea typeface="+mn-ea"/>
                <a:cs typeface="+mn-cs"/>
              </a:rPr>
              <a:t>Ebene 7: Zusatzinfo</a:t>
            </a:r>
          </a:p>
          <a:p>
            <a:pPr marL="0" marR="0" lvl="7" indent="0" algn="l" defTabSz="914400" rtl="0" eaLnBrk="1" fontAlgn="auto" latinLnBrk="0" hangingPunct="1">
              <a:lnSpc>
                <a:spcPct val="100000"/>
              </a:lnSpc>
              <a:spcBef>
                <a:spcPts val="525"/>
              </a:spcBef>
              <a:spcAft>
                <a:spcPts val="0"/>
              </a:spcAft>
              <a:buClrTx/>
              <a:buSzPct val="110000"/>
              <a:buFont typeface=".SF NS Symbols Regular"/>
              <a:buNone/>
              <a:tabLst/>
              <a:defRPr/>
            </a:pPr>
            <a:r>
              <a:rPr kumimoji="0" lang="de-DE" sz="1000" b="0" i="1" u="none" strike="noStrike" kern="600" cap="none" spc="120" normalizeH="0" baseline="0" noProof="0" dirty="0" smtClean="0">
                <a:ln>
                  <a:noFill/>
                </a:ln>
                <a:solidFill>
                  <a:srgbClr val="000000">
                    <a:lumMod val="50000"/>
                    <a:lumOff val="50000"/>
                  </a:srgbClr>
                </a:solidFill>
                <a:effectLst/>
                <a:uLnTx/>
                <a:uFillTx/>
                <a:latin typeface="+mn-lt"/>
                <a:ea typeface="+mn-ea"/>
                <a:cs typeface="+mn-cs"/>
              </a:rPr>
              <a:t>Ebene 8: Bildunterschrift</a:t>
            </a:r>
          </a:p>
          <a:p>
            <a:pPr lvl="0"/>
            <a:endParaRPr lang="de-DE" dirty="0"/>
          </a:p>
        </p:txBody>
      </p:sp>
    </p:spTree>
    <p:extLst>
      <p:ext uri="{BB962C8B-B14F-4D97-AF65-F5344CB8AC3E}">
        <p14:creationId xmlns:p14="http://schemas.microsoft.com/office/powerpoint/2010/main" val="160706583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9" r:id="rId3"/>
    <p:sldLayoutId id="2147483720" r:id="rId4"/>
    <p:sldLayoutId id="2147483721" r:id="rId5"/>
    <p:sldLayoutId id="2147483722" r:id="rId6"/>
    <p:sldLayoutId id="2147483723" r:id="rId7"/>
    <p:sldLayoutId id="2147483724" r:id="rId8"/>
    <p:sldLayoutId id="2147483725" r:id="rId9"/>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1" kern="400" spc="40" baseline="0">
          <a:solidFill>
            <a:schemeClr val="accent3"/>
          </a:solidFill>
          <a:latin typeface="+mn-lt"/>
          <a:ea typeface="+mn-ea"/>
          <a:cs typeface="+mn-cs"/>
        </a:defRPr>
      </a:lvl3pPr>
      <a:lvl4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kern="600" spc="40" baseline="0">
          <a:solidFill>
            <a:schemeClr val="tx1"/>
          </a:solidFill>
          <a:latin typeface="+mn-lt"/>
          <a:ea typeface="+mn-ea"/>
          <a:cs typeface="+mn-cs"/>
        </a:defRPr>
      </a:lvl4pPr>
      <a:lvl5pPr marL="3571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0" i="0" kern="600" spc="40" baseline="0" dirty="0" smtClean="0">
          <a:solidFill>
            <a:schemeClr val="tx1"/>
          </a:solidFill>
          <a:latin typeface="+mn-lt"/>
          <a:ea typeface="+mn-ea"/>
          <a:cs typeface="+mn-cs"/>
        </a:defRPr>
      </a:lvl5pPr>
      <a:lvl6pPr marL="645750" marR="0"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400"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emf"/><Relationship Id="rId1" Type="http://schemas.openxmlformats.org/officeDocument/2006/relationships/slideLayout" Target="../slideLayouts/slideLayout12.xml"/><Relationship Id="rId4" Type="http://schemas.openxmlformats.org/officeDocument/2006/relationships/image" Target="../media/image15.emf"/></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normAutofit/>
          </a:bodyPr>
          <a:lstStyle/>
          <a:p>
            <a:r>
              <a:rPr lang="de-DE" sz="2000" b="1"/>
              <a:t>Thierry </a:t>
            </a:r>
            <a:r>
              <a:rPr lang="de-DE" sz="2000" b="1" smtClean="0"/>
              <a:t>Kremeyer</a:t>
            </a:r>
            <a:r>
              <a:rPr lang="de-DE" sz="2000" b="1" baseline="30000" smtClean="0"/>
              <a:t>1</a:t>
            </a:r>
            <a:endParaRPr lang="de-DE" sz="2000"/>
          </a:p>
          <a:p>
            <a:r>
              <a:rPr lang="de-DE" sz="900" baseline="30000" smtClean="0"/>
              <a:t>1 </a:t>
            </a:r>
            <a:r>
              <a:rPr lang="de-DE" sz="900" dirty="0"/>
              <a:t>Max Planck </a:t>
            </a:r>
            <a:r>
              <a:rPr lang="de-DE" sz="900" dirty="0" err="1"/>
              <a:t>Inst</a:t>
            </a:r>
            <a:r>
              <a:rPr lang="de-DE" sz="900" dirty="0"/>
              <a:t>. </a:t>
            </a:r>
            <a:r>
              <a:rPr lang="de-DE" sz="900" dirty="0" err="1"/>
              <a:t>for</a:t>
            </a:r>
            <a:r>
              <a:rPr lang="de-DE" sz="900" dirty="0"/>
              <a:t> Plasma </a:t>
            </a:r>
            <a:r>
              <a:rPr lang="de-DE" sz="900" dirty="0" err="1"/>
              <a:t>Physics</a:t>
            </a:r>
            <a:r>
              <a:rPr lang="de-DE" sz="900" dirty="0"/>
              <a:t>, 17491 Greifswald</a:t>
            </a:r>
            <a:r>
              <a:rPr lang="de-DE" sz="900"/>
              <a:t>, </a:t>
            </a:r>
            <a:r>
              <a:rPr lang="de-DE" sz="900" smtClean="0"/>
              <a:t>Germany</a:t>
            </a:r>
            <a:endParaRPr lang="de-DE" sz="900" dirty="0"/>
          </a:p>
        </p:txBody>
      </p:sp>
      <p:sp>
        <p:nvSpPr>
          <p:cNvPr id="7" name="Titel 6"/>
          <p:cNvSpPr>
            <a:spLocks noGrp="1"/>
          </p:cNvSpPr>
          <p:nvPr>
            <p:ph type="title"/>
          </p:nvPr>
        </p:nvSpPr>
        <p:spPr/>
        <p:txBody>
          <a:bodyPr/>
          <a:lstStyle/>
          <a:p>
            <a:r>
              <a:rPr lang="en-US" dirty="0" smtClean="0"/>
              <a:t>Review: 31st </a:t>
            </a:r>
            <a:r>
              <a:rPr lang="en-US" dirty="0"/>
              <a:t>European Fusion </a:t>
            </a:r>
            <a:r>
              <a:rPr lang="en-US" dirty="0" err="1"/>
              <a:t>Programme</a:t>
            </a:r>
            <a:r>
              <a:rPr lang="en-US" dirty="0"/>
              <a:t> </a:t>
            </a:r>
            <a:r>
              <a:rPr lang="en-US" dirty="0" smtClean="0"/>
              <a:t>Workshop – EFPW31</a:t>
            </a:r>
            <a:br>
              <a:rPr lang="en-US" dirty="0" smtClean="0"/>
            </a:br>
            <a:r>
              <a:rPr lang="en-US" i="1" dirty="0"/>
              <a:t>“Tungsten as first wall material: from ITER towards fusion power plants”</a:t>
            </a:r>
            <a:endParaRPr lang="en-GB" dirty="0"/>
          </a:p>
        </p:txBody>
      </p:sp>
      <p:sp>
        <p:nvSpPr>
          <p:cNvPr id="3" name="Datumsplatzhalter 2"/>
          <p:cNvSpPr>
            <a:spLocks noGrp="1"/>
          </p:cNvSpPr>
          <p:nvPr>
            <p:ph type="dt" sz="half" idx="10"/>
          </p:nvPr>
        </p:nvSpPr>
        <p:spPr/>
        <p:txBody>
          <a:bodyPr/>
          <a:lstStyle/>
          <a:p>
            <a:r>
              <a:rPr lang="de-DE" smtClean="0"/>
              <a:t>10.10.2023</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
        <p:nvSpPr>
          <p:cNvPr id="5" name="Fußzeilenplatzhalter 4"/>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Tree>
    <p:extLst>
      <p:ext uri="{BB962C8B-B14F-4D97-AF65-F5344CB8AC3E}">
        <p14:creationId xmlns:p14="http://schemas.microsoft.com/office/powerpoint/2010/main" val="401602340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feld 17"/>
          <p:cNvSpPr txBox="1"/>
          <p:nvPr/>
        </p:nvSpPr>
        <p:spPr>
          <a:xfrm>
            <a:off x="2736329" y="358775"/>
            <a:ext cx="6716707" cy="369332"/>
          </a:xfrm>
          <a:prstGeom prst="rect">
            <a:avLst/>
          </a:prstGeom>
          <a:noFill/>
        </p:spPr>
        <p:txBody>
          <a:bodyPr wrap="square" rtlCol="0">
            <a:spAutoFit/>
          </a:bodyPr>
          <a:lstStyle/>
          <a:p>
            <a:pPr algn="ctr" defTabSz="685800">
              <a:defRPr/>
            </a:pPr>
            <a:r>
              <a:rPr lang="en-GB" b="1" dirty="0" err="1">
                <a:solidFill>
                  <a:prstClr val="black"/>
                </a:solidFill>
                <a:latin typeface="Calibri" panose="020F0502020204030204"/>
              </a:rPr>
              <a:t>Wendelstein</a:t>
            </a:r>
            <a:r>
              <a:rPr lang="en-GB" b="1" dirty="0">
                <a:solidFill>
                  <a:prstClr val="black"/>
                </a:solidFill>
                <a:latin typeface="Calibri" panose="020F0502020204030204"/>
              </a:rPr>
              <a:t> 7-X – Germany: SWOT Diagram</a:t>
            </a:r>
          </a:p>
        </p:txBody>
      </p:sp>
      <p:grpSp>
        <p:nvGrpSpPr>
          <p:cNvPr id="37" name="Gruppieren 36"/>
          <p:cNvGrpSpPr/>
          <p:nvPr/>
        </p:nvGrpSpPr>
        <p:grpSpPr>
          <a:xfrm>
            <a:off x="1352550" y="1558201"/>
            <a:ext cx="9867900" cy="4397645"/>
            <a:chOff x="1477281" y="1340946"/>
            <a:chExt cx="9231909" cy="5097319"/>
          </a:xfrm>
        </p:grpSpPr>
        <p:grpSp>
          <p:nvGrpSpPr>
            <p:cNvPr id="7" name="Gruppieren 6"/>
            <p:cNvGrpSpPr/>
            <p:nvPr/>
          </p:nvGrpSpPr>
          <p:grpSpPr>
            <a:xfrm>
              <a:off x="1477281" y="3038737"/>
              <a:ext cx="3076987" cy="1785104"/>
              <a:chOff x="1352550" y="764214"/>
              <a:chExt cx="4884821" cy="2926444"/>
            </a:xfrm>
          </p:grpSpPr>
          <p:sp>
            <p:nvSpPr>
              <p:cNvPr id="4" name="Rechteck 3"/>
              <p:cNvSpPr/>
              <p:nvPr/>
            </p:nvSpPr>
            <p:spPr>
              <a:xfrm>
                <a:off x="1352550" y="772695"/>
                <a:ext cx="4884821" cy="2783305"/>
              </a:xfrm>
              <a:prstGeom prst="rect">
                <a:avLst/>
              </a:prstGeom>
              <a:no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sz="900">
                  <a:solidFill>
                    <a:prstClr val="white"/>
                  </a:solidFill>
                  <a:latin typeface="Calibri" panose="020F0502020204030204"/>
                </a:endParaRPr>
              </a:p>
            </p:txBody>
          </p:sp>
          <p:sp>
            <p:nvSpPr>
              <p:cNvPr id="6" name="Textfeld 5"/>
              <p:cNvSpPr txBox="1"/>
              <p:nvPr/>
            </p:nvSpPr>
            <p:spPr>
              <a:xfrm>
                <a:off x="1370398" y="764214"/>
                <a:ext cx="4855625" cy="2926444"/>
              </a:xfrm>
              <a:prstGeom prst="rect">
                <a:avLst/>
              </a:prstGeom>
              <a:noFill/>
            </p:spPr>
            <p:txBody>
              <a:bodyPr wrap="square" rtlCol="0">
                <a:spAutoFit/>
              </a:bodyPr>
              <a:lstStyle/>
              <a:p>
                <a:pPr defTabSz="685800">
                  <a:defRPr/>
                </a:pPr>
                <a:r>
                  <a:rPr lang="en-GB" sz="900" b="1" dirty="0">
                    <a:solidFill>
                      <a:prstClr val="black"/>
                    </a:solidFill>
                    <a:latin typeface="Calibri" panose="020F0502020204030204"/>
                  </a:rPr>
                  <a:t>Opportunities</a:t>
                </a:r>
              </a:p>
              <a:p>
                <a:pPr marL="136922" indent="-136922" defTabSz="685800">
                  <a:buFont typeface="+mj-lt"/>
                  <a:buAutoNum type="arabicPeriod"/>
                  <a:defRPr/>
                </a:pPr>
                <a:r>
                  <a:rPr lang="en-GB" sz="900" dirty="0">
                    <a:solidFill>
                      <a:prstClr val="black"/>
                    </a:solidFill>
                    <a:latin typeface="Calibri" panose="020F0502020204030204"/>
                  </a:rPr>
                  <a:t>Opportunity to move the stellarator toward the level of maturity already enjoyed by tokamaks.</a:t>
                </a:r>
              </a:p>
              <a:p>
                <a:pPr marL="136922" indent="-136922" defTabSz="685800">
                  <a:buFont typeface="+mj-lt"/>
                  <a:buAutoNum type="arabicPeriod"/>
                  <a:defRPr/>
                </a:pPr>
                <a:r>
                  <a:rPr lang="en-GB" sz="900" dirty="0">
                    <a:solidFill>
                      <a:prstClr val="black"/>
                    </a:solidFill>
                    <a:latin typeface="Calibri" panose="020F0502020204030204"/>
                  </a:rPr>
                  <a:t>Clear advantage in stability due to lack of toroidal current, but confinement, exhaust control, fast particles, etc. requires further study.</a:t>
                </a:r>
              </a:p>
              <a:p>
                <a:pPr marL="136922" indent="-136922" defTabSz="685800">
                  <a:buFont typeface="+mj-lt"/>
                  <a:buAutoNum type="arabicPeriod"/>
                  <a:defRPr/>
                </a:pPr>
                <a:r>
                  <a:rPr lang="en-GB" sz="900" dirty="0">
                    <a:solidFill>
                      <a:prstClr val="black"/>
                    </a:solidFill>
                    <a:latin typeface="Calibri" panose="020F0502020204030204"/>
                  </a:rPr>
                  <a:t>Bavarian Master Plan Fusion.</a:t>
                </a:r>
              </a:p>
            </p:txBody>
          </p:sp>
        </p:grpSp>
        <p:grpSp>
          <p:nvGrpSpPr>
            <p:cNvPr id="8" name="Gruppieren 7"/>
            <p:cNvGrpSpPr/>
            <p:nvPr/>
          </p:nvGrpSpPr>
          <p:grpSpPr>
            <a:xfrm>
              <a:off x="4555217" y="3043298"/>
              <a:ext cx="3076987" cy="2067008"/>
              <a:chOff x="1352550" y="771691"/>
              <a:chExt cx="4884821" cy="3388591"/>
            </a:xfrm>
            <a:solidFill>
              <a:schemeClr val="accent4">
                <a:lumMod val="40000"/>
                <a:lumOff val="60000"/>
              </a:schemeClr>
            </a:solidFill>
          </p:grpSpPr>
          <p:sp>
            <p:nvSpPr>
              <p:cNvPr id="9" name="Rechteck 8"/>
              <p:cNvSpPr/>
              <p:nvPr/>
            </p:nvSpPr>
            <p:spPr>
              <a:xfrm>
                <a:off x="1352550" y="771691"/>
                <a:ext cx="4884821" cy="2783305"/>
              </a:xfrm>
              <a:prstGeom prst="rect">
                <a:avLst/>
              </a:prstGeom>
              <a:grp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sz="900">
                  <a:solidFill>
                    <a:prstClr val="white"/>
                  </a:solidFill>
                  <a:latin typeface="Calibri" panose="020F0502020204030204"/>
                </a:endParaRPr>
              </a:p>
            </p:txBody>
          </p:sp>
          <p:sp>
            <p:nvSpPr>
              <p:cNvPr id="10" name="Textfeld 9"/>
              <p:cNvSpPr txBox="1"/>
              <p:nvPr/>
            </p:nvSpPr>
            <p:spPr>
              <a:xfrm>
                <a:off x="1458403" y="818975"/>
                <a:ext cx="4694287" cy="3341307"/>
              </a:xfrm>
              <a:prstGeom prst="rect">
                <a:avLst/>
              </a:prstGeom>
              <a:grpFill/>
            </p:spPr>
            <p:txBody>
              <a:bodyPr wrap="square" rtlCol="0">
                <a:spAutoFit/>
              </a:bodyPr>
              <a:lstStyle/>
              <a:p>
                <a:pPr marL="136922" indent="-136922" defTabSz="685800">
                  <a:spcBef>
                    <a:spcPts val="150"/>
                  </a:spcBef>
                  <a:buFont typeface="+mj-lt"/>
                  <a:buAutoNum type="arabicPeriod"/>
                  <a:defRPr/>
                </a:pPr>
                <a:r>
                  <a:rPr lang="en-GB" sz="900" dirty="0">
                    <a:solidFill>
                      <a:srgbClr val="FF0000"/>
                    </a:solidFill>
                    <a:latin typeface="Calibri" panose="020F0502020204030204"/>
                  </a:rPr>
                  <a:t>W7-X research plan has appropriately broad scope; use it to build the physics basis. Accelerate/intensify as reasonable.</a:t>
                </a:r>
              </a:p>
              <a:p>
                <a:pPr marL="136922" indent="-136922" defTabSz="685800">
                  <a:spcBef>
                    <a:spcPts val="150"/>
                  </a:spcBef>
                  <a:buFont typeface="+mj-lt"/>
                  <a:buAutoNum type="arabicPeriod"/>
                  <a:defRPr/>
                </a:pPr>
                <a:r>
                  <a:rPr lang="en-GB" sz="900" dirty="0">
                    <a:solidFill>
                      <a:srgbClr val="FF0000"/>
                    </a:solidFill>
                    <a:latin typeface="Calibri" panose="020F0502020204030204"/>
                  </a:rPr>
                  <a:t>Collaborate with similar-scale tokamaks to identify relative strengths and weaknesses and build the case for a next-step stellarator.</a:t>
                </a:r>
              </a:p>
              <a:p>
                <a:pPr marL="136922" indent="-136922" defTabSz="685800">
                  <a:spcBef>
                    <a:spcPts val="150"/>
                  </a:spcBef>
                  <a:buFont typeface="+mj-lt"/>
                  <a:buAutoNum type="arabicPeriod"/>
                  <a:defRPr/>
                </a:pPr>
                <a:r>
                  <a:rPr lang="en-GB" sz="900" dirty="0">
                    <a:solidFill>
                      <a:srgbClr val="FF0000"/>
                    </a:solidFill>
                    <a:latin typeface="Calibri" panose="020F0502020204030204"/>
                  </a:rPr>
                  <a:t>Use ICRH to study fast particle behaviour.</a:t>
                </a:r>
              </a:p>
            </p:txBody>
          </p:sp>
        </p:grpSp>
        <p:grpSp>
          <p:nvGrpSpPr>
            <p:cNvPr id="11" name="Gruppieren 10"/>
            <p:cNvGrpSpPr/>
            <p:nvPr/>
          </p:nvGrpSpPr>
          <p:grpSpPr>
            <a:xfrm>
              <a:off x="1477281" y="4740475"/>
              <a:ext cx="3076987" cy="1697790"/>
              <a:chOff x="1352550" y="772695"/>
              <a:chExt cx="4884821" cy="2783305"/>
            </a:xfrm>
          </p:grpSpPr>
          <p:sp>
            <p:nvSpPr>
              <p:cNvPr id="12" name="Rechteck 11"/>
              <p:cNvSpPr/>
              <p:nvPr/>
            </p:nvSpPr>
            <p:spPr>
              <a:xfrm>
                <a:off x="1352550" y="772695"/>
                <a:ext cx="4884821" cy="2783305"/>
              </a:xfrm>
              <a:prstGeom prst="rect">
                <a:avLst/>
              </a:prstGeom>
              <a:no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sz="900">
                  <a:solidFill>
                    <a:prstClr val="white"/>
                  </a:solidFill>
                  <a:latin typeface="Calibri" panose="020F0502020204030204"/>
                </a:endParaRPr>
              </a:p>
            </p:txBody>
          </p:sp>
          <p:sp>
            <p:nvSpPr>
              <p:cNvPr id="13" name="Textfeld 12"/>
              <p:cNvSpPr txBox="1"/>
              <p:nvPr/>
            </p:nvSpPr>
            <p:spPr>
              <a:xfrm>
                <a:off x="1362395" y="1064210"/>
                <a:ext cx="4795585" cy="1524892"/>
              </a:xfrm>
              <a:prstGeom prst="rect">
                <a:avLst/>
              </a:prstGeom>
              <a:noFill/>
            </p:spPr>
            <p:txBody>
              <a:bodyPr wrap="square" rtlCol="0">
                <a:spAutoFit/>
              </a:bodyPr>
              <a:lstStyle/>
              <a:p>
                <a:pPr defTabSz="685800">
                  <a:defRPr/>
                </a:pPr>
                <a:r>
                  <a:rPr lang="en-GB" sz="900" b="1" dirty="0">
                    <a:solidFill>
                      <a:prstClr val="black"/>
                    </a:solidFill>
                    <a:latin typeface="Calibri" panose="020F0502020204030204"/>
                  </a:rPr>
                  <a:t>Threats</a:t>
                </a:r>
              </a:p>
              <a:p>
                <a:pPr marL="136922" indent="-136922" defTabSz="685800">
                  <a:spcBef>
                    <a:spcPts val="150"/>
                  </a:spcBef>
                  <a:buFont typeface="+mj-lt"/>
                  <a:buAutoNum type="arabicPeriod"/>
                  <a:defRPr/>
                </a:pPr>
                <a:r>
                  <a:rPr lang="en-GB" sz="900" dirty="0">
                    <a:solidFill>
                      <a:prstClr val="black"/>
                    </a:solidFill>
                    <a:latin typeface="Calibri" panose="020F0502020204030204"/>
                  </a:rPr>
                  <a:t>Stellarator technology remains more complicated than tokamaks.</a:t>
                </a:r>
              </a:p>
              <a:p>
                <a:pPr marL="136922" indent="-136922" defTabSz="685800">
                  <a:spcBef>
                    <a:spcPts val="150"/>
                  </a:spcBef>
                  <a:buFont typeface="+mj-lt"/>
                  <a:buAutoNum type="arabicPeriod"/>
                  <a:defRPr/>
                </a:pPr>
                <a:r>
                  <a:rPr lang="en-GB" sz="900" dirty="0">
                    <a:solidFill>
                      <a:prstClr val="black"/>
                    </a:solidFill>
                    <a:latin typeface="Calibri" panose="020F0502020204030204"/>
                  </a:rPr>
                  <a:t>EUROfusion budget is short.</a:t>
                </a:r>
              </a:p>
            </p:txBody>
          </p:sp>
        </p:grpSp>
        <p:grpSp>
          <p:nvGrpSpPr>
            <p:cNvPr id="14" name="Gruppieren 13"/>
            <p:cNvGrpSpPr/>
            <p:nvPr/>
          </p:nvGrpSpPr>
          <p:grpSpPr>
            <a:xfrm>
              <a:off x="4555217" y="4740475"/>
              <a:ext cx="3076987" cy="1697790"/>
              <a:chOff x="1352550" y="772695"/>
              <a:chExt cx="4884821" cy="2783305"/>
            </a:xfrm>
            <a:solidFill>
              <a:schemeClr val="accent4">
                <a:lumMod val="40000"/>
                <a:lumOff val="60000"/>
              </a:schemeClr>
            </a:solidFill>
          </p:grpSpPr>
          <p:sp>
            <p:nvSpPr>
              <p:cNvPr id="15" name="Rechteck 14"/>
              <p:cNvSpPr/>
              <p:nvPr/>
            </p:nvSpPr>
            <p:spPr>
              <a:xfrm>
                <a:off x="1352550" y="772695"/>
                <a:ext cx="4884821" cy="2783305"/>
              </a:xfrm>
              <a:prstGeom prst="rect">
                <a:avLst/>
              </a:prstGeom>
              <a:grp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sz="900">
                  <a:solidFill>
                    <a:prstClr val="white"/>
                  </a:solidFill>
                  <a:latin typeface="Calibri" panose="020F0502020204030204"/>
                </a:endParaRPr>
              </a:p>
            </p:txBody>
          </p:sp>
          <p:sp>
            <p:nvSpPr>
              <p:cNvPr id="16" name="Textfeld 15"/>
              <p:cNvSpPr txBox="1"/>
              <p:nvPr/>
            </p:nvSpPr>
            <p:spPr>
              <a:xfrm>
                <a:off x="1455767" y="858908"/>
                <a:ext cx="4696920" cy="2679773"/>
              </a:xfrm>
              <a:prstGeom prst="rect">
                <a:avLst/>
              </a:prstGeom>
              <a:grpFill/>
            </p:spPr>
            <p:txBody>
              <a:bodyPr wrap="square" rtlCol="0">
                <a:spAutoFit/>
              </a:bodyPr>
              <a:lstStyle/>
              <a:p>
                <a:pPr marL="136922" indent="-136922" defTabSz="685800">
                  <a:spcBef>
                    <a:spcPts val="150"/>
                  </a:spcBef>
                  <a:buFont typeface="+mj-lt"/>
                  <a:buAutoNum type="arabicPeriod"/>
                  <a:defRPr/>
                </a:pPr>
                <a:r>
                  <a:rPr lang="en-GB" sz="900" dirty="0">
                    <a:solidFill>
                      <a:srgbClr val="FF0000"/>
                    </a:solidFill>
                    <a:latin typeface="Calibri" panose="020F0502020204030204"/>
                  </a:rPr>
                  <a:t>Project should be supported at high priority due to uniqueness to support Mission 8.</a:t>
                </a:r>
              </a:p>
              <a:p>
                <a:pPr marL="136922" indent="-136922" defTabSz="685800">
                  <a:spcBef>
                    <a:spcPts val="150"/>
                  </a:spcBef>
                  <a:buFont typeface="+mj-lt"/>
                  <a:buAutoNum type="arabicPeriod"/>
                  <a:defRPr/>
                </a:pPr>
                <a:r>
                  <a:rPr lang="en-US" sz="900" dirty="0">
                    <a:solidFill>
                      <a:srgbClr val="FF0000"/>
                    </a:solidFill>
                    <a:latin typeface="Calibri" panose="020F0502020204030204"/>
                  </a:rPr>
                  <a:t>Follow the FSD proposal in the Review input docs: proceed by employing all available EU expertise, backfit W7-X with power upgrades and change to an actively cooled metallic wall.</a:t>
                </a:r>
                <a:endParaRPr lang="de-DE" sz="900" dirty="0">
                  <a:solidFill>
                    <a:srgbClr val="FF0000"/>
                  </a:solidFill>
                  <a:latin typeface="Calibri" panose="020F0502020204030204"/>
                </a:endParaRPr>
              </a:p>
            </p:txBody>
          </p:sp>
        </p:grpSp>
        <p:grpSp>
          <p:nvGrpSpPr>
            <p:cNvPr id="22" name="Gruppieren 21"/>
            <p:cNvGrpSpPr/>
            <p:nvPr/>
          </p:nvGrpSpPr>
          <p:grpSpPr>
            <a:xfrm>
              <a:off x="7632203" y="3041833"/>
              <a:ext cx="3076987" cy="1697793"/>
              <a:chOff x="1356332" y="774095"/>
              <a:chExt cx="4884821" cy="2783305"/>
            </a:xfrm>
            <a:solidFill>
              <a:schemeClr val="accent4">
                <a:lumMod val="40000"/>
                <a:lumOff val="60000"/>
              </a:schemeClr>
            </a:solidFill>
          </p:grpSpPr>
          <p:sp>
            <p:nvSpPr>
              <p:cNvPr id="23" name="Rechteck 22"/>
              <p:cNvSpPr/>
              <p:nvPr/>
            </p:nvSpPr>
            <p:spPr>
              <a:xfrm>
                <a:off x="1356332" y="774095"/>
                <a:ext cx="4884821" cy="2783305"/>
              </a:xfrm>
              <a:prstGeom prst="rect">
                <a:avLst/>
              </a:prstGeom>
              <a:grp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sz="900">
                  <a:solidFill>
                    <a:prstClr val="white"/>
                  </a:solidFill>
                  <a:latin typeface="Calibri" panose="020F0502020204030204"/>
                </a:endParaRPr>
              </a:p>
            </p:txBody>
          </p:sp>
          <p:sp>
            <p:nvSpPr>
              <p:cNvPr id="24" name="Textfeld 23"/>
              <p:cNvSpPr txBox="1"/>
              <p:nvPr/>
            </p:nvSpPr>
            <p:spPr>
              <a:xfrm>
                <a:off x="1431941" y="823781"/>
                <a:ext cx="4715457" cy="2377031"/>
              </a:xfrm>
              <a:prstGeom prst="rect">
                <a:avLst/>
              </a:prstGeom>
              <a:grpFill/>
            </p:spPr>
            <p:txBody>
              <a:bodyPr wrap="square" rtlCol="0">
                <a:spAutoFit/>
              </a:bodyPr>
              <a:lstStyle/>
              <a:p>
                <a:pPr marL="136922" indent="-136922" defTabSz="685800">
                  <a:spcBef>
                    <a:spcPts val="150"/>
                  </a:spcBef>
                  <a:buFont typeface="+mj-lt"/>
                  <a:buAutoNum type="arabicPeriod"/>
                  <a:defRPr/>
                </a:pPr>
                <a:r>
                  <a:rPr lang="en-GB" sz="900" dirty="0">
                    <a:solidFill>
                      <a:srgbClr val="FF0000"/>
                    </a:solidFill>
                    <a:latin typeface="Calibri" panose="020F0502020204030204"/>
                  </a:rPr>
                  <a:t>Seek collaboration between </a:t>
                </a:r>
                <a:r>
                  <a:rPr lang="en-GB" sz="900" dirty="0" err="1">
                    <a:solidFill>
                      <a:srgbClr val="FF0000"/>
                    </a:solidFill>
                    <a:latin typeface="Calibri" panose="020F0502020204030204"/>
                  </a:rPr>
                  <a:t>EUROfusion</a:t>
                </a:r>
                <a:r>
                  <a:rPr lang="en-GB" sz="900" dirty="0">
                    <a:solidFill>
                      <a:srgbClr val="FF0000"/>
                    </a:solidFill>
                    <a:latin typeface="Calibri" panose="020F0502020204030204"/>
                  </a:rPr>
                  <a:t> and German BMBF and aim at mutual support </a:t>
                </a:r>
                <a:r>
                  <a:rPr lang="en-GB" sz="900" dirty="0" err="1">
                    <a:solidFill>
                      <a:srgbClr val="FF0000"/>
                    </a:solidFill>
                    <a:latin typeface="Calibri" panose="020F0502020204030204"/>
                  </a:rPr>
                  <a:t>wrt</a:t>
                </a:r>
                <a:r>
                  <a:rPr lang="en-GB" sz="900" dirty="0">
                    <a:solidFill>
                      <a:srgbClr val="FF0000"/>
                    </a:solidFill>
                    <a:latin typeface="Calibri" panose="020F0502020204030204"/>
                  </a:rPr>
                  <a:t> W7-X and the stellarator technology.</a:t>
                </a:r>
              </a:p>
              <a:p>
                <a:pPr marL="136922" indent="-136922" defTabSz="685800">
                  <a:spcBef>
                    <a:spcPts val="150"/>
                  </a:spcBef>
                  <a:buFont typeface="+mj-lt"/>
                  <a:buAutoNum type="arabicPeriod"/>
                  <a:defRPr/>
                </a:pPr>
                <a:r>
                  <a:rPr lang="en-GB" sz="900" dirty="0">
                    <a:solidFill>
                      <a:srgbClr val="FF0000"/>
                    </a:solidFill>
                    <a:latin typeface="Calibri" panose="020F0502020204030204"/>
                  </a:rPr>
                  <a:t>Explore possibilities and synergies arising from the Bavarian Master Plan Fusion.</a:t>
                </a:r>
              </a:p>
            </p:txBody>
          </p:sp>
        </p:grpSp>
        <p:grpSp>
          <p:nvGrpSpPr>
            <p:cNvPr id="25" name="Gruppieren 24"/>
            <p:cNvGrpSpPr/>
            <p:nvPr/>
          </p:nvGrpSpPr>
          <p:grpSpPr>
            <a:xfrm>
              <a:off x="7629821" y="4737545"/>
              <a:ext cx="3076987" cy="1697791"/>
              <a:chOff x="1352550" y="772695"/>
              <a:chExt cx="4884821" cy="2783305"/>
            </a:xfrm>
            <a:solidFill>
              <a:schemeClr val="accent4">
                <a:lumMod val="40000"/>
                <a:lumOff val="60000"/>
              </a:schemeClr>
            </a:solidFill>
          </p:grpSpPr>
          <p:sp>
            <p:nvSpPr>
              <p:cNvPr id="26" name="Rechteck 25"/>
              <p:cNvSpPr/>
              <p:nvPr/>
            </p:nvSpPr>
            <p:spPr>
              <a:xfrm>
                <a:off x="1352550" y="772695"/>
                <a:ext cx="4884821" cy="2783305"/>
              </a:xfrm>
              <a:prstGeom prst="rect">
                <a:avLst/>
              </a:prstGeom>
              <a:grp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sz="900">
                  <a:solidFill>
                    <a:prstClr val="white"/>
                  </a:solidFill>
                  <a:latin typeface="Calibri" panose="020F0502020204030204"/>
                </a:endParaRPr>
              </a:p>
            </p:txBody>
          </p:sp>
          <p:sp>
            <p:nvSpPr>
              <p:cNvPr id="27" name="Textfeld 26"/>
              <p:cNvSpPr txBox="1"/>
              <p:nvPr/>
            </p:nvSpPr>
            <p:spPr>
              <a:xfrm>
                <a:off x="1570872" y="1606738"/>
                <a:ext cx="4448175" cy="807295"/>
              </a:xfrm>
              <a:prstGeom prst="rect">
                <a:avLst/>
              </a:prstGeom>
              <a:grpFill/>
            </p:spPr>
            <p:txBody>
              <a:bodyPr wrap="square" rtlCol="0">
                <a:spAutoFit/>
              </a:bodyPr>
              <a:lstStyle/>
              <a:p>
                <a:pPr defTabSz="685800">
                  <a:spcBef>
                    <a:spcPts val="150"/>
                  </a:spcBef>
                  <a:defRPr/>
                </a:pPr>
                <a:r>
                  <a:rPr lang="en-GB" sz="900" dirty="0">
                    <a:solidFill>
                      <a:srgbClr val="FF0000"/>
                    </a:solidFill>
                    <a:latin typeface="Calibri" panose="020F0502020204030204"/>
                  </a:rPr>
                  <a:t>Consider strategies to simplify stellarator design and construction for next-steps.</a:t>
                </a:r>
              </a:p>
            </p:txBody>
          </p:sp>
        </p:grpSp>
        <p:grpSp>
          <p:nvGrpSpPr>
            <p:cNvPr id="28" name="Gruppieren 27"/>
            <p:cNvGrpSpPr/>
            <p:nvPr/>
          </p:nvGrpSpPr>
          <p:grpSpPr>
            <a:xfrm>
              <a:off x="4552834" y="1343802"/>
              <a:ext cx="3076987" cy="1772679"/>
              <a:chOff x="1352550" y="772695"/>
              <a:chExt cx="4884821" cy="2906076"/>
            </a:xfrm>
          </p:grpSpPr>
          <p:sp>
            <p:nvSpPr>
              <p:cNvPr id="29" name="Rechteck 28"/>
              <p:cNvSpPr/>
              <p:nvPr/>
            </p:nvSpPr>
            <p:spPr>
              <a:xfrm>
                <a:off x="1352550" y="772695"/>
                <a:ext cx="4884821" cy="2783305"/>
              </a:xfrm>
              <a:prstGeom prst="rect">
                <a:avLst/>
              </a:prstGeom>
              <a:no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sz="900">
                  <a:solidFill>
                    <a:prstClr val="white"/>
                  </a:solidFill>
                  <a:latin typeface="Calibri" panose="020F0502020204030204"/>
                </a:endParaRPr>
              </a:p>
            </p:txBody>
          </p:sp>
          <p:sp>
            <p:nvSpPr>
              <p:cNvPr id="30" name="Textfeld 29"/>
              <p:cNvSpPr txBox="1"/>
              <p:nvPr/>
            </p:nvSpPr>
            <p:spPr>
              <a:xfrm>
                <a:off x="1570872" y="942936"/>
                <a:ext cx="4585598" cy="2735835"/>
              </a:xfrm>
              <a:prstGeom prst="rect">
                <a:avLst/>
              </a:prstGeom>
              <a:noFill/>
            </p:spPr>
            <p:txBody>
              <a:bodyPr wrap="square" rtlCol="0">
                <a:spAutoFit/>
              </a:bodyPr>
              <a:lstStyle/>
              <a:p>
                <a:pPr defTabSz="685800">
                  <a:defRPr/>
                </a:pPr>
                <a:r>
                  <a:rPr lang="en-GB" sz="900" b="1" dirty="0">
                    <a:solidFill>
                      <a:prstClr val="black"/>
                    </a:solidFill>
                    <a:latin typeface="Calibri" panose="020F0502020204030204"/>
                  </a:rPr>
                  <a:t>Weaknesses</a:t>
                </a:r>
              </a:p>
              <a:p>
                <a:pPr marL="136922" indent="-136922" defTabSz="685800">
                  <a:spcBef>
                    <a:spcPts val="150"/>
                  </a:spcBef>
                  <a:buFont typeface="+mj-lt"/>
                  <a:buAutoNum type="arabicPeriod"/>
                  <a:defRPr/>
                </a:pPr>
                <a:r>
                  <a:rPr lang="en-GB" sz="900" dirty="0">
                    <a:solidFill>
                      <a:prstClr val="black"/>
                    </a:solidFill>
                    <a:latin typeface="Calibri" panose="020F0502020204030204"/>
                  </a:rPr>
                  <a:t>Unlike tokamaks, W7-X is part of a very small community of peers, with only a few smaller devices in operation around the world.</a:t>
                </a:r>
              </a:p>
              <a:p>
                <a:pPr marL="136922" indent="-136922" defTabSz="685800">
                  <a:spcBef>
                    <a:spcPts val="150"/>
                  </a:spcBef>
                  <a:buFont typeface="+mj-lt"/>
                  <a:buAutoNum type="arabicPeriod"/>
                  <a:defRPr/>
                </a:pPr>
                <a:r>
                  <a:rPr lang="en-GB" sz="900" dirty="0">
                    <a:solidFill>
                      <a:prstClr val="black"/>
                    </a:solidFill>
                    <a:latin typeface="Calibri" panose="020F0502020204030204"/>
                  </a:rPr>
                  <a:t>Collaboration opportunities very limited.</a:t>
                </a:r>
              </a:p>
              <a:p>
                <a:pPr defTabSz="685800">
                  <a:defRPr/>
                </a:pPr>
                <a:endParaRPr lang="en-GB" sz="900" dirty="0">
                  <a:solidFill>
                    <a:prstClr val="black"/>
                  </a:solidFill>
                  <a:latin typeface="Calibri" panose="020F0502020204030204"/>
                </a:endParaRPr>
              </a:p>
            </p:txBody>
          </p:sp>
        </p:grpSp>
        <p:grpSp>
          <p:nvGrpSpPr>
            <p:cNvPr id="31" name="Gruppieren 30"/>
            <p:cNvGrpSpPr/>
            <p:nvPr/>
          </p:nvGrpSpPr>
          <p:grpSpPr>
            <a:xfrm>
              <a:off x="7626489" y="1340946"/>
              <a:ext cx="3076987" cy="1697792"/>
              <a:chOff x="1352550" y="772695"/>
              <a:chExt cx="4884821" cy="2783305"/>
            </a:xfrm>
          </p:grpSpPr>
          <p:sp>
            <p:nvSpPr>
              <p:cNvPr id="32" name="Rechteck 31"/>
              <p:cNvSpPr/>
              <p:nvPr/>
            </p:nvSpPr>
            <p:spPr>
              <a:xfrm>
                <a:off x="1352550" y="772695"/>
                <a:ext cx="4884821" cy="2783305"/>
              </a:xfrm>
              <a:prstGeom prst="rect">
                <a:avLst/>
              </a:prstGeom>
              <a:no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sz="900">
                  <a:solidFill>
                    <a:prstClr val="white"/>
                  </a:solidFill>
                  <a:latin typeface="Calibri" panose="020F0502020204030204"/>
                </a:endParaRPr>
              </a:p>
            </p:txBody>
          </p:sp>
          <p:sp>
            <p:nvSpPr>
              <p:cNvPr id="33" name="Textfeld 32"/>
              <p:cNvSpPr txBox="1"/>
              <p:nvPr/>
            </p:nvSpPr>
            <p:spPr>
              <a:xfrm>
                <a:off x="1570872" y="947618"/>
                <a:ext cx="4594668" cy="2545219"/>
              </a:xfrm>
              <a:prstGeom prst="rect">
                <a:avLst/>
              </a:prstGeom>
              <a:noFill/>
            </p:spPr>
            <p:txBody>
              <a:bodyPr wrap="square" rtlCol="0">
                <a:spAutoFit/>
              </a:bodyPr>
              <a:lstStyle/>
              <a:p>
                <a:pPr defTabSz="685800">
                  <a:defRPr/>
                </a:pPr>
                <a:r>
                  <a:rPr lang="en-GB" sz="900" b="1" dirty="0">
                    <a:solidFill>
                      <a:prstClr val="black"/>
                    </a:solidFill>
                    <a:latin typeface="Calibri" panose="020F0502020204030204"/>
                  </a:rPr>
                  <a:t>Strengths</a:t>
                </a:r>
              </a:p>
              <a:p>
                <a:pPr marL="136922" indent="-136922" defTabSz="685800">
                  <a:spcBef>
                    <a:spcPts val="150"/>
                  </a:spcBef>
                  <a:buFont typeface="+mj-lt"/>
                  <a:buAutoNum type="arabicPeriod"/>
                  <a:defRPr/>
                </a:pPr>
                <a:r>
                  <a:rPr lang="en-GB" sz="900" dirty="0">
                    <a:solidFill>
                      <a:prstClr val="black"/>
                    </a:solidFill>
                    <a:latin typeface="Calibri" panose="020F0502020204030204"/>
                  </a:rPr>
                  <a:t>Strong capabilities to fill in physics basis for stellarator power plants.</a:t>
                </a:r>
              </a:p>
              <a:p>
                <a:pPr marL="136922" indent="-136922" defTabSz="685800">
                  <a:spcBef>
                    <a:spcPts val="150"/>
                  </a:spcBef>
                  <a:buFont typeface="+mj-lt"/>
                  <a:buAutoNum type="arabicPeriod"/>
                  <a:defRPr/>
                </a:pPr>
                <a:r>
                  <a:rPr lang="en-GB" sz="900" dirty="0">
                    <a:solidFill>
                      <a:prstClr val="black"/>
                    </a:solidFill>
                    <a:latin typeface="Calibri" panose="020F0502020204030204"/>
                  </a:rPr>
                  <a:t>Leading alternative to the tokamak.</a:t>
                </a:r>
              </a:p>
              <a:p>
                <a:pPr marL="136922" indent="-136922" defTabSz="685800">
                  <a:spcBef>
                    <a:spcPts val="150"/>
                  </a:spcBef>
                  <a:buFont typeface="+mj-lt"/>
                  <a:buAutoNum type="arabicPeriod"/>
                  <a:defRPr/>
                </a:pPr>
                <a:r>
                  <a:rPr lang="en-GB" sz="900" dirty="0">
                    <a:solidFill>
                      <a:prstClr val="black"/>
                    </a:solidFill>
                    <a:latin typeface="Calibri" panose="020F0502020204030204"/>
                  </a:rPr>
                  <a:t>The stellarator plasma is largely free from spontaneous disruptions.</a:t>
                </a:r>
              </a:p>
              <a:p>
                <a:pPr marL="136922" indent="-136922" defTabSz="685800">
                  <a:spcBef>
                    <a:spcPts val="150"/>
                  </a:spcBef>
                  <a:buFont typeface="+mj-lt"/>
                  <a:buAutoNum type="arabicPeriod"/>
                  <a:defRPr/>
                </a:pPr>
                <a:r>
                  <a:rPr lang="en-GB" sz="900" dirty="0">
                    <a:solidFill>
                      <a:prstClr val="black"/>
                    </a:solidFill>
                    <a:latin typeface="Calibri" panose="020F0502020204030204"/>
                  </a:rPr>
                  <a:t>Lots of available heating power.</a:t>
                </a:r>
              </a:p>
            </p:txBody>
          </p:sp>
        </p:grpSp>
        <p:grpSp>
          <p:nvGrpSpPr>
            <p:cNvPr id="3" name="Gruppieren 2"/>
            <p:cNvGrpSpPr/>
            <p:nvPr/>
          </p:nvGrpSpPr>
          <p:grpSpPr>
            <a:xfrm>
              <a:off x="2351532" y="1477612"/>
              <a:ext cx="1474091" cy="1131928"/>
              <a:chOff x="1856232" y="1477612"/>
              <a:chExt cx="1474091" cy="1131928"/>
            </a:xfrm>
          </p:grpSpPr>
          <p:sp>
            <p:nvSpPr>
              <p:cNvPr id="35" name="Rechteck 34"/>
              <p:cNvSpPr/>
              <p:nvPr/>
            </p:nvSpPr>
            <p:spPr>
              <a:xfrm>
                <a:off x="1856232" y="1477612"/>
                <a:ext cx="1399032" cy="1131928"/>
              </a:xfrm>
              <a:prstGeom prst="rect">
                <a:avLst/>
              </a:prstGeom>
              <a:solidFill>
                <a:schemeClr val="accent4">
                  <a:lumMod val="40000"/>
                  <a:lumOff val="60000"/>
                </a:schemeClr>
              </a:solid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sz="900">
                  <a:solidFill>
                    <a:prstClr val="white"/>
                  </a:solidFill>
                  <a:latin typeface="Calibri" panose="020F0502020204030204"/>
                </a:endParaRPr>
              </a:p>
            </p:txBody>
          </p:sp>
          <p:sp>
            <p:nvSpPr>
              <p:cNvPr id="36" name="Textfeld 35"/>
              <p:cNvSpPr txBox="1"/>
              <p:nvPr/>
            </p:nvSpPr>
            <p:spPr>
              <a:xfrm>
                <a:off x="1982340" y="1555343"/>
                <a:ext cx="1347983" cy="677108"/>
              </a:xfrm>
              <a:prstGeom prst="rect">
                <a:avLst/>
              </a:prstGeom>
              <a:noFill/>
            </p:spPr>
            <p:txBody>
              <a:bodyPr wrap="square" rtlCol="0">
                <a:spAutoFit/>
              </a:bodyPr>
              <a:lstStyle/>
              <a:p>
                <a:pPr defTabSz="685800">
                  <a:defRPr/>
                </a:pPr>
                <a:r>
                  <a:rPr lang="en-GB" sz="900" b="1">
                    <a:solidFill>
                      <a:prstClr val="black"/>
                    </a:solidFill>
                    <a:latin typeface="Calibri" panose="020F0502020204030204"/>
                  </a:rPr>
                  <a:t>Possible</a:t>
                </a:r>
                <a:br>
                  <a:rPr lang="en-GB" sz="900" b="1">
                    <a:solidFill>
                      <a:prstClr val="black"/>
                    </a:solidFill>
                    <a:latin typeface="Calibri" panose="020F0502020204030204"/>
                  </a:rPr>
                </a:br>
                <a:r>
                  <a:rPr lang="en-GB" sz="900" b="1">
                    <a:solidFill>
                      <a:prstClr val="black"/>
                    </a:solidFill>
                    <a:latin typeface="Calibri" panose="020F0502020204030204"/>
                  </a:rPr>
                  <a:t>strategies</a:t>
                </a:r>
              </a:p>
              <a:p>
                <a:pPr defTabSz="685800">
                  <a:defRPr/>
                </a:pPr>
                <a:r>
                  <a:rPr lang="en-GB" sz="900" b="1">
                    <a:solidFill>
                      <a:prstClr val="black"/>
                    </a:solidFill>
                    <a:latin typeface="Calibri" panose="020F0502020204030204"/>
                  </a:rPr>
                  <a:t>&amp; actions</a:t>
                </a:r>
                <a:endParaRPr lang="en-GB" sz="900">
                  <a:solidFill>
                    <a:prstClr val="black"/>
                  </a:solidFill>
                  <a:latin typeface="Calibri" panose="020F0502020204030204"/>
                </a:endParaRPr>
              </a:p>
            </p:txBody>
          </p:sp>
        </p:grpSp>
        <p:sp>
          <p:nvSpPr>
            <p:cNvPr id="5" name="Pfeil nach rechts 4"/>
            <p:cNvSpPr/>
            <p:nvPr/>
          </p:nvSpPr>
          <p:spPr>
            <a:xfrm rot="1758724">
              <a:off x="3915002" y="2618345"/>
              <a:ext cx="473394" cy="286494"/>
            </a:xfrm>
            <a:prstGeom prst="rightArrow">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GB" sz="900">
                <a:solidFill>
                  <a:prstClr val="white"/>
                </a:solidFill>
                <a:latin typeface="Calibri" panose="020F0502020204030204"/>
              </a:endParaRPr>
            </a:p>
          </p:txBody>
        </p:sp>
      </p:grpSp>
      <p:sp>
        <p:nvSpPr>
          <p:cNvPr id="2" name="TextBox 1">
            <a:extLst>
              <a:ext uri="{FF2B5EF4-FFF2-40B4-BE49-F238E27FC236}">
                <a16:creationId xmlns:a16="http://schemas.microsoft.com/office/drawing/2014/main" id="{4C9F43E9-5133-A625-0DE7-85F80B456B74}"/>
              </a:ext>
            </a:extLst>
          </p:cNvPr>
          <p:cNvSpPr txBox="1"/>
          <p:nvPr/>
        </p:nvSpPr>
        <p:spPr>
          <a:xfrm>
            <a:off x="2208723" y="911870"/>
            <a:ext cx="7836614" cy="646331"/>
          </a:xfrm>
          <a:prstGeom prst="rect">
            <a:avLst/>
          </a:prstGeom>
          <a:noFill/>
        </p:spPr>
        <p:txBody>
          <a:bodyPr wrap="square">
            <a:spAutoFit/>
          </a:bodyPr>
          <a:lstStyle/>
          <a:p>
            <a:pPr marL="214313" indent="-214313" defTabSz="685800">
              <a:buFont typeface="Arial" panose="020B0604020202020204" pitchFamily="34" charset="0"/>
              <a:buChar char="•"/>
              <a:defRPr/>
            </a:pPr>
            <a:r>
              <a:rPr lang="en-GB" sz="1200" dirty="0">
                <a:solidFill>
                  <a:prstClr val="black"/>
                </a:solidFill>
                <a:latin typeface="Calibri" panose="020F0502020204030204"/>
              </a:rPr>
              <a:t>W7-X is a large-scale, quasi-isodynamic stellarator with superconducting coils, an island divertor configuration, water-cooled CFC PFCs (currently), and extensive H&amp;CD, Diagnostic and Control capabilities</a:t>
            </a:r>
          </a:p>
          <a:p>
            <a:pPr marL="214313" indent="-214313" algn="ctr" defTabSz="685800">
              <a:buFont typeface="Arial" panose="020B0604020202020204" pitchFamily="34" charset="0"/>
              <a:buChar char="•"/>
              <a:defRPr/>
            </a:pPr>
            <a:r>
              <a:rPr lang="en-GB" sz="1200" b="1" dirty="0">
                <a:solidFill>
                  <a:prstClr val="black"/>
                </a:solidFill>
                <a:latin typeface="Calibri" panose="020F0502020204030204" pitchFamily="34" charset="0"/>
              </a:rPr>
              <a:t>Indispensable: W7X</a:t>
            </a:r>
            <a:r>
              <a:rPr lang="en-GB" sz="1200" dirty="0">
                <a:solidFill>
                  <a:prstClr val="black"/>
                </a:solidFill>
                <a:latin typeface="Calibri" panose="020F0502020204030204" pitchFamily="34" charset="0"/>
              </a:rPr>
              <a:t> (primary), PWIE, DC</a:t>
            </a:r>
          </a:p>
        </p:txBody>
      </p:sp>
      <p:sp>
        <p:nvSpPr>
          <p:cNvPr id="34" name="Textfeld 33"/>
          <p:cNvSpPr txBox="1"/>
          <p:nvPr/>
        </p:nvSpPr>
        <p:spPr>
          <a:xfrm>
            <a:off x="7349082" y="6333657"/>
            <a:ext cx="4738477"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Rolf Heuer – </a:t>
            </a:r>
            <a:r>
              <a:rPr lang="de-DE" sz="1600" dirty="0" err="1" smtClean="0"/>
              <a:t>Results</a:t>
            </a:r>
            <a:r>
              <a:rPr lang="de-DE" sz="1600" dirty="0" smtClean="0"/>
              <a:t> </a:t>
            </a:r>
            <a:r>
              <a:rPr lang="de-DE" sz="1600" dirty="0" err="1" smtClean="0"/>
              <a:t>of</a:t>
            </a:r>
            <a:r>
              <a:rPr lang="de-DE" sz="1600" dirty="0" smtClean="0"/>
              <a:t> </a:t>
            </a:r>
            <a:r>
              <a:rPr lang="de-DE" sz="1600" dirty="0" err="1" smtClean="0"/>
              <a:t>EUROfusion</a:t>
            </a:r>
            <a:r>
              <a:rPr lang="de-DE" sz="1600" dirty="0" smtClean="0"/>
              <a:t> Facility Review</a:t>
            </a:r>
            <a:endParaRPr lang="de-DE" sz="1600" dirty="0" smtClean="0"/>
          </a:p>
        </p:txBody>
      </p:sp>
    </p:spTree>
    <p:extLst>
      <p:ext uri="{BB962C8B-B14F-4D97-AF65-F5344CB8AC3E}">
        <p14:creationId xmlns:p14="http://schemas.microsoft.com/office/powerpoint/2010/main" val="40610033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7D6BF-9963-F3A1-191D-B9141CB2EF85}"/>
              </a:ext>
            </a:extLst>
          </p:cNvPr>
          <p:cNvSpPr>
            <a:spLocks noGrp="1"/>
          </p:cNvSpPr>
          <p:nvPr>
            <p:ph type="title"/>
          </p:nvPr>
        </p:nvSpPr>
        <p:spPr/>
        <p:txBody>
          <a:bodyPr/>
          <a:lstStyle/>
          <a:p>
            <a:r>
              <a:rPr lang="en-US" sz="2667" dirty="0">
                <a:solidFill>
                  <a:srgbClr val="003399"/>
                </a:solidFill>
              </a:rPr>
              <a:t>Parallelization of ITER and DEMO and the role of ITER</a:t>
            </a:r>
            <a:endParaRPr lang="en-US" dirty="0"/>
          </a:p>
        </p:txBody>
      </p:sp>
      <p:sp>
        <p:nvSpPr>
          <p:cNvPr id="4" name="Footer Placeholder 3">
            <a:extLst>
              <a:ext uri="{FF2B5EF4-FFF2-40B4-BE49-F238E27FC236}">
                <a16:creationId xmlns:a16="http://schemas.microsoft.com/office/drawing/2014/main" id="{985CE0C8-9E17-857C-2CDD-A4DDAA6F7D6C}"/>
              </a:ext>
            </a:extLst>
          </p:cNvPr>
          <p:cNvSpPr>
            <a:spLocks noGrp="1"/>
          </p:cNvSpPr>
          <p:nvPr>
            <p:ph type="ftr" sz="quarter" idx="11"/>
          </p:nvPr>
        </p:nvSpPr>
        <p:spPr/>
        <p:txBody>
          <a:bodyPr/>
          <a:lstStyle/>
          <a:p>
            <a:r>
              <a:rPr lang="fr-FR"/>
              <a:t>A.Fasoli et al. | EFPW 2024 | Prague</a:t>
            </a:r>
            <a:endParaRPr lang="en-GB" dirty="0"/>
          </a:p>
        </p:txBody>
      </p:sp>
      <p:pic>
        <p:nvPicPr>
          <p:cNvPr id="9" name="Picture 8" descr="A screenshot of a computer&#10;&#10;Description automatically generated">
            <a:extLst>
              <a:ext uri="{FF2B5EF4-FFF2-40B4-BE49-F238E27FC236}">
                <a16:creationId xmlns:a16="http://schemas.microsoft.com/office/drawing/2014/main" id="{B77B28EA-BF49-14C1-E303-33147E7189A4}"/>
              </a:ext>
            </a:extLst>
          </p:cNvPr>
          <p:cNvPicPr>
            <a:picLocks noChangeAspect="1"/>
          </p:cNvPicPr>
          <p:nvPr/>
        </p:nvPicPr>
        <p:blipFill>
          <a:blip r:embed="rId3"/>
          <a:stretch>
            <a:fillRect/>
          </a:stretch>
        </p:blipFill>
        <p:spPr>
          <a:xfrm>
            <a:off x="143339" y="727255"/>
            <a:ext cx="11915907" cy="5678076"/>
          </a:xfrm>
          <a:prstGeom prst="rect">
            <a:avLst/>
          </a:prstGeom>
        </p:spPr>
      </p:pic>
      <p:sp>
        <p:nvSpPr>
          <p:cNvPr id="5" name="Textfeld 4"/>
          <p:cNvSpPr txBox="1"/>
          <p:nvPr/>
        </p:nvSpPr>
        <p:spPr>
          <a:xfrm>
            <a:off x="6159105" y="6257854"/>
            <a:ext cx="5900141"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Ambrogio</a:t>
            </a:r>
            <a:r>
              <a:rPr lang="de-DE" sz="1600" dirty="0" smtClean="0"/>
              <a:t> </a:t>
            </a:r>
            <a:r>
              <a:rPr lang="de-DE" sz="1600" dirty="0" err="1" smtClean="0"/>
              <a:t>Fasoli</a:t>
            </a:r>
            <a:r>
              <a:rPr lang="de-DE" sz="1600" dirty="0" smtClean="0"/>
              <a:t> – Panel: The </a:t>
            </a:r>
            <a:r>
              <a:rPr lang="de-DE" sz="1600" dirty="0" err="1" smtClean="0"/>
              <a:t>new</a:t>
            </a:r>
            <a:r>
              <a:rPr lang="de-DE" sz="1600" dirty="0" smtClean="0"/>
              <a:t> EU </a:t>
            </a:r>
            <a:r>
              <a:rPr lang="de-DE" sz="1600" dirty="0" err="1" smtClean="0"/>
              <a:t>approach</a:t>
            </a:r>
            <a:r>
              <a:rPr lang="de-DE" sz="1600" dirty="0" smtClean="0"/>
              <a:t> </a:t>
            </a:r>
            <a:r>
              <a:rPr lang="de-DE" sz="1600" dirty="0" err="1" smtClean="0"/>
              <a:t>to</a:t>
            </a:r>
            <a:r>
              <a:rPr lang="de-DE" sz="1600" dirty="0" smtClean="0"/>
              <a:t> </a:t>
            </a:r>
            <a:r>
              <a:rPr lang="de-DE" sz="1600" dirty="0" err="1" smtClean="0"/>
              <a:t>fusion</a:t>
            </a:r>
            <a:r>
              <a:rPr lang="de-DE" sz="1600" dirty="0" smtClean="0"/>
              <a:t> </a:t>
            </a:r>
            <a:r>
              <a:rPr lang="de-DE" sz="1600" dirty="0" err="1" smtClean="0"/>
              <a:t>energy</a:t>
            </a:r>
            <a:endParaRPr lang="de-DE" sz="1600" dirty="0" smtClean="0"/>
          </a:p>
        </p:txBody>
      </p:sp>
    </p:spTree>
    <p:extLst>
      <p:ext uri="{BB962C8B-B14F-4D97-AF65-F5344CB8AC3E}">
        <p14:creationId xmlns:p14="http://schemas.microsoft.com/office/powerpoint/2010/main" val="9895325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F8660-DBE8-B4FC-92F7-F31D33D724CE}"/>
              </a:ext>
            </a:extLst>
          </p:cNvPr>
          <p:cNvSpPr>
            <a:spLocks noGrp="1"/>
          </p:cNvSpPr>
          <p:nvPr>
            <p:ph type="title"/>
          </p:nvPr>
        </p:nvSpPr>
        <p:spPr/>
        <p:txBody>
          <a:bodyPr/>
          <a:lstStyle/>
          <a:p>
            <a:r>
              <a:rPr lang="en-US" sz="2667" dirty="0">
                <a:solidFill>
                  <a:srgbClr val="003399"/>
                </a:solidFill>
              </a:rPr>
              <a:t>Gaps to be addressed</a:t>
            </a:r>
            <a:endParaRPr lang="en-US" dirty="0"/>
          </a:p>
        </p:txBody>
      </p:sp>
      <p:sp>
        <p:nvSpPr>
          <p:cNvPr id="4" name="Footer Placeholder 3">
            <a:extLst>
              <a:ext uri="{FF2B5EF4-FFF2-40B4-BE49-F238E27FC236}">
                <a16:creationId xmlns:a16="http://schemas.microsoft.com/office/drawing/2014/main" id="{985CE0C8-9E17-857C-2CDD-A4DDAA6F7D6C}"/>
              </a:ext>
            </a:extLst>
          </p:cNvPr>
          <p:cNvSpPr>
            <a:spLocks noGrp="1"/>
          </p:cNvSpPr>
          <p:nvPr>
            <p:ph type="ftr" sz="quarter" idx="11"/>
          </p:nvPr>
        </p:nvSpPr>
        <p:spPr/>
        <p:txBody>
          <a:bodyPr/>
          <a:lstStyle/>
          <a:p>
            <a:pPr algn="r"/>
            <a:r>
              <a:rPr lang="en-GB"/>
              <a:t>A. Fasoli &amp; G. Federici | CERN | 27 November 2023 </a:t>
            </a:r>
            <a:endParaRPr lang="en-GB" dirty="0"/>
          </a:p>
        </p:txBody>
      </p:sp>
      <p:pic>
        <p:nvPicPr>
          <p:cNvPr id="12" name="Picture 11">
            <a:extLst>
              <a:ext uri="{FF2B5EF4-FFF2-40B4-BE49-F238E27FC236}">
                <a16:creationId xmlns:a16="http://schemas.microsoft.com/office/drawing/2014/main" id="{B319C634-A980-5BA0-9FFB-11D28B17235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65726" y="1021520"/>
            <a:ext cx="3102092" cy="3337621"/>
          </a:xfrm>
          <a:prstGeom prst="rect">
            <a:avLst/>
          </a:prstGeom>
        </p:spPr>
      </p:pic>
      <p:pic>
        <p:nvPicPr>
          <p:cNvPr id="8" name="Picture 7">
            <a:extLst>
              <a:ext uri="{FF2B5EF4-FFF2-40B4-BE49-F238E27FC236}">
                <a16:creationId xmlns:a16="http://schemas.microsoft.com/office/drawing/2014/main" id="{C50C4C69-1941-EDFB-9A91-E02C199FFFD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05809" y="1021520"/>
            <a:ext cx="4879961" cy="2214283"/>
          </a:xfrm>
          <a:prstGeom prst="rect">
            <a:avLst/>
          </a:prstGeom>
        </p:spPr>
      </p:pic>
      <p:pic>
        <p:nvPicPr>
          <p:cNvPr id="9" name="Picture 8">
            <a:extLst>
              <a:ext uri="{FF2B5EF4-FFF2-40B4-BE49-F238E27FC236}">
                <a16:creationId xmlns:a16="http://schemas.microsoft.com/office/drawing/2014/main" id="{E4D038AF-7A16-E75A-3A56-C2D0016BC7C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04681" y="3424912"/>
            <a:ext cx="4595920" cy="2437432"/>
          </a:xfrm>
          <a:prstGeom prst="rect">
            <a:avLst/>
          </a:prstGeom>
        </p:spPr>
      </p:pic>
      <p:pic>
        <p:nvPicPr>
          <p:cNvPr id="13" name="Picture 12">
            <a:extLst>
              <a:ext uri="{FF2B5EF4-FFF2-40B4-BE49-F238E27FC236}">
                <a16:creationId xmlns:a16="http://schemas.microsoft.com/office/drawing/2014/main" id="{CB7A024F-5E4D-52DD-A8A6-7610667BF1B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718164" y="4244832"/>
            <a:ext cx="3225873" cy="1980699"/>
          </a:xfrm>
          <a:prstGeom prst="rect">
            <a:avLst/>
          </a:prstGeom>
        </p:spPr>
      </p:pic>
      <p:pic>
        <p:nvPicPr>
          <p:cNvPr id="14" name="Picture 13">
            <a:extLst>
              <a:ext uri="{FF2B5EF4-FFF2-40B4-BE49-F238E27FC236}">
                <a16:creationId xmlns:a16="http://schemas.microsoft.com/office/drawing/2014/main" id="{C0793038-21FE-DDED-3043-4F03DD0360D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488029" y="1021520"/>
            <a:ext cx="3230135" cy="2315043"/>
          </a:xfrm>
          <a:prstGeom prst="rect">
            <a:avLst/>
          </a:prstGeom>
        </p:spPr>
      </p:pic>
      <p:pic>
        <p:nvPicPr>
          <p:cNvPr id="15" name="Picture 14">
            <a:extLst>
              <a:ext uri="{FF2B5EF4-FFF2-40B4-BE49-F238E27FC236}">
                <a16:creationId xmlns:a16="http://schemas.microsoft.com/office/drawing/2014/main" id="{4DDE7944-B6F0-B0B6-71E4-D493A41FFB8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973259" y="3235803"/>
            <a:ext cx="3637543" cy="281565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0" name="Textfeld 9"/>
          <p:cNvSpPr txBox="1"/>
          <p:nvPr/>
        </p:nvSpPr>
        <p:spPr>
          <a:xfrm>
            <a:off x="6159105" y="6257854"/>
            <a:ext cx="5900141"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Ambrogio</a:t>
            </a:r>
            <a:r>
              <a:rPr lang="de-DE" sz="1600" dirty="0" smtClean="0"/>
              <a:t> </a:t>
            </a:r>
            <a:r>
              <a:rPr lang="de-DE" sz="1600" dirty="0" err="1" smtClean="0"/>
              <a:t>Fasoli</a:t>
            </a:r>
            <a:r>
              <a:rPr lang="de-DE" sz="1600" dirty="0" smtClean="0"/>
              <a:t> – Panel: The </a:t>
            </a:r>
            <a:r>
              <a:rPr lang="de-DE" sz="1600" dirty="0" err="1" smtClean="0"/>
              <a:t>new</a:t>
            </a:r>
            <a:r>
              <a:rPr lang="de-DE" sz="1600" dirty="0" smtClean="0"/>
              <a:t> EU </a:t>
            </a:r>
            <a:r>
              <a:rPr lang="de-DE" sz="1600" dirty="0" err="1" smtClean="0"/>
              <a:t>approach</a:t>
            </a:r>
            <a:r>
              <a:rPr lang="de-DE" sz="1600" dirty="0" smtClean="0"/>
              <a:t> </a:t>
            </a:r>
            <a:r>
              <a:rPr lang="de-DE" sz="1600" dirty="0" err="1" smtClean="0"/>
              <a:t>to</a:t>
            </a:r>
            <a:r>
              <a:rPr lang="de-DE" sz="1600" dirty="0" smtClean="0"/>
              <a:t> </a:t>
            </a:r>
            <a:r>
              <a:rPr lang="de-DE" sz="1600" dirty="0" err="1" smtClean="0"/>
              <a:t>fusion</a:t>
            </a:r>
            <a:r>
              <a:rPr lang="de-DE" sz="1600" dirty="0" smtClean="0"/>
              <a:t> </a:t>
            </a:r>
            <a:r>
              <a:rPr lang="de-DE" sz="1600" dirty="0" err="1" smtClean="0"/>
              <a:t>energy</a:t>
            </a:r>
            <a:endParaRPr lang="de-DE" sz="1600" dirty="0" smtClean="0"/>
          </a:p>
        </p:txBody>
      </p:sp>
    </p:spTree>
    <p:extLst>
      <p:ext uri="{BB962C8B-B14F-4D97-AF65-F5344CB8AC3E}">
        <p14:creationId xmlns:p14="http://schemas.microsoft.com/office/powerpoint/2010/main" val="12505730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p:cNvSpPr>
            <a:spLocks noGrp="1"/>
          </p:cNvSpPr>
          <p:nvPr>
            <p:ph sz="quarter" idx="13"/>
          </p:nvPr>
        </p:nvSpPr>
        <p:spPr/>
        <p:txBody>
          <a:bodyPr/>
          <a:lstStyle/>
          <a:p>
            <a:pPr marL="285750" indent="-285750">
              <a:buFont typeface="Arial" panose="020B0604020202020204" pitchFamily="34" charset="0"/>
              <a:buChar char="•"/>
            </a:pPr>
            <a:r>
              <a:rPr lang="de-DE" dirty="0"/>
              <a:t>Plasma-Wall Interaction</a:t>
            </a:r>
          </a:p>
          <a:p>
            <a:pPr marL="465138" lvl="2" indent="-285750"/>
            <a:r>
              <a:rPr lang="de-DE" dirty="0" smtClean="0"/>
              <a:t>Fuel </a:t>
            </a:r>
            <a:r>
              <a:rPr lang="de-DE" dirty="0" err="1"/>
              <a:t>retention</a:t>
            </a:r>
            <a:r>
              <a:rPr lang="de-DE" dirty="0"/>
              <a:t>, </a:t>
            </a:r>
            <a:r>
              <a:rPr lang="de-DE" dirty="0" err="1"/>
              <a:t>erosion</a:t>
            </a:r>
            <a:r>
              <a:rPr lang="de-DE" dirty="0"/>
              <a:t>, wall </a:t>
            </a:r>
            <a:r>
              <a:rPr lang="de-DE" dirty="0" err="1"/>
              <a:t>conditioning</a:t>
            </a:r>
            <a:r>
              <a:rPr lang="de-DE" dirty="0"/>
              <a:t>, </a:t>
            </a:r>
            <a:r>
              <a:rPr lang="de-DE" dirty="0" err="1"/>
              <a:t>dust</a:t>
            </a:r>
            <a:r>
              <a:rPr lang="de-DE" dirty="0"/>
              <a:t> </a:t>
            </a:r>
            <a:r>
              <a:rPr lang="de-DE" dirty="0" err="1"/>
              <a:t>production</a:t>
            </a:r>
            <a:r>
              <a:rPr lang="de-DE" dirty="0"/>
              <a:t>, </a:t>
            </a:r>
            <a:r>
              <a:rPr lang="de-DE" dirty="0" err="1"/>
              <a:t>neutron</a:t>
            </a:r>
            <a:r>
              <a:rPr lang="de-DE" dirty="0"/>
              <a:t> </a:t>
            </a:r>
            <a:r>
              <a:rPr lang="de-DE" dirty="0" err="1"/>
              <a:t>damage</a:t>
            </a:r>
            <a:r>
              <a:rPr lang="de-DE" dirty="0"/>
              <a:t> etc.</a:t>
            </a:r>
          </a:p>
          <a:p>
            <a:pPr marL="285750" indent="-285750">
              <a:buFont typeface="Arial" panose="020B0604020202020204" pitchFamily="34" charset="0"/>
              <a:buChar char="•"/>
            </a:pPr>
            <a:r>
              <a:rPr lang="de-DE" dirty="0" smtClean="0"/>
              <a:t>Operating </a:t>
            </a:r>
            <a:r>
              <a:rPr lang="de-DE" dirty="0" err="1"/>
              <a:t>scenarios</a:t>
            </a:r>
            <a:endParaRPr lang="de-DE" dirty="0"/>
          </a:p>
          <a:p>
            <a:pPr marL="465138" lvl="2" indent="-285750"/>
            <a:r>
              <a:rPr lang="de-DE" dirty="0" smtClean="0"/>
              <a:t>Experimental </a:t>
            </a:r>
            <a:r>
              <a:rPr lang="de-DE" dirty="0" err="1"/>
              <a:t>aspects</a:t>
            </a:r>
            <a:r>
              <a:rPr lang="de-DE" dirty="0"/>
              <a:t>, </a:t>
            </a:r>
            <a:r>
              <a:rPr lang="de-DE" dirty="0" err="1"/>
              <a:t>including</a:t>
            </a:r>
            <a:r>
              <a:rPr lang="de-DE" dirty="0"/>
              <a:t> </a:t>
            </a:r>
            <a:r>
              <a:rPr lang="de-DE" dirty="0" err="1"/>
              <a:t>integrated</a:t>
            </a:r>
            <a:r>
              <a:rPr lang="de-DE" dirty="0"/>
              <a:t> </a:t>
            </a:r>
            <a:r>
              <a:rPr lang="de-DE" dirty="0" err="1"/>
              <a:t>scenario</a:t>
            </a:r>
            <a:r>
              <a:rPr lang="de-DE" dirty="0"/>
              <a:t> </a:t>
            </a:r>
            <a:r>
              <a:rPr lang="de-DE" dirty="0" err="1"/>
              <a:t>development</a:t>
            </a:r>
            <a:r>
              <a:rPr lang="de-DE" dirty="0"/>
              <a:t> </a:t>
            </a:r>
            <a:r>
              <a:rPr lang="de-DE" dirty="0" err="1"/>
              <a:t>and</a:t>
            </a:r>
            <a:r>
              <a:rPr lang="de-DE" dirty="0"/>
              <a:t> </a:t>
            </a:r>
            <a:r>
              <a:rPr lang="de-DE" dirty="0" err="1"/>
              <a:t>modelling</a:t>
            </a:r>
            <a:endParaRPr lang="de-DE" dirty="0"/>
          </a:p>
          <a:p>
            <a:pPr marL="465138" lvl="2" indent="-285750"/>
            <a:r>
              <a:rPr lang="de-DE" dirty="0" err="1" smtClean="0"/>
              <a:t>Available</a:t>
            </a:r>
            <a:r>
              <a:rPr lang="de-DE" dirty="0" smtClean="0"/>
              <a:t> </a:t>
            </a:r>
            <a:r>
              <a:rPr lang="de-DE" dirty="0" err="1"/>
              <a:t>modelling</a:t>
            </a:r>
            <a:r>
              <a:rPr lang="de-DE" dirty="0"/>
              <a:t> </a:t>
            </a:r>
            <a:r>
              <a:rPr lang="de-DE" dirty="0" err="1"/>
              <a:t>tools</a:t>
            </a:r>
            <a:r>
              <a:rPr lang="de-DE" dirty="0"/>
              <a:t> </a:t>
            </a:r>
            <a:r>
              <a:rPr lang="de-DE" dirty="0" err="1"/>
              <a:t>for</a:t>
            </a:r>
            <a:r>
              <a:rPr lang="de-DE" dirty="0"/>
              <a:t> </a:t>
            </a:r>
            <a:r>
              <a:rPr lang="de-DE" dirty="0" err="1"/>
              <a:t>integrated</a:t>
            </a:r>
            <a:r>
              <a:rPr lang="de-DE" dirty="0"/>
              <a:t> </a:t>
            </a:r>
            <a:r>
              <a:rPr lang="de-DE" dirty="0" err="1"/>
              <a:t>scenario</a:t>
            </a:r>
            <a:r>
              <a:rPr lang="de-DE" dirty="0"/>
              <a:t> </a:t>
            </a:r>
            <a:r>
              <a:rPr lang="de-DE" dirty="0" err="1"/>
              <a:t>interpretation</a:t>
            </a:r>
            <a:r>
              <a:rPr lang="de-DE" dirty="0"/>
              <a:t>, </a:t>
            </a:r>
            <a:r>
              <a:rPr lang="de-DE" dirty="0" err="1"/>
              <a:t>validation</a:t>
            </a:r>
            <a:r>
              <a:rPr lang="de-DE" dirty="0"/>
              <a:t>, </a:t>
            </a:r>
            <a:r>
              <a:rPr lang="de-DE" dirty="0" err="1"/>
              <a:t>extrapolation</a:t>
            </a:r>
            <a:endParaRPr lang="de-DE" dirty="0"/>
          </a:p>
          <a:p>
            <a:pPr marL="285750" indent="-285750">
              <a:buFont typeface="Arial" panose="020B0604020202020204" pitchFamily="34" charset="0"/>
              <a:buChar char="•"/>
            </a:pPr>
            <a:r>
              <a:rPr lang="de-DE" dirty="0" err="1" smtClean="0"/>
              <a:t>Heating</a:t>
            </a:r>
            <a:r>
              <a:rPr lang="de-DE" dirty="0" smtClean="0"/>
              <a:t> </a:t>
            </a:r>
            <a:r>
              <a:rPr lang="de-DE" dirty="0"/>
              <a:t>mix, fast </a:t>
            </a:r>
            <a:r>
              <a:rPr lang="de-DE" dirty="0" err="1"/>
              <a:t>particles</a:t>
            </a:r>
            <a:r>
              <a:rPr lang="de-DE" dirty="0"/>
              <a:t> </a:t>
            </a:r>
            <a:r>
              <a:rPr lang="de-DE" dirty="0" err="1"/>
              <a:t>and</a:t>
            </a:r>
            <a:r>
              <a:rPr lang="de-DE" dirty="0"/>
              <a:t> </a:t>
            </a:r>
            <a:r>
              <a:rPr lang="de-DE" dirty="0" err="1"/>
              <a:t>diagnostics</a:t>
            </a:r>
            <a:endParaRPr lang="de-DE" dirty="0"/>
          </a:p>
          <a:p>
            <a:pPr marL="465138" lvl="2" indent="-285750"/>
            <a:r>
              <a:rPr lang="de-DE" dirty="0" err="1" smtClean="0"/>
              <a:t>Heating</a:t>
            </a:r>
            <a:r>
              <a:rPr lang="de-DE" dirty="0" smtClean="0"/>
              <a:t> </a:t>
            </a:r>
            <a:r>
              <a:rPr lang="de-DE" dirty="0" err="1"/>
              <a:t>system</a:t>
            </a:r>
            <a:r>
              <a:rPr lang="de-DE" dirty="0"/>
              <a:t> </a:t>
            </a:r>
            <a:r>
              <a:rPr lang="de-DE" dirty="0" err="1"/>
              <a:t>for</a:t>
            </a:r>
            <a:r>
              <a:rPr lang="de-DE" dirty="0"/>
              <a:t> ITER, </a:t>
            </a:r>
            <a:r>
              <a:rPr lang="de-DE" dirty="0" err="1"/>
              <a:t>alpha</a:t>
            </a:r>
            <a:r>
              <a:rPr lang="de-DE" dirty="0"/>
              <a:t> </a:t>
            </a:r>
            <a:r>
              <a:rPr lang="de-DE" dirty="0" err="1"/>
              <a:t>particle</a:t>
            </a:r>
            <a:r>
              <a:rPr lang="de-DE" dirty="0"/>
              <a:t> </a:t>
            </a:r>
            <a:r>
              <a:rPr lang="de-DE" dirty="0" err="1"/>
              <a:t>diagnostics</a:t>
            </a:r>
            <a:r>
              <a:rPr lang="de-DE" dirty="0"/>
              <a:t> etc.</a:t>
            </a:r>
          </a:p>
        </p:txBody>
      </p:sp>
      <p:sp>
        <p:nvSpPr>
          <p:cNvPr id="7" name="Titel 6"/>
          <p:cNvSpPr>
            <a:spLocks noGrp="1"/>
          </p:cNvSpPr>
          <p:nvPr>
            <p:ph type="title"/>
          </p:nvPr>
        </p:nvSpPr>
        <p:spPr/>
        <p:txBody>
          <a:bodyPr/>
          <a:lstStyle/>
          <a:p>
            <a:r>
              <a:rPr lang="de-DE" dirty="0" smtClean="0"/>
              <a:t>EFPW – </a:t>
            </a:r>
            <a:r>
              <a:rPr lang="de-DE" dirty="0" err="1" smtClean="0"/>
              <a:t>Covering</a:t>
            </a:r>
            <a:r>
              <a:rPr lang="de-DE" dirty="0" smtClean="0"/>
              <a:t> </a:t>
            </a:r>
            <a:r>
              <a:rPr lang="de-DE" dirty="0" err="1" smtClean="0"/>
              <a:t>physics</a:t>
            </a:r>
            <a:r>
              <a:rPr lang="de-DE" dirty="0" smtClean="0"/>
              <a:t> </a:t>
            </a:r>
            <a:r>
              <a:rPr lang="de-DE" dirty="0" err="1" smtClean="0"/>
              <a:t>and</a:t>
            </a:r>
            <a:r>
              <a:rPr lang="de-DE" dirty="0" smtClean="0"/>
              <a:t> </a:t>
            </a:r>
            <a:r>
              <a:rPr lang="de-DE" dirty="0" err="1" smtClean="0"/>
              <a:t>programmatic</a:t>
            </a:r>
            <a:r>
              <a:rPr lang="de-DE" dirty="0" smtClean="0"/>
              <a:t> </a:t>
            </a:r>
            <a:r>
              <a:rPr lang="de-DE" dirty="0" err="1" smtClean="0"/>
              <a:t>issues</a:t>
            </a:r>
            <a:endParaRPr lang="de-DE" dirty="0"/>
          </a:p>
        </p:txBody>
      </p:sp>
      <p:sp>
        <p:nvSpPr>
          <p:cNvPr id="4" name="Datumsplatzhalter 3"/>
          <p:cNvSpPr>
            <a:spLocks noGrp="1"/>
          </p:cNvSpPr>
          <p:nvPr>
            <p:ph type="dt" sz="half" idx="4294967295"/>
          </p:nvPr>
        </p:nvSpPr>
        <p:spPr>
          <a:xfrm>
            <a:off x="0" y="6489700"/>
            <a:ext cx="10225088" cy="142875"/>
          </a:xfrm>
        </p:spPr>
        <p:txBody>
          <a:bodyPr/>
          <a:lstStyle/>
          <a:p>
            <a:r>
              <a:rPr lang="de-DE" smtClean="0"/>
              <a:t>10.10.2023</a:t>
            </a:r>
            <a:endParaRPr lang="de-DE" dirty="0"/>
          </a:p>
        </p:txBody>
      </p:sp>
      <p:sp>
        <p:nvSpPr>
          <p:cNvPr id="5" name="Fußzeilenplatzhalter 4"/>
          <p:cNvSpPr>
            <a:spLocks noGrp="1"/>
          </p:cNvSpPr>
          <p:nvPr>
            <p:ph type="ftr" sz="quarter" idx="4294967295"/>
          </p:nvPr>
        </p:nvSpPr>
        <p:spPr>
          <a:xfrm>
            <a:off x="0" y="6489700"/>
            <a:ext cx="10477500" cy="142875"/>
          </a:xfrm>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4294967295"/>
          </p:nvPr>
        </p:nvSpPr>
        <p:spPr>
          <a:xfrm>
            <a:off x="11863388" y="6489700"/>
            <a:ext cx="328612" cy="142875"/>
          </a:xfrm>
        </p:spPr>
        <p:txBody>
          <a:bodyPr/>
          <a:lstStyle/>
          <a:p>
            <a:fld id="{3B1A4699-952B-42DA-8DC4-38A59B49610C}" type="slidenum">
              <a:rPr lang="de-DE" smtClean="0"/>
              <a:pPr/>
              <a:t>2</a:t>
            </a:fld>
            <a:endParaRPr lang="de-DE" dirty="0"/>
          </a:p>
        </p:txBody>
      </p:sp>
    </p:spTree>
    <p:extLst>
      <p:ext uri="{BB962C8B-B14F-4D97-AF65-F5344CB8AC3E}">
        <p14:creationId xmlns:p14="http://schemas.microsoft.com/office/powerpoint/2010/main" val="21088934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80639" y="-33368"/>
            <a:ext cx="12164540" cy="642252"/>
          </a:xfrm>
          <a:prstGeom prst="rect">
            <a:avLst/>
          </a:prstGeom>
          <a:noFill/>
        </p:spPr>
        <p:txBody>
          <a:bodyPr wrap="square" lIns="67144" tIns="33572" rIns="67144" bIns="33572" rtlCol="0">
            <a:spAutoFit/>
          </a:bodyPr>
          <a:lstStyle/>
          <a:p>
            <a:pPr algn="ctr"/>
            <a:r>
              <a:rPr lang="en-GB" sz="3733" b="1" dirty="0">
                <a:solidFill>
                  <a:srgbClr val="000099"/>
                </a:solidFill>
                <a:latin typeface="Arial"/>
              </a:rPr>
              <a:t>New Baseline Phases</a:t>
            </a:r>
            <a:endParaRPr lang="en-GB" sz="3733" b="1" baseline="30000" dirty="0">
              <a:solidFill>
                <a:srgbClr val="000099"/>
              </a:solidFill>
              <a:latin typeface="Arial"/>
            </a:endParaRPr>
          </a:p>
        </p:txBody>
      </p:sp>
      <p:sp>
        <p:nvSpPr>
          <p:cNvPr id="4" name="TextBox 3"/>
          <p:cNvSpPr txBox="1"/>
          <p:nvPr/>
        </p:nvSpPr>
        <p:spPr>
          <a:xfrm>
            <a:off x="44660" y="731077"/>
            <a:ext cx="12022581" cy="4331955"/>
          </a:xfrm>
          <a:prstGeom prst="rect">
            <a:avLst/>
          </a:prstGeom>
          <a:noFill/>
        </p:spPr>
        <p:txBody>
          <a:bodyPr wrap="square" rtlCol="0">
            <a:spAutoFit/>
          </a:bodyPr>
          <a:lstStyle/>
          <a:p>
            <a:pPr marL="285737" indent="-285737">
              <a:spcBef>
                <a:spcPts val="400"/>
              </a:spcBef>
              <a:buFont typeface="Arial" panose="020B0604020202020204" pitchFamily="34" charset="0"/>
              <a:buChar char="•"/>
            </a:pPr>
            <a:r>
              <a:rPr lang="en-US" sz="1600" dirty="0">
                <a:solidFill>
                  <a:srgbClr val="008000"/>
                </a:solidFill>
                <a:latin typeface="Arial" panose="020B0604020202020204" pitchFamily="34" charset="0"/>
                <a:cs typeface="Arial" panose="020B0604020202020204" pitchFamily="34" charset="0"/>
              </a:rPr>
              <a:t>Pre-First-Plasma Assembly (Pre-FPA)</a:t>
            </a:r>
            <a:r>
              <a:rPr lang="en-US" sz="1600" dirty="0">
                <a:latin typeface="Arial" panose="020B0604020202020204" pitchFamily="34" charset="0"/>
                <a:cs typeface="Arial" panose="020B0604020202020204" pitchFamily="34" charset="0"/>
              </a:rPr>
              <a:t>,</a:t>
            </a:r>
            <a:r>
              <a:rPr lang="en-US" sz="1600" dirty="0">
                <a:solidFill>
                  <a:srgbClr val="000099"/>
                </a:solidFill>
                <a:latin typeface="Arial" panose="020B0604020202020204" pitchFamily="34" charset="0"/>
                <a:cs typeface="Arial" panose="020B0604020202020204" pitchFamily="34" charset="0"/>
              </a:rPr>
              <a:t> where most in-vessel components are installed (except Blanket First Wall, replaced by inertially cooled W-wall)</a:t>
            </a:r>
          </a:p>
          <a:p>
            <a:pPr marL="285737" indent="-285737">
              <a:spcBef>
                <a:spcPts val="1333"/>
              </a:spcBef>
              <a:buFont typeface="Arial" panose="020B0604020202020204" pitchFamily="34" charset="0"/>
              <a:buChar char="•"/>
            </a:pPr>
            <a:r>
              <a:rPr lang="en-US" sz="1600" dirty="0">
                <a:solidFill>
                  <a:srgbClr val="008000"/>
                </a:solidFill>
                <a:latin typeface="Arial" panose="020B0604020202020204" pitchFamily="34" charset="0"/>
                <a:cs typeface="Arial" panose="020B0604020202020204" pitchFamily="34" charset="0"/>
              </a:rPr>
              <a:t>Augmented-First-Plasma Phase (A-FP)</a:t>
            </a:r>
            <a:r>
              <a:rPr lang="en-US" sz="1600" dirty="0">
                <a:latin typeface="Arial" panose="020B0604020202020204" pitchFamily="34" charset="0"/>
                <a:cs typeface="Arial" panose="020B0604020202020204" pitchFamily="34" charset="0"/>
              </a:rPr>
              <a:t>:</a:t>
            </a:r>
          </a:p>
          <a:p>
            <a:pPr marL="895306" lvl="1" indent="-285737">
              <a:spcBef>
                <a:spcPts val="400"/>
              </a:spcBef>
              <a:buFont typeface="Wingdings" panose="05000000000000000000" pitchFamily="2" charset="2"/>
              <a:buChar char="Ø"/>
            </a:pPr>
            <a:r>
              <a:rPr lang="en-GB" sz="1600" dirty="0">
                <a:solidFill>
                  <a:srgbClr val="000099"/>
                </a:solidFill>
                <a:latin typeface="Arial" panose="020B0604020202020204" pitchFamily="34" charset="0"/>
                <a:cs typeface="Arial" panose="020B0604020202020204" pitchFamily="34" charset="0"/>
              </a:rPr>
              <a:t>Demonstrate bases of industrial-scale superconducting tokamak system </a:t>
            </a:r>
          </a:p>
          <a:p>
            <a:pPr marL="895306" lvl="1" indent="-285737">
              <a:spcBef>
                <a:spcPts val="400"/>
              </a:spcBef>
              <a:buFont typeface="Wingdings" panose="05000000000000000000" pitchFamily="2" charset="2"/>
              <a:buChar char="Ø"/>
            </a:pPr>
            <a:r>
              <a:rPr lang="en-US" sz="1600" dirty="0">
                <a:solidFill>
                  <a:srgbClr val="000099"/>
                </a:solidFill>
                <a:latin typeface="Arial" panose="020B0604020202020204" pitchFamily="34" charset="0"/>
                <a:cs typeface="Arial" panose="020B0604020202020204" pitchFamily="34" charset="0"/>
              </a:rPr>
              <a:t>Demonstrate H-mode (DD) plasmas</a:t>
            </a:r>
          </a:p>
          <a:p>
            <a:pPr marL="895306" lvl="1" indent="-285737">
              <a:spcBef>
                <a:spcPts val="400"/>
              </a:spcBef>
              <a:buFont typeface="Wingdings" panose="05000000000000000000" pitchFamily="2" charset="2"/>
              <a:buChar char="Ø"/>
            </a:pPr>
            <a:r>
              <a:rPr lang="en-US" sz="1600" dirty="0">
                <a:solidFill>
                  <a:srgbClr val="000099"/>
                </a:solidFill>
                <a:latin typeface="Arial" panose="020B0604020202020204" pitchFamily="34" charset="0"/>
                <a:cs typeface="Arial" panose="020B0604020202020204" pitchFamily="34" charset="0"/>
              </a:rPr>
              <a:t>Commission </a:t>
            </a:r>
            <a:r>
              <a:rPr lang="en-GB" sz="1600" dirty="0">
                <a:solidFill>
                  <a:srgbClr val="000099"/>
                </a:solidFill>
                <a:latin typeface="Arial" panose="020B0604020202020204" pitchFamily="34" charset="0"/>
                <a:cs typeface="Arial" panose="020B0604020202020204" pitchFamily="34" charset="0"/>
              </a:rPr>
              <a:t>Plasma Control and Protection Systems (including </a:t>
            </a:r>
            <a:r>
              <a:rPr lang="en-GB" sz="1600" dirty="0" err="1">
                <a:solidFill>
                  <a:srgbClr val="000099"/>
                </a:solidFill>
                <a:latin typeface="Arial" panose="020B0604020202020204" pitchFamily="34" charset="0"/>
                <a:cs typeface="Arial" panose="020B0604020202020204" pitchFamily="34" charset="0"/>
              </a:rPr>
              <a:t>Divertor</a:t>
            </a:r>
            <a:r>
              <a:rPr lang="en-GB" sz="1600" dirty="0">
                <a:solidFill>
                  <a:srgbClr val="000099"/>
                </a:solidFill>
                <a:latin typeface="Arial" panose="020B0604020202020204" pitchFamily="34" charset="0"/>
                <a:cs typeface="Arial" panose="020B0604020202020204" pitchFamily="34" charset="0"/>
              </a:rPr>
              <a:t>) </a:t>
            </a:r>
            <a:r>
              <a:rPr lang="en-US" sz="1600" dirty="0">
                <a:solidFill>
                  <a:srgbClr val="000099"/>
                </a:solidFill>
                <a:latin typeface="Arial" panose="020B0604020202020204" pitchFamily="34" charset="0"/>
                <a:cs typeface="Arial" panose="020B0604020202020204" pitchFamily="34" charset="0"/>
              </a:rPr>
              <a:t>to reduce risks in DT-1</a:t>
            </a:r>
          </a:p>
          <a:p>
            <a:pPr marL="895306" lvl="1" indent="-285737">
              <a:spcBef>
                <a:spcPts val="400"/>
              </a:spcBef>
              <a:buFont typeface="Wingdings" panose="05000000000000000000" pitchFamily="2" charset="2"/>
              <a:buChar char="Ø"/>
            </a:pPr>
            <a:r>
              <a:rPr lang="en-GB" sz="1600" dirty="0">
                <a:solidFill>
                  <a:srgbClr val="000099"/>
                </a:solidFill>
                <a:latin typeface="Arial" panose="020B0604020202020204" pitchFamily="34" charset="0"/>
                <a:cs typeface="Arial" panose="020B0604020202020204" pitchFamily="34" charset="0"/>
              </a:rPr>
              <a:t>Install 40 MW of ECH and d</a:t>
            </a:r>
            <a:r>
              <a:rPr lang="en-US" sz="1600" dirty="0" err="1">
                <a:solidFill>
                  <a:srgbClr val="000099"/>
                </a:solidFill>
                <a:latin typeface="Arial" panose="020B0604020202020204" pitchFamily="34" charset="0"/>
                <a:cs typeface="Arial" panose="020B0604020202020204" pitchFamily="34" charset="0"/>
              </a:rPr>
              <a:t>emonstrate</a:t>
            </a:r>
            <a:r>
              <a:rPr lang="en-US" sz="1600" dirty="0">
                <a:solidFill>
                  <a:srgbClr val="000099"/>
                </a:solidFill>
                <a:latin typeface="Arial" panose="020B0604020202020204" pitchFamily="34" charset="0"/>
                <a:cs typeface="Arial" panose="020B0604020202020204" pitchFamily="34" charset="0"/>
              </a:rPr>
              <a:t> ICWC (and test ICH to 10 MW)</a:t>
            </a:r>
          </a:p>
          <a:p>
            <a:pPr marL="285737" indent="-285737">
              <a:spcBef>
                <a:spcPts val="1333"/>
              </a:spcBef>
              <a:buFont typeface="Arial" panose="020B0604020202020204" pitchFamily="34" charset="0"/>
              <a:buChar char="•"/>
            </a:pPr>
            <a:r>
              <a:rPr lang="en-US" sz="1600" dirty="0">
                <a:solidFill>
                  <a:srgbClr val="008000"/>
                </a:solidFill>
                <a:latin typeface="Arial" panose="020B0604020202020204" pitchFamily="34" charset="0"/>
                <a:cs typeface="Arial" panose="020B0604020202020204" pitchFamily="34" charset="0"/>
              </a:rPr>
              <a:t>Post-First Plasma Assembly (Post-FPA) + Integrated Commissioning</a:t>
            </a:r>
            <a:r>
              <a:rPr lang="en-US" sz="1600" dirty="0">
                <a:latin typeface="Arial" panose="020B0604020202020204" pitchFamily="34" charset="0"/>
                <a:cs typeface="Arial" panose="020B0604020202020204" pitchFamily="34" charset="0"/>
              </a:rPr>
              <a:t>, </a:t>
            </a:r>
            <a:r>
              <a:rPr lang="en-US" sz="1600" dirty="0">
                <a:solidFill>
                  <a:srgbClr val="000099"/>
                </a:solidFill>
                <a:latin typeface="Arial" panose="020B0604020202020204" pitchFamily="34" charset="0"/>
                <a:cs typeface="Arial" panose="020B0604020202020204" pitchFamily="34" charset="0"/>
              </a:rPr>
              <a:t>to complete the installation of the remaining in-vessel components, plasma heating systems (ECH and NB plus ICH upgrade), Test Blanket Systems and remaining Diagnostics</a:t>
            </a:r>
          </a:p>
          <a:p>
            <a:pPr marL="285737" indent="-285737">
              <a:spcBef>
                <a:spcPts val="1333"/>
              </a:spcBef>
              <a:buFont typeface="Arial" panose="020B0604020202020204" pitchFamily="34" charset="0"/>
              <a:buChar char="•"/>
            </a:pPr>
            <a:r>
              <a:rPr lang="en-US" sz="1600" dirty="0">
                <a:solidFill>
                  <a:srgbClr val="008000"/>
                </a:solidFill>
                <a:latin typeface="Arial" panose="020B0604020202020204" pitchFamily="34" charset="0"/>
                <a:cs typeface="Arial" panose="020B0604020202020204" pitchFamily="34" charset="0"/>
              </a:rPr>
              <a:t>DT-1 operation stage, </a:t>
            </a:r>
            <a:r>
              <a:rPr lang="en-US" sz="1600" dirty="0">
                <a:solidFill>
                  <a:srgbClr val="000099"/>
                </a:solidFill>
                <a:latin typeface="Arial" panose="020B0604020202020204" pitchFamily="34" charset="0"/>
                <a:cs typeface="Arial" panose="020B0604020202020204" pitchFamily="34" charset="0"/>
              </a:rPr>
              <a:t>to achieve Q=10 with </a:t>
            </a:r>
            <a:r>
              <a:rPr lang="en-US" altLang="en-US" sz="1600" dirty="0" err="1">
                <a:solidFill>
                  <a:srgbClr val="000099"/>
                </a:solidFill>
                <a:latin typeface="Arial" panose="020B0604020202020204" pitchFamily="34" charset="0"/>
                <a:cs typeface="Arial" panose="020B0604020202020204" pitchFamily="34" charset="0"/>
              </a:rPr>
              <a:t>P</a:t>
            </a:r>
            <a:r>
              <a:rPr lang="en-US" altLang="en-US" sz="1600" baseline="-25000" dirty="0" err="1">
                <a:solidFill>
                  <a:srgbClr val="000099"/>
                </a:solidFill>
                <a:latin typeface="Arial" panose="020B0604020202020204" pitchFamily="34" charset="0"/>
                <a:cs typeface="Arial" panose="020B0604020202020204" pitchFamily="34" charset="0"/>
              </a:rPr>
              <a:t>fusion</a:t>
            </a:r>
            <a:r>
              <a:rPr lang="en-US" altLang="en-US" sz="1600" dirty="0">
                <a:solidFill>
                  <a:srgbClr val="000099"/>
                </a:solidFill>
                <a:latin typeface="Arial" panose="020B0604020202020204" pitchFamily="34" charset="0"/>
                <a:cs typeface="Arial" panose="020B0604020202020204" pitchFamily="34" charset="0"/>
              </a:rPr>
              <a:t> ~500 MW </a:t>
            </a:r>
            <a:r>
              <a:rPr lang="en-US" sz="1600" dirty="0">
                <a:solidFill>
                  <a:srgbClr val="000099"/>
                </a:solidFill>
                <a:latin typeface="Arial" panose="020B0604020202020204" pitchFamily="34" charset="0"/>
                <a:cs typeface="Arial" panose="020B0604020202020204" pitchFamily="34" charset="0"/>
              </a:rPr>
              <a:t>for 300-500 s in DT plasmas with a reduced neutron </a:t>
            </a:r>
            <a:r>
              <a:rPr lang="en-US" sz="1600" dirty="0" err="1">
                <a:solidFill>
                  <a:srgbClr val="000099"/>
                </a:solidFill>
                <a:latin typeface="Arial" panose="020B0604020202020204" pitchFamily="34" charset="0"/>
                <a:cs typeface="Arial" panose="020B0604020202020204" pitchFamily="34" charset="0"/>
              </a:rPr>
              <a:t>fluence</a:t>
            </a:r>
            <a:r>
              <a:rPr lang="en-US" sz="1600" dirty="0">
                <a:solidFill>
                  <a:srgbClr val="000099"/>
                </a:solidFill>
                <a:latin typeface="Arial" panose="020B0604020202020204" pitchFamily="34" charset="0"/>
                <a:cs typeface="Arial" panose="020B0604020202020204" pitchFamily="34" charset="0"/>
              </a:rPr>
              <a:t> and to d</a:t>
            </a:r>
            <a:r>
              <a:rPr lang="en-GB" sz="1600" dirty="0" err="1">
                <a:solidFill>
                  <a:srgbClr val="000099"/>
                </a:solidFill>
                <a:latin typeface="Arial" panose="020B0604020202020204" pitchFamily="34" charset="0"/>
                <a:cs typeface="Arial" panose="020B0604020202020204" pitchFamily="34" charset="0"/>
              </a:rPr>
              <a:t>emonstrate</a:t>
            </a:r>
            <a:r>
              <a:rPr lang="en-GB" sz="1600" dirty="0">
                <a:solidFill>
                  <a:srgbClr val="000099"/>
                </a:solidFill>
                <a:latin typeface="Arial" panose="020B0604020202020204" pitchFamily="34" charset="0"/>
                <a:cs typeface="Arial" panose="020B0604020202020204" pitchFamily="34" charset="0"/>
              </a:rPr>
              <a:t> the integrated tokamak engineering system</a:t>
            </a:r>
            <a:endParaRPr lang="en-US" sz="1600" dirty="0">
              <a:solidFill>
                <a:srgbClr val="000099"/>
              </a:solidFill>
              <a:latin typeface="Arial" panose="020B0604020202020204" pitchFamily="34" charset="0"/>
              <a:cs typeface="Arial" panose="020B0604020202020204" pitchFamily="34" charset="0"/>
            </a:endParaRPr>
          </a:p>
          <a:p>
            <a:pPr marL="285737" indent="-285737">
              <a:spcBef>
                <a:spcPts val="1333"/>
              </a:spcBef>
              <a:buFont typeface="Arial" panose="020B0604020202020204" pitchFamily="34" charset="0"/>
              <a:buChar char="•"/>
            </a:pPr>
            <a:r>
              <a:rPr lang="en-US" sz="1600" dirty="0">
                <a:solidFill>
                  <a:srgbClr val="000099"/>
                </a:solidFill>
                <a:latin typeface="Arial" panose="020B0604020202020204" pitchFamily="34" charset="0"/>
                <a:cs typeface="Arial" panose="020B0604020202020204" pitchFamily="34" charset="0"/>
              </a:rPr>
              <a:t>Second phase of ITER license</a:t>
            </a:r>
          </a:p>
          <a:p>
            <a:pPr marL="285737" indent="-285737">
              <a:spcBef>
                <a:spcPts val="1333"/>
              </a:spcBef>
              <a:buFont typeface="Arial" panose="020B0604020202020204" pitchFamily="34" charset="0"/>
              <a:buChar char="•"/>
            </a:pPr>
            <a:r>
              <a:rPr lang="en-US" sz="1600" dirty="0">
                <a:solidFill>
                  <a:srgbClr val="008000"/>
                </a:solidFill>
                <a:latin typeface="Arial" panose="020B0604020202020204" pitchFamily="34" charset="0"/>
                <a:cs typeface="Arial" panose="020B0604020202020204" pitchFamily="34" charset="0"/>
              </a:rPr>
              <a:t>DT-2 operation stage, with the target to achieve all Project Specification goals</a:t>
            </a:r>
          </a:p>
        </p:txBody>
      </p:sp>
      <p:sp>
        <p:nvSpPr>
          <p:cNvPr id="5" name="TextBox 4"/>
          <p:cNvSpPr txBox="1"/>
          <p:nvPr/>
        </p:nvSpPr>
        <p:spPr>
          <a:xfrm>
            <a:off x="9076955" y="1028735"/>
            <a:ext cx="2976332" cy="830997"/>
          </a:xfrm>
          <a:prstGeom prst="rect">
            <a:avLst/>
          </a:prstGeom>
          <a:noFill/>
          <a:ln>
            <a:solidFill>
              <a:schemeClr val="accent1"/>
            </a:solidFill>
          </a:ln>
        </p:spPr>
        <p:txBody>
          <a:bodyPr wrap="square" rtlCol="0">
            <a:spAutoFit/>
          </a:bodyPr>
          <a:lstStyle/>
          <a:p>
            <a:r>
              <a:rPr lang="en-US" sz="1200" dirty="0">
                <a:latin typeface="Arial" panose="020B0604020202020204" pitchFamily="34" charset="0"/>
                <a:cs typeface="Arial" panose="020B0604020202020204" pitchFamily="34" charset="0"/>
              </a:rPr>
              <a:t>ECH = Electron Cyclotron Heating</a:t>
            </a:r>
          </a:p>
          <a:p>
            <a:r>
              <a:rPr lang="en-US" sz="1200" dirty="0">
                <a:latin typeface="Arial" panose="020B0604020202020204" pitchFamily="34" charset="0"/>
                <a:cs typeface="Arial" panose="020B0604020202020204" pitchFamily="34" charset="0"/>
              </a:rPr>
              <a:t>ICWC = Ion Cyclotron Wall Conditioning</a:t>
            </a:r>
          </a:p>
          <a:p>
            <a:r>
              <a:rPr lang="en-US" sz="1200" dirty="0">
                <a:latin typeface="Arial" panose="020B0604020202020204" pitchFamily="34" charset="0"/>
                <a:cs typeface="Arial" panose="020B0604020202020204" pitchFamily="34" charset="0"/>
              </a:rPr>
              <a:t>ICH = Ion Cyclotron Heating</a:t>
            </a:r>
          </a:p>
          <a:p>
            <a:r>
              <a:rPr lang="en-US" sz="1200" dirty="0">
                <a:latin typeface="Arial" panose="020B0604020202020204" pitchFamily="34" charset="0"/>
                <a:cs typeface="Arial" panose="020B0604020202020204" pitchFamily="34" charset="0"/>
              </a:rPr>
              <a:t>NB = Neutral Beam</a:t>
            </a:r>
            <a:endParaRPr lang="en-GB" sz="1200" dirty="0">
              <a:latin typeface="Arial" panose="020B0604020202020204" pitchFamily="34" charset="0"/>
              <a:cs typeface="Arial" panose="020B0604020202020204" pitchFamily="34" charset="0"/>
            </a:endParaRPr>
          </a:p>
        </p:txBody>
      </p:sp>
      <p:graphicFrame>
        <p:nvGraphicFramePr>
          <p:cNvPr id="6" name="Table 5"/>
          <p:cNvGraphicFramePr>
            <a:graphicFrameLocks noGrp="1"/>
          </p:cNvGraphicFramePr>
          <p:nvPr>
            <p:extLst/>
          </p:nvPr>
        </p:nvGraphicFramePr>
        <p:xfrm>
          <a:off x="91017" y="5253203"/>
          <a:ext cx="9754573" cy="548640"/>
        </p:xfrm>
        <a:graphic>
          <a:graphicData uri="http://schemas.openxmlformats.org/drawingml/2006/table">
            <a:tbl>
              <a:tblPr firstRow="1" bandRow="1"/>
              <a:tblGrid>
                <a:gridCol w="931305">
                  <a:extLst>
                    <a:ext uri="{9D8B030D-6E8A-4147-A177-3AD203B41FA5}">
                      <a16:colId xmlns:a16="http://schemas.microsoft.com/office/drawing/2014/main" val="1553023698"/>
                    </a:ext>
                  </a:extLst>
                </a:gridCol>
                <a:gridCol w="968588">
                  <a:extLst>
                    <a:ext uri="{9D8B030D-6E8A-4147-A177-3AD203B41FA5}">
                      <a16:colId xmlns:a16="http://schemas.microsoft.com/office/drawing/2014/main" val="2013056837"/>
                    </a:ext>
                  </a:extLst>
                </a:gridCol>
                <a:gridCol w="1325953">
                  <a:extLst>
                    <a:ext uri="{9D8B030D-6E8A-4147-A177-3AD203B41FA5}">
                      <a16:colId xmlns:a16="http://schemas.microsoft.com/office/drawing/2014/main" val="218573854"/>
                    </a:ext>
                  </a:extLst>
                </a:gridCol>
                <a:gridCol w="1248139">
                  <a:extLst>
                    <a:ext uri="{9D8B030D-6E8A-4147-A177-3AD203B41FA5}">
                      <a16:colId xmlns:a16="http://schemas.microsoft.com/office/drawing/2014/main" val="2926294476"/>
                    </a:ext>
                  </a:extLst>
                </a:gridCol>
                <a:gridCol w="1152128">
                  <a:extLst>
                    <a:ext uri="{9D8B030D-6E8A-4147-A177-3AD203B41FA5}">
                      <a16:colId xmlns:a16="http://schemas.microsoft.com/office/drawing/2014/main" val="987492935"/>
                    </a:ext>
                  </a:extLst>
                </a:gridCol>
                <a:gridCol w="768085">
                  <a:extLst>
                    <a:ext uri="{9D8B030D-6E8A-4147-A177-3AD203B41FA5}">
                      <a16:colId xmlns:a16="http://schemas.microsoft.com/office/drawing/2014/main" val="2933901398"/>
                    </a:ext>
                  </a:extLst>
                </a:gridCol>
                <a:gridCol w="672075">
                  <a:extLst>
                    <a:ext uri="{9D8B030D-6E8A-4147-A177-3AD203B41FA5}">
                      <a16:colId xmlns:a16="http://schemas.microsoft.com/office/drawing/2014/main" val="1964650574"/>
                    </a:ext>
                  </a:extLst>
                </a:gridCol>
                <a:gridCol w="672075">
                  <a:extLst>
                    <a:ext uri="{9D8B030D-6E8A-4147-A177-3AD203B41FA5}">
                      <a16:colId xmlns:a16="http://schemas.microsoft.com/office/drawing/2014/main" val="3562324636"/>
                    </a:ext>
                  </a:extLst>
                </a:gridCol>
                <a:gridCol w="672075">
                  <a:extLst>
                    <a:ext uri="{9D8B030D-6E8A-4147-A177-3AD203B41FA5}">
                      <a16:colId xmlns:a16="http://schemas.microsoft.com/office/drawing/2014/main" val="3605999770"/>
                    </a:ext>
                  </a:extLst>
                </a:gridCol>
                <a:gridCol w="672075">
                  <a:extLst>
                    <a:ext uri="{9D8B030D-6E8A-4147-A177-3AD203B41FA5}">
                      <a16:colId xmlns:a16="http://schemas.microsoft.com/office/drawing/2014/main" val="2697311233"/>
                    </a:ext>
                  </a:extLst>
                </a:gridCol>
                <a:gridCol w="672075">
                  <a:extLst>
                    <a:ext uri="{9D8B030D-6E8A-4147-A177-3AD203B41FA5}">
                      <a16:colId xmlns:a16="http://schemas.microsoft.com/office/drawing/2014/main" val="2133796505"/>
                    </a:ext>
                  </a:extLst>
                </a:gridCol>
              </a:tblGrid>
              <a:tr h="54864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900" b="0" dirty="0">
                          <a:solidFill>
                            <a:schemeClr val="tx1"/>
                          </a:solidFill>
                        </a:rPr>
                        <a:t>Engineering,</a:t>
                      </a:r>
                    </a:p>
                    <a:p>
                      <a:r>
                        <a:rPr lang="en-US" sz="900" b="0" baseline="0" dirty="0">
                          <a:solidFill>
                            <a:schemeClr val="tx1"/>
                          </a:solidFill>
                        </a:rPr>
                        <a:t>Fabrication of System </a:t>
                      </a:r>
                      <a:endParaRPr lang="en-GB" sz="900" b="0" dirty="0">
                        <a:solidFill>
                          <a:schemeClr val="tx1"/>
                        </a:solidFill>
                      </a:endParaRPr>
                    </a:p>
                  </a:txBody>
                  <a:tcPr marL="121920" marR="121920" marT="60960" marB="6096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AEDE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900" b="0" dirty="0">
                          <a:solidFill>
                            <a:schemeClr val="tx1"/>
                          </a:solidFill>
                        </a:rPr>
                        <a:t>Pre-First</a:t>
                      </a:r>
                      <a:r>
                        <a:rPr lang="en-US" sz="900" b="0" baseline="0" dirty="0">
                          <a:solidFill>
                            <a:schemeClr val="tx1"/>
                          </a:solidFill>
                        </a:rPr>
                        <a:t> Plasma Ass.</a:t>
                      </a:r>
                    </a:p>
                    <a:p>
                      <a:r>
                        <a:rPr lang="en-US" sz="900" b="0" baseline="0" dirty="0">
                          <a:solidFill>
                            <a:schemeClr val="tx1"/>
                          </a:solidFill>
                        </a:rPr>
                        <a:t>(Pre-FPA)</a:t>
                      </a:r>
                      <a:endParaRPr lang="en-GB" sz="900" b="0" dirty="0">
                        <a:solidFill>
                          <a:schemeClr val="tx1"/>
                        </a:solidFill>
                      </a:endParaRPr>
                    </a:p>
                  </a:txBody>
                  <a:tcPr marL="121920" marR="121920" marT="60960" marB="6096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FF99"/>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900" b="0" dirty="0">
                          <a:solidFill>
                            <a:schemeClr val="tx1"/>
                          </a:solidFill>
                        </a:rPr>
                        <a:t>Int. Comm. I</a:t>
                      </a:r>
                      <a:endParaRPr lang="en-GB" sz="900" b="0" dirty="0">
                        <a:solidFill>
                          <a:schemeClr val="tx1"/>
                        </a:solidFill>
                      </a:endParaRPr>
                    </a:p>
                  </a:txBody>
                  <a:tcPr marL="121920" marR="121920" marT="60960" marB="6096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AEDE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900" b="1" dirty="0">
                          <a:solidFill>
                            <a:schemeClr val="tx1"/>
                          </a:solidFill>
                        </a:rPr>
                        <a:t>Augmented First Plasma (A-FP) Phase</a:t>
                      </a:r>
                      <a:endParaRPr lang="en-GB" sz="900" b="1" dirty="0">
                        <a:solidFill>
                          <a:schemeClr val="tx1"/>
                        </a:solidFill>
                      </a:endParaRPr>
                    </a:p>
                  </a:txBody>
                  <a:tcPr marL="121920" marR="121920" marT="60960" marB="6096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900" b="0" dirty="0">
                          <a:solidFill>
                            <a:schemeClr val="tx1"/>
                          </a:solidFill>
                        </a:rPr>
                        <a:t>Post-First</a:t>
                      </a:r>
                      <a:r>
                        <a:rPr lang="en-US" sz="900" b="0" baseline="0" dirty="0">
                          <a:solidFill>
                            <a:schemeClr val="tx1"/>
                          </a:solidFill>
                        </a:rPr>
                        <a:t> Plasma Ass.</a:t>
                      </a:r>
                    </a:p>
                    <a:p>
                      <a:r>
                        <a:rPr lang="en-US" sz="900" b="0" baseline="0" dirty="0">
                          <a:solidFill>
                            <a:schemeClr val="tx1"/>
                          </a:solidFill>
                        </a:rPr>
                        <a:t>(Post-FPA)</a:t>
                      </a:r>
                      <a:endParaRPr lang="en-GB" sz="900" b="0" dirty="0">
                        <a:solidFill>
                          <a:schemeClr val="tx1"/>
                        </a:solidFill>
                      </a:endParaRPr>
                    </a:p>
                  </a:txBody>
                  <a:tcPr marL="121920" marR="121920" marT="60960" marB="6096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FF99"/>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900" b="0" dirty="0">
                          <a:solidFill>
                            <a:schemeClr val="tx1"/>
                          </a:solidFill>
                        </a:rPr>
                        <a:t>Int. Comm. II</a:t>
                      </a:r>
                      <a:endParaRPr lang="en-GB" sz="900" b="0" dirty="0">
                        <a:solidFill>
                          <a:schemeClr val="tx1"/>
                        </a:solidFill>
                      </a:endParaRPr>
                    </a:p>
                  </a:txBody>
                  <a:tcPr marL="121920" marR="121920" marT="60960" marB="6096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DAEDE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900" b="1" dirty="0">
                          <a:solidFill>
                            <a:schemeClr val="tx1"/>
                          </a:solidFill>
                        </a:rPr>
                        <a:t>FPO-1</a:t>
                      </a:r>
                      <a:endParaRPr lang="en-GB" sz="900" b="1" dirty="0">
                        <a:solidFill>
                          <a:schemeClr val="tx1"/>
                        </a:solidFill>
                      </a:endParaRPr>
                    </a:p>
                  </a:txBody>
                  <a:tcPr marL="121920" marR="121920" marT="60960" marB="6096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900" b="1" dirty="0">
                          <a:solidFill>
                            <a:schemeClr val="tx1"/>
                          </a:solidFill>
                        </a:rPr>
                        <a:t>FPO-2</a:t>
                      </a:r>
                      <a:endParaRPr lang="en-GB" sz="900" b="1" dirty="0">
                        <a:solidFill>
                          <a:schemeClr val="tx1"/>
                        </a:solidFill>
                      </a:endParaRPr>
                    </a:p>
                  </a:txBody>
                  <a:tcPr marL="121920" marR="121920" marT="60960" marB="6096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900" b="1" dirty="0">
                          <a:solidFill>
                            <a:schemeClr val="tx1"/>
                          </a:solidFill>
                        </a:rPr>
                        <a:t>FPO-3</a:t>
                      </a:r>
                      <a:endParaRPr lang="en-GB" sz="900" b="1" dirty="0">
                        <a:solidFill>
                          <a:schemeClr val="tx1"/>
                        </a:solidFill>
                      </a:endParaRPr>
                    </a:p>
                  </a:txBody>
                  <a:tcPr marL="121920" marR="121920" marT="60960" marB="6096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900" b="1" dirty="0">
                          <a:solidFill>
                            <a:schemeClr val="tx1"/>
                          </a:solidFill>
                        </a:rPr>
                        <a:t>FPO-4</a:t>
                      </a:r>
                      <a:endParaRPr lang="en-GB" sz="900" b="1" dirty="0">
                        <a:solidFill>
                          <a:schemeClr val="tx1"/>
                        </a:solidFill>
                      </a:endParaRPr>
                    </a:p>
                  </a:txBody>
                  <a:tcPr marL="121920" marR="121920" marT="60960" marB="6096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900" b="1" dirty="0">
                          <a:solidFill>
                            <a:schemeClr val="tx1"/>
                          </a:solidFill>
                        </a:rPr>
                        <a:t>FPO-5</a:t>
                      </a:r>
                      <a:endParaRPr lang="en-GB" sz="900" b="1" dirty="0">
                        <a:solidFill>
                          <a:schemeClr val="tx1"/>
                        </a:solidFill>
                      </a:endParaRPr>
                    </a:p>
                  </a:txBody>
                  <a:tcPr marL="121920" marR="121920" marT="60960" marB="6096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extLst>
                  <a:ext uri="{0D108BD9-81ED-4DB2-BD59-A6C34878D82A}">
                    <a16:rowId xmlns:a16="http://schemas.microsoft.com/office/drawing/2014/main" val="2919120840"/>
                  </a:ext>
                </a:extLst>
              </a:tr>
            </a:tbl>
          </a:graphicData>
        </a:graphic>
      </p:graphicFrame>
      <p:sp>
        <p:nvSpPr>
          <p:cNvPr id="7" name="Right Brace 6"/>
          <p:cNvSpPr/>
          <p:nvPr/>
        </p:nvSpPr>
        <p:spPr bwMode="auto">
          <a:xfrm rot="16200000">
            <a:off x="7931795" y="3339622"/>
            <a:ext cx="410868" cy="3325887"/>
          </a:xfrm>
          <a:prstGeom prst="rightBrace">
            <a:avLst/>
          </a:prstGeom>
          <a:solidFill>
            <a:srgbClr val="5B9BD5"/>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rtlCol="0" anchor="t" anchorCtr="0" compatLnSpc="1">
            <a:prstTxWarp prst="textNoShape">
              <a:avLst/>
            </a:prstTxWarp>
          </a:bodyPr>
          <a:lstStyle/>
          <a:p>
            <a:pPr defTabSz="1219110">
              <a:defRPr/>
            </a:pPr>
            <a:endParaRPr lang="en-GB" sz="2400" kern="0">
              <a:solidFill>
                <a:prstClr val="black"/>
              </a:solidFill>
            </a:endParaRPr>
          </a:p>
        </p:txBody>
      </p:sp>
      <p:sp>
        <p:nvSpPr>
          <p:cNvPr id="8" name="TextBox 7"/>
          <p:cNvSpPr txBox="1"/>
          <p:nvPr/>
        </p:nvSpPr>
        <p:spPr>
          <a:xfrm>
            <a:off x="7423512" y="4695835"/>
            <a:ext cx="2192243" cy="318100"/>
          </a:xfrm>
          <a:prstGeom prst="rect">
            <a:avLst/>
          </a:prstGeom>
          <a:noFill/>
        </p:spPr>
        <p:txBody>
          <a:bodyPr wrap="square" rtlCol="0">
            <a:spAutoFit/>
          </a:bodyPr>
          <a:lstStyle/>
          <a:p>
            <a:pPr algn="ctr"/>
            <a:r>
              <a:rPr lang="en-US" sz="1467" b="1" dirty="0">
                <a:solidFill>
                  <a:prstClr val="black"/>
                </a:solidFill>
                <a:latin typeface="Arial"/>
              </a:rPr>
              <a:t>DT-1</a:t>
            </a:r>
            <a:endParaRPr lang="en-GB" sz="1467" b="1" dirty="0" err="1">
              <a:solidFill>
                <a:prstClr val="black"/>
              </a:solidFill>
              <a:latin typeface="Arial"/>
            </a:endParaRPr>
          </a:p>
        </p:txBody>
      </p:sp>
      <p:sp>
        <p:nvSpPr>
          <p:cNvPr id="10" name="Down Arrow 9"/>
          <p:cNvSpPr/>
          <p:nvPr/>
        </p:nvSpPr>
        <p:spPr bwMode="auto">
          <a:xfrm rot="10800000">
            <a:off x="3874101" y="5824928"/>
            <a:ext cx="227601" cy="373185"/>
          </a:xfrm>
          <a:prstGeom prst="downArrow">
            <a:avLst/>
          </a:prstGeom>
          <a:solidFill>
            <a:srgbClr val="FF0000"/>
          </a:solidFill>
          <a:ln w="9525" cap="flat" cmpd="sng" algn="ctr">
            <a:solidFill>
              <a:sysClr val="windowText" lastClr="000000"/>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10">
              <a:defRPr/>
            </a:pPr>
            <a:endParaRPr lang="en-GB" sz="2400" kern="0">
              <a:solidFill>
                <a:prstClr val="black"/>
              </a:solidFill>
            </a:endParaRPr>
          </a:p>
        </p:txBody>
      </p:sp>
      <p:sp>
        <p:nvSpPr>
          <p:cNvPr id="11" name="TextBox 10"/>
          <p:cNvSpPr txBox="1"/>
          <p:nvPr/>
        </p:nvSpPr>
        <p:spPr>
          <a:xfrm>
            <a:off x="4144843" y="5886011"/>
            <a:ext cx="1427231" cy="420756"/>
          </a:xfrm>
          <a:prstGeom prst="rect">
            <a:avLst/>
          </a:prstGeom>
          <a:solidFill>
            <a:schemeClr val="bg1"/>
          </a:solidFill>
        </p:spPr>
        <p:txBody>
          <a:bodyPr wrap="square" rtlCol="0">
            <a:spAutoFit/>
          </a:bodyPr>
          <a:lstStyle/>
          <a:p>
            <a:r>
              <a:rPr lang="en-US" sz="1067" dirty="0">
                <a:solidFill>
                  <a:srgbClr val="FF0000"/>
                </a:solidFill>
                <a:latin typeface="Arial"/>
              </a:rPr>
              <a:t>Start nuclear phase</a:t>
            </a:r>
          </a:p>
          <a:p>
            <a:r>
              <a:rPr lang="en-US" sz="1067" dirty="0">
                <a:solidFill>
                  <a:srgbClr val="FF0000"/>
                </a:solidFill>
                <a:latin typeface="Arial"/>
              </a:rPr>
              <a:t>(DD plasma)</a:t>
            </a:r>
            <a:endParaRPr lang="en-GB" sz="1067" dirty="0" err="1">
              <a:solidFill>
                <a:srgbClr val="FF0000"/>
              </a:solidFill>
              <a:latin typeface="Arial"/>
            </a:endParaRPr>
          </a:p>
        </p:txBody>
      </p:sp>
      <p:sp>
        <p:nvSpPr>
          <p:cNvPr id="12" name="Down Arrow 11"/>
          <p:cNvSpPr/>
          <p:nvPr/>
        </p:nvSpPr>
        <p:spPr bwMode="auto">
          <a:xfrm rot="10800000">
            <a:off x="7293872" y="5825770"/>
            <a:ext cx="203200" cy="348343"/>
          </a:xfrm>
          <a:prstGeom prst="downArrow">
            <a:avLst/>
          </a:prstGeom>
          <a:solidFill>
            <a:srgbClr val="7030A0"/>
          </a:solidFill>
          <a:ln w="9525" cap="flat" cmpd="sng" algn="ctr">
            <a:solidFill>
              <a:sysClr val="windowText" lastClr="000000"/>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10">
              <a:defRPr/>
            </a:pPr>
            <a:endParaRPr lang="en-GB" sz="2400" kern="0">
              <a:solidFill>
                <a:prstClr val="black"/>
              </a:solidFill>
            </a:endParaRPr>
          </a:p>
        </p:txBody>
      </p:sp>
      <p:sp>
        <p:nvSpPr>
          <p:cNvPr id="13" name="TextBox 12"/>
          <p:cNvSpPr txBox="1"/>
          <p:nvPr/>
        </p:nvSpPr>
        <p:spPr>
          <a:xfrm>
            <a:off x="7519530" y="5999097"/>
            <a:ext cx="967367" cy="256545"/>
          </a:xfrm>
          <a:prstGeom prst="rect">
            <a:avLst/>
          </a:prstGeom>
          <a:solidFill>
            <a:schemeClr val="bg1"/>
          </a:solidFill>
        </p:spPr>
        <p:txBody>
          <a:bodyPr wrap="square" rtlCol="0">
            <a:spAutoFit/>
          </a:bodyPr>
          <a:lstStyle/>
          <a:p>
            <a:r>
              <a:rPr lang="en-US" sz="1067" dirty="0">
                <a:solidFill>
                  <a:srgbClr val="7030A0"/>
                </a:solidFill>
                <a:latin typeface="Arial"/>
              </a:rPr>
              <a:t>DT plasma</a:t>
            </a:r>
            <a:endParaRPr lang="en-GB" sz="1067" dirty="0" err="1">
              <a:solidFill>
                <a:srgbClr val="7030A0"/>
              </a:solidFill>
              <a:latin typeface="Arial"/>
            </a:endParaRPr>
          </a:p>
        </p:txBody>
      </p:sp>
      <p:sp>
        <p:nvSpPr>
          <p:cNvPr id="14" name="Down Arrow 13"/>
          <p:cNvSpPr/>
          <p:nvPr/>
        </p:nvSpPr>
        <p:spPr bwMode="auto">
          <a:xfrm rot="10800000">
            <a:off x="6948977" y="5832945"/>
            <a:ext cx="203200" cy="348343"/>
          </a:xfrm>
          <a:prstGeom prst="downArrow">
            <a:avLst/>
          </a:prstGeom>
          <a:solidFill>
            <a:srgbClr val="7030A0"/>
          </a:solidFill>
          <a:ln w="9525" cap="flat" cmpd="sng" algn="ctr">
            <a:solidFill>
              <a:sysClr val="windowText" lastClr="000000"/>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10">
              <a:defRPr/>
            </a:pPr>
            <a:endParaRPr lang="en-GB" sz="2400" kern="0">
              <a:solidFill>
                <a:prstClr val="black"/>
              </a:solidFill>
            </a:endParaRPr>
          </a:p>
        </p:txBody>
      </p:sp>
      <p:sp>
        <p:nvSpPr>
          <p:cNvPr id="15" name="TextBox 14"/>
          <p:cNvSpPr txBox="1"/>
          <p:nvPr/>
        </p:nvSpPr>
        <p:spPr>
          <a:xfrm>
            <a:off x="6538272" y="5952380"/>
            <a:ext cx="684752" cy="420756"/>
          </a:xfrm>
          <a:prstGeom prst="rect">
            <a:avLst/>
          </a:prstGeom>
          <a:noFill/>
        </p:spPr>
        <p:txBody>
          <a:bodyPr wrap="square" rtlCol="0">
            <a:spAutoFit/>
          </a:bodyPr>
          <a:lstStyle/>
          <a:p>
            <a:r>
              <a:rPr lang="en-US" altLang="ja-JP" sz="1067" dirty="0">
                <a:solidFill>
                  <a:srgbClr val="7030A0"/>
                </a:solidFill>
                <a:latin typeface="Arial"/>
              </a:rPr>
              <a:t>H+T  plasma</a:t>
            </a:r>
            <a:endParaRPr lang="en-GB" altLang="ja-JP" sz="1067" dirty="0" err="1">
              <a:solidFill>
                <a:srgbClr val="7030A0"/>
              </a:solidFill>
              <a:latin typeface="Arial"/>
            </a:endParaRPr>
          </a:p>
        </p:txBody>
      </p:sp>
      <p:graphicFrame>
        <p:nvGraphicFramePr>
          <p:cNvPr id="16" name="Table 15"/>
          <p:cNvGraphicFramePr>
            <a:graphicFrameLocks noGrp="1"/>
          </p:cNvGraphicFramePr>
          <p:nvPr/>
        </p:nvGraphicFramePr>
        <p:xfrm>
          <a:off x="10248230" y="5253203"/>
          <a:ext cx="1828683" cy="548640"/>
        </p:xfrm>
        <a:graphic>
          <a:graphicData uri="http://schemas.openxmlformats.org/drawingml/2006/table">
            <a:tbl>
              <a:tblPr firstRow="1" bandRow="1"/>
              <a:tblGrid>
                <a:gridCol w="609561">
                  <a:extLst>
                    <a:ext uri="{9D8B030D-6E8A-4147-A177-3AD203B41FA5}">
                      <a16:colId xmlns:a16="http://schemas.microsoft.com/office/drawing/2014/main" val="3027254804"/>
                    </a:ext>
                  </a:extLst>
                </a:gridCol>
                <a:gridCol w="609561">
                  <a:extLst>
                    <a:ext uri="{9D8B030D-6E8A-4147-A177-3AD203B41FA5}">
                      <a16:colId xmlns:a16="http://schemas.microsoft.com/office/drawing/2014/main" val="4077636139"/>
                    </a:ext>
                  </a:extLst>
                </a:gridCol>
                <a:gridCol w="609561">
                  <a:extLst>
                    <a:ext uri="{9D8B030D-6E8A-4147-A177-3AD203B41FA5}">
                      <a16:colId xmlns:a16="http://schemas.microsoft.com/office/drawing/2014/main" val="3827011783"/>
                    </a:ext>
                  </a:extLst>
                </a:gridCol>
              </a:tblGrid>
              <a:tr h="54864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900" b="1" dirty="0">
                          <a:solidFill>
                            <a:schemeClr val="tx1"/>
                          </a:solidFill>
                        </a:rPr>
                        <a:t>FPO-x</a:t>
                      </a:r>
                      <a:endParaRPr lang="en-GB" sz="900" b="1" dirty="0">
                        <a:solidFill>
                          <a:schemeClr val="tx1"/>
                        </a:solidFill>
                      </a:endParaRPr>
                    </a:p>
                  </a:txBody>
                  <a:tcPr marL="121920" marR="121920" marT="60960" marB="6096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900" b="1" dirty="0">
                          <a:solidFill>
                            <a:schemeClr val="tx1"/>
                          </a:solidFill>
                        </a:rPr>
                        <a:t>(…)</a:t>
                      </a:r>
                      <a:endParaRPr lang="en-GB" sz="900" b="1" dirty="0">
                        <a:solidFill>
                          <a:schemeClr val="tx1"/>
                        </a:solidFill>
                      </a:endParaRPr>
                    </a:p>
                  </a:txBody>
                  <a:tcPr marL="121920" marR="121920" marT="60960" marB="6096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900" b="1" dirty="0">
                          <a:solidFill>
                            <a:schemeClr val="tx1"/>
                          </a:solidFill>
                        </a:rPr>
                        <a:t>FPO-y</a:t>
                      </a:r>
                      <a:endParaRPr lang="en-GB" sz="900" b="1" dirty="0">
                        <a:solidFill>
                          <a:schemeClr val="tx1"/>
                        </a:solidFill>
                      </a:endParaRPr>
                    </a:p>
                  </a:txBody>
                  <a:tcPr marL="121920" marR="121920" marT="60960" marB="6096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CCC"/>
                    </a:solidFill>
                  </a:tcPr>
                </a:tc>
                <a:extLst>
                  <a:ext uri="{0D108BD9-81ED-4DB2-BD59-A6C34878D82A}">
                    <a16:rowId xmlns:a16="http://schemas.microsoft.com/office/drawing/2014/main" val="121793583"/>
                  </a:ext>
                </a:extLst>
              </a:tr>
            </a:tbl>
          </a:graphicData>
        </a:graphic>
      </p:graphicFrame>
      <p:sp>
        <p:nvSpPr>
          <p:cNvPr id="17" name="Right Brace 16"/>
          <p:cNvSpPr/>
          <p:nvPr/>
        </p:nvSpPr>
        <p:spPr bwMode="auto">
          <a:xfrm rot="16200000">
            <a:off x="10963714" y="4023755"/>
            <a:ext cx="410868" cy="1841837"/>
          </a:xfrm>
          <a:prstGeom prst="rightBrace">
            <a:avLst/>
          </a:prstGeom>
          <a:solidFill>
            <a:srgbClr val="5B9BD5"/>
          </a:solidFill>
          <a:ln w="9525"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rtlCol="0" anchor="t" anchorCtr="0" compatLnSpc="1">
            <a:prstTxWarp prst="textNoShape">
              <a:avLst/>
            </a:prstTxWarp>
          </a:bodyPr>
          <a:lstStyle/>
          <a:p>
            <a:pPr defTabSz="1219110">
              <a:defRPr/>
            </a:pPr>
            <a:endParaRPr lang="en-GB" sz="2400" kern="0">
              <a:solidFill>
                <a:prstClr val="black"/>
              </a:solidFill>
            </a:endParaRPr>
          </a:p>
        </p:txBody>
      </p:sp>
      <p:sp>
        <p:nvSpPr>
          <p:cNvPr id="18" name="TextBox 17"/>
          <p:cNvSpPr txBox="1"/>
          <p:nvPr/>
        </p:nvSpPr>
        <p:spPr>
          <a:xfrm>
            <a:off x="11162569" y="4647635"/>
            <a:ext cx="840027" cy="318100"/>
          </a:xfrm>
          <a:prstGeom prst="rect">
            <a:avLst/>
          </a:prstGeom>
          <a:noFill/>
        </p:spPr>
        <p:txBody>
          <a:bodyPr wrap="square" rtlCol="0">
            <a:spAutoFit/>
          </a:bodyPr>
          <a:lstStyle/>
          <a:p>
            <a:pPr algn="ctr"/>
            <a:r>
              <a:rPr lang="en-US" sz="1467" b="1" dirty="0">
                <a:solidFill>
                  <a:prstClr val="black"/>
                </a:solidFill>
                <a:latin typeface="Arial"/>
              </a:rPr>
              <a:t>DT-2</a:t>
            </a:r>
            <a:endParaRPr lang="en-GB" sz="1467" b="1" dirty="0" err="1">
              <a:solidFill>
                <a:prstClr val="black"/>
              </a:solidFill>
              <a:latin typeface="Arial"/>
            </a:endParaRPr>
          </a:p>
        </p:txBody>
      </p:sp>
      <p:sp>
        <p:nvSpPr>
          <p:cNvPr id="3" name="TextBox 2">
            <a:extLst>
              <a:ext uri="{FF2B5EF4-FFF2-40B4-BE49-F238E27FC236}">
                <a16:creationId xmlns:a16="http://schemas.microsoft.com/office/drawing/2014/main" id="{C0D95AE3-AC1D-6994-6C75-39A47CDAC913}"/>
              </a:ext>
            </a:extLst>
          </p:cNvPr>
          <p:cNvSpPr txBox="1"/>
          <p:nvPr/>
        </p:nvSpPr>
        <p:spPr>
          <a:xfrm>
            <a:off x="8895745" y="6025151"/>
            <a:ext cx="967367" cy="256545"/>
          </a:xfrm>
          <a:prstGeom prst="rect">
            <a:avLst/>
          </a:prstGeom>
          <a:solidFill>
            <a:schemeClr val="bg1"/>
          </a:solidFill>
        </p:spPr>
        <p:txBody>
          <a:bodyPr wrap="square" rtlCol="0">
            <a:spAutoFit/>
          </a:bodyPr>
          <a:lstStyle/>
          <a:p>
            <a:pPr algn="ctr"/>
            <a:r>
              <a:rPr lang="en-US" sz="1067" dirty="0">
                <a:solidFill>
                  <a:srgbClr val="7030A0"/>
                </a:solidFill>
                <a:latin typeface="Arial"/>
              </a:rPr>
              <a:t>Q = 10</a:t>
            </a:r>
            <a:endParaRPr lang="en-GB" sz="1067" dirty="0" err="1">
              <a:solidFill>
                <a:srgbClr val="7030A0"/>
              </a:solidFill>
              <a:latin typeface="Arial"/>
            </a:endParaRPr>
          </a:p>
        </p:txBody>
      </p:sp>
      <p:sp>
        <p:nvSpPr>
          <p:cNvPr id="9" name="Textfeld 8"/>
          <p:cNvSpPr txBox="1"/>
          <p:nvPr/>
        </p:nvSpPr>
        <p:spPr>
          <a:xfrm>
            <a:off x="8003213" y="6408220"/>
            <a:ext cx="4082849"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Alberto </a:t>
            </a:r>
            <a:r>
              <a:rPr lang="de-DE" sz="1600" dirty="0" err="1" smtClean="0"/>
              <a:t>Loarte</a:t>
            </a:r>
            <a:r>
              <a:rPr lang="de-DE" sz="1600" dirty="0" smtClean="0"/>
              <a:t> – Status </a:t>
            </a:r>
            <a:r>
              <a:rPr lang="de-DE" sz="1600" dirty="0" err="1" smtClean="0"/>
              <a:t>of</a:t>
            </a:r>
            <a:r>
              <a:rPr lang="de-DE" sz="1600" dirty="0" smtClean="0"/>
              <a:t> ITER </a:t>
            </a:r>
            <a:r>
              <a:rPr lang="de-DE" sz="1600" dirty="0" err="1" smtClean="0"/>
              <a:t>re-baselining</a:t>
            </a:r>
            <a:endParaRPr lang="de-DE" sz="1600" dirty="0" smtClean="0"/>
          </a:p>
        </p:txBody>
      </p:sp>
    </p:spTree>
    <p:extLst>
      <p:ext uri="{BB962C8B-B14F-4D97-AF65-F5344CB8AC3E}">
        <p14:creationId xmlns:p14="http://schemas.microsoft.com/office/powerpoint/2010/main" val="11862320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feld 13"/>
          <p:cNvSpPr txBox="1"/>
          <p:nvPr/>
        </p:nvSpPr>
        <p:spPr>
          <a:xfrm>
            <a:off x="7271177" y="6506902"/>
            <a:ext cx="4733668"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Sebastijan Brezinsek – PWI in </a:t>
            </a:r>
            <a:r>
              <a:rPr lang="de-DE" sz="1600" dirty="0" err="1" smtClean="0"/>
              <a:t>future</a:t>
            </a:r>
            <a:r>
              <a:rPr lang="de-DE" sz="1600" dirty="0" smtClean="0"/>
              <a:t> </a:t>
            </a:r>
            <a:r>
              <a:rPr lang="de-DE" sz="1600" dirty="0" err="1" smtClean="0"/>
              <a:t>fusion</a:t>
            </a:r>
            <a:r>
              <a:rPr lang="de-DE" sz="1600" dirty="0" smtClean="0"/>
              <a:t> </a:t>
            </a:r>
            <a:r>
              <a:rPr lang="de-DE" sz="1600" dirty="0" err="1" smtClean="0"/>
              <a:t>reactors</a:t>
            </a:r>
            <a:endParaRPr lang="de-DE" sz="1600" dirty="0" smtClean="0"/>
          </a:p>
        </p:txBody>
      </p:sp>
      <p:sp>
        <p:nvSpPr>
          <p:cNvPr id="2" name="Titel 1"/>
          <p:cNvSpPr>
            <a:spLocks noGrp="1"/>
          </p:cNvSpPr>
          <p:nvPr>
            <p:ph type="title"/>
          </p:nvPr>
        </p:nvSpPr>
        <p:spPr/>
        <p:txBody>
          <a:bodyPr/>
          <a:lstStyle/>
          <a:p>
            <a:r>
              <a:rPr lang="en-GB" dirty="0"/>
              <a:t>Plasma-Surface Interaction Processes</a:t>
            </a:r>
          </a:p>
        </p:txBody>
      </p:sp>
      <p:sp>
        <p:nvSpPr>
          <p:cNvPr id="5" name="Foliennummernplatzhalter 4"/>
          <p:cNvSpPr>
            <a:spLocks noGrp="1"/>
          </p:cNvSpPr>
          <p:nvPr>
            <p:ph type="sldNum" sz="quarter" idx="16"/>
          </p:nvPr>
        </p:nvSpPr>
        <p:spPr/>
        <p:txBody>
          <a:bodyPr/>
          <a:lstStyle/>
          <a:p>
            <a:r>
              <a:rPr lang="en-US"/>
              <a:t>Page </a:t>
            </a:r>
            <a:fld id="{A52F4D17-1AD6-42D9-B93A-EB002C62F438}" type="slidenum">
              <a:rPr lang="en-US" smtClean="0"/>
              <a:pPr/>
              <a:t>4</a:t>
            </a:fld>
            <a:endParaRPr lang="en-US" noProof="0" dirty="0"/>
          </a:p>
        </p:txBody>
      </p:sp>
      <p:pic>
        <p:nvPicPr>
          <p:cNvPr id="7" name="Picture 3" descr="EurofusionDisc.eps"/>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72228" y="306687"/>
            <a:ext cx="532617" cy="541348"/>
          </a:xfrm>
          <a:prstGeom prst="rect">
            <a:avLst/>
          </a:prstGeom>
        </p:spPr>
      </p:pic>
      <p:pic>
        <p:nvPicPr>
          <p:cNvPr id="8" name="Grafik 7"/>
          <p:cNvPicPr>
            <a:picLocks noChangeAspect="1"/>
          </p:cNvPicPr>
          <p:nvPr/>
        </p:nvPicPr>
        <p:blipFill rotWithShape="1">
          <a:blip r:embed="rId3" cstate="print">
            <a:extLst>
              <a:ext uri="{28A0092B-C50C-407E-A947-70E740481C1C}">
                <a14:useLocalDpi xmlns:a14="http://schemas.microsoft.com/office/drawing/2010/main" val="0"/>
              </a:ext>
            </a:extLst>
          </a:blip>
          <a:srcRect r="69209"/>
          <a:stretch/>
        </p:blipFill>
        <p:spPr>
          <a:xfrm>
            <a:off x="10912502" y="296805"/>
            <a:ext cx="559726" cy="523955"/>
          </a:xfrm>
          <a:prstGeom prst="rect">
            <a:avLst/>
          </a:prstGeom>
        </p:spPr>
      </p:pic>
      <p:sp>
        <p:nvSpPr>
          <p:cNvPr id="9" name="Rechteck 8"/>
          <p:cNvSpPr/>
          <p:nvPr/>
        </p:nvSpPr>
        <p:spPr>
          <a:xfrm>
            <a:off x="9628581" y="5733256"/>
            <a:ext cx="2376264" cy="86409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de-DE" sz="2400" dirty="0" err="1"/>
          </a:p>
        </p:txBody>
      </p:sp>
      <p:pic>
        <p:nvPicPr>
          <p:cNvPr id="11" name="Picture 5"/>
          <p:cNvPicPr>
            <a:picLocks noChangeAspect="1"/>
          </p:cNvPicPr>
          <p:nvPr/>
        </p:nvPicPr>
        <p:blipFill>
          <a:blip r:embed="rId4"/>
          <a:stretch>
            <a:fillRect/>
          </a:stretch>
        </p:blipFill>
        <p:spPr>
          <a:xfrm>
            <a:off x="-24680" y="692696"/>
            <a:ext cx="9815699" cy="5531103"/>
          </a:xfrm>
          <a:prstGeom prst="rect">
            <a:avLst/>
          </a:prstGeom>
          <a:noFill/>
        </p:spPr>
      </p:pic>
      <p:sp>
        <p:nvSpPr>
          <p:cNvPr id="12" name="Textfeld 11"/>
          <p:cNvSpPr txBox="1"/>
          <p:nvPr/>
        </p:nvSpPr>
        <p:spPr>
          <a:xfrm>
            <a:off x="9602137" y="1700808"/>
            <a:ext cx="2582781" cy="1408078"/>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txBody>
          <a:bodyPr wrap="square" rtlCol="0">
            <a:spAutoFit/>
          </a:bodyPr>
          <a:lstStyle/>
          <a:p>
            <a:pPr algn="ctr">
              <a:lnSpc>
                <a:spcPct val="95000"/>
              </a:lnSpc>
            </a:pPr>
            <a:r>
              <a:rPr lang="en-GB" dirty="0"/>
              <a:t>Divertor und SOL plasma conditions:</a:t>
            </a:r>
          </a:p>
          <a:p>
            <a:pPr algn="ctr">
              <a:lnSpc>
                <a:spcPct val="95000"/>
              </a:lnSpc>
            </a:pPr>
            <a:endParaRPr lang="en-GB" dirty="0"/>
          </a:p>
          <a:p>
            <a:pPr algn="ctr">
              <a:lnSpc>
                <a:spcPct val="95000"/>
              </a:lnSpc>
            </a:pPr>
            <a:r>
              <a:rPr lang="en-GB" dirty="0" err="1"/>
              <a:t>T</a:t>
            </a:r>
            <a:r>
              <a:rPr lang="en-GB" baseline="-25000" dirty="0" err="1"/>
              <a:t>e</a:t>
            </a:r>
            <a:r>
              <a:rPr lang="en-GB" dirty="0"/>
              <a:t>=1-100 eV</a:t>
            </a:r>
          </a:p>
          <a:p>
            <a:pPr algn="ctr">
              <a:lnSpc>
                <a:spcPct val="95000"/>
              </a:lnSpc>
            </a:pPr>
            <a:r>
              <a:rPr lang="en-GB" dirty="0"/>
              <a:t>n</a:t>
            </a:r>
            <a:r>
              <a:rPr lang="en-GB" baseline="-25000" dirty="0"/>
              <a:t>e</a:t>
            </a:r>
            <a:r>
              <a:rPr lang="en-GB" dirty="0"/>
              <a:t>=5x10</a:t>
            </a:r>
            <a:r>
              <a:rPr lang="en-GB" baseline="30000" dirty="0"/>
              <a:t>17</a:t>
            </a:r>
            <a:r>
              <a:rPr lang="en-GB" dirty="0"/>
              <a:t>-1x10</a:t>
            </a:r>
            <a:r>
              <a:rPr lang="en-GB" baseline="30000" dirty="0"/>
              <a:t>21</a:t>
            </a:r>
            <a:r>
              <a:rPr lang="en-GB" dirty="0"/>
              <a:t>m</a:t>
            </a:r>
            <a:r>
              <a:rPr lang="en-GB" baseline="30000" dirty="0"/>
              <a:t>-3</a:t>
            </a:r>
          </a:p>
        </p:txBody>
      </p:sp>
      <p:sp>
        <p:nvSpPr>
          <p:cNvPr id="13" name="Textfeld 12"/>
          <p:cNvSpPr txBox="1"/>
          <p:nvPr/>
        </p:nvSpPr>
        <p:spPr>
          <a:xfrm>
            <a:off x="9602136" y="3680472"/>
            <a:ext cx="2582781" cy="881780"/>
          </a:xfrm>
          <a:prstGeom prst="rect">
            <a:avLst/>
          </a:prstGeom>
          <a:solidFill>
            <a:schemeClr val="bg1">
              <a:lumMod val="95000"/>
            </a:schemeClr>
          </a:solidFill>
          <a:ln w="12700">
            <a:noFill/>
          </a:ln>
          <a:effectLst>
            <a:outerShdw blurRad="50800" dist="38100" dir="2700000" algn="tl" rotWithShape="0">
              <a:prstClr val="black">
                <a:alpha val="40000"/>
              </a:prstClr>
            </a:outerShdw>
          </a:effectLst>
        </p:spPr>
        <p:txBody>
          <a:bodyPr wrap="square" rtlCol="0">
            <a:spAutoFit/>
          </a:bodyPr>
          <a:lstStyle/>
          <a:p>
            <a:pPr algn="ctr">
              <a:lnSpc>
                <a:spcPct val="95000"/>
              </a:lnSpc>
            </a:pPr>
            <a:r>
              <a:rPr lang="en-GB" dirty="0"/>
              <a:t>Impact energies:</a:t>
            </a:r>
            <a:endParaRPr lang="en-GB" baseline="30000" dirty="0"/>
          </a:p>
          <a:p>
            <a:pPr algn="ctr">
              <a:lnSpc>
                <a:spcPct val="95000"/>
              </a:lnSpc>
            </a:pPr>
            <a:r>
              <a:rPr lang="en-GB" dirty="0" err="1"/>
              <a:t>E</a:t>
            </a:r>
            <a:r>
              <a:rPr lang="en-GB" baseline="-25000" dirty="0" err="1"/>
              <a:t>in</a:t>
            </a:r>
            <a:r>
              <a:rPr lang="en-GB" dirty="0"/>
              <a:t>=1-500 eV HI ions</a:t>
            </a:r>
          </a:p>
          <a:p>
            <a:pPr algn="ctr">
              <a:lnSpc>
                <a:spcPct val="95000"/>
              </a:lnSpc>
            </a:pPr>
            <a:r>
              <a:rPr lang="en-GB" dirty="0" err="1"/>
              <a:t>E</a:t>
            </a:r>
            <a:r>
              <a:rPr lang="en-GB" baseline="-25000" dirty="0" err="1"/>
              <a:t>in</a:t>
            </a:r>
            <a:r>
              <a:rPr lang="en-GB" dirty="0"/>
              <a:t>=1-2000 eV CX HI</a:t>
            </a:r>
          </a:p>
        </p:txBody>
      </p:sp>
      <p:sp>
        <p:nvSpPr>
          <p:cNvPr id="4" name="Rechteck 3"/>
          <p:cNvSpPr/>
          <p:nvPr/>
        </p:nvSpPr>
        <p:spPr>
          <a:xfrm>
            <a:off x="5231904" y="3023241"/>
            <a:ext cx="45719"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pPr>
            <a:endParaRPr lang="de-DE" sz="2400" dirty="0" err="1"/>
          </a:p>
        </p:txBody>
      </p:sp>
      <p:sp>
        <p:nvSpPr>
          <p:cNvPr id="18" name="Textfeld 17"/>
          <p:cNvSpPr txBox="1"/>
          <p:nvPr/>
        </p:nvSpPr>
        <p:spPr>
          <a:xfrm flipH="1">
            <a:off x="9815736" y="4718130"/>
            <a:ext cx="2376264" cy="297004"/>
          </a:xfrm>
          <a:prstGeom prst="rect">
            <a:avLst/>
          </a:prstGeom>
          <a:noFill/>
        </p:spPr>
        <p:txBody>
          <a:bodyPr wrap="square" rtlCol="0">
            <a:spAutoFit/>
          </a:bodyPr>
          <a:lstStyle/>
          <a:p>
            <a:pPr algn="l">
              <a:lnSpc>
                <a:spcPct val="95000"/>
              </a:lnSpc>
            </a:pPr>
            <a:r>
              <a:rPr lang="de-DE" sz="1400" dirty="0"/>
              <a:t>HI = Hydrogen Isotopes </a:t>
            </a:r>
          </a:p>
        </p:txBody>
      </p:sp>
      <p:sp>
        <p:nvSpPr>
          <p:cNvPr id="16" name="Text Box 17"/>
          <p:cNvSpPr txBox="1">
            <a:spLocks noChangeArrowheads="1"/>
          </p:cNvSpPr>
          <p:nvPr/>
        </p:nvSpPr>
        <p:spPr bwMode="auto">
          <a:xfrm>
            <a:off x="7752185" y="3688383"/>
            <a:ext cx="4345042" cy="3000821"/>
          </a:xfrm>
          <a:prstGeom prst="rect">
            <a:avLst/>
          </a:prstGeom>
          <a:solidFill>
            <a:schemeClr val="accent1">
              <a:lumMod val="20000"/>
              <a:lumOff val="80000"/>
            </a:schemeClr>
          </a:solidFill>
          <a:ln w="28575">
            <a:solidFill>
              <a:schemeClr val="tx1"/>
            </a:solidFill>
          </a:ln>
          <a:effectLst>
            <a:outerShdw blurRad="50800" dist="38100" dir="2700000" algn="tl" rotWithShape="0">
              <a:prstClr val="black">
                <a:alpha val="40000"/>
              </a:prstClr>
            </a:outerShdw>
          </a:effectLst>
        </p:spPr>
        <p:txBody>
          <a:bodyPr wrap="square">
            <a:spAutoFit/>
          </a:bodyPr>
          <a:lstStyle/>
          <a:p>
            <a:pPr algn="ctr"/>
            <a:r>
              <a:rPr lang="en-US" dirty="0">
                <a:latin typeface="Arial" panose="020B0604020202020204" pitchFamily="34" charset="0"/>
                <a:cs typeface="Arial" panose="020B0604020202020204" pitchFamily="34" charset="0"/>
              </a:rPr>
              <a:t>Additional neutron-induced effects:</a:t>
            </a:r>
          </a:p>
          <a:p>
            <a:pPr algn="ctr">
              <a:lnSpc>
                <a:spcPct val="95000"/>
              </a:lnSpc>
            </a:pPr>
            <a:r>
              <a:rPr lang="en-GB" dirty="0"/>
              <a:t>enhances tritium retention, modifies material properties like thermal conductivity, brittleness, swelling, causes transmutation, impacts erosion etc.</a:t>
            </a:r>
          </a:p>
          <a:p>
            <a:pPr algn="ctr">
              <a:lnSpc>
                <a:spcPct val="95000"/>
              </a:lnSpc>
            </a:pPr>
            <a:endParaRPr lang="en-GB" dirty="0"/>
          </a:p>
          <a:p>
            <a:pPr algn="ctr">
              <a:lnSpc>
                <a:spcPct val="95000"/>
              </a:lnSpc>
            </a:pPr>
            <a:r>
              <a:rPr lang="en-GB" dirty="0"/>
              <a:t>Lack of material damage studies </a:t>
            </a:r>
          </a:p>
          <a:p>
            <a:pPr algn="ctr">
              <a:lnSpc>
                <a:spcPct val="95000"/>
              </a:lnSpc>
            </a:pPr>
            <a:r>
              <a:rPr lang="en-GB" dirty="0"/>
              <a:t>with 14 MeV neutrons at high dpa</a:t>
            </a:r>
          </a:p>
          <a:p>
            <a:pPr algn="ctr">
              <a:lnSpc>
                <a:spcPct val="95000"/>
              </a:lnSpc>
            </a:pPr>
            <a:r>
              <a:rPr lang="en-GB" dirty="0"/>
              <a:t>or</a:t>
            </a:r>
          </a:p>
          <a:p>
            <a:pPr algn="ctr">
              <a:lnSpc>
                <a:spcPct val="95000"/>
              </a:lnSpc>
            </a:pPr>
            <a:r>
              <a:rPr lang="en-GB" dirty="0"/>
              <a:t>HI retention in neutron-damaged</a:t>
            </a:r>
          </a:p>
          <a:p>
            <a:pPr algn="ctr">
              <a:lnSpc>
                <a:spcPct val="95000"/>
              </a:lnSpc>
            </a:pPr>
            <a:r>
              <a:rPr lang="en-GB" dirty="0"/>
              <a:t>material after plasma loading </a:t>
            </a:r>
          </a:p>
        </p:txBody>
      </p:sp>
      <p:sp>
        <p:nvSpPr>
          <p:cNvPr id="3" name="Datumsplatzhalter 5">
            <a:extLst>
              <a:ext uri="{FF2B5EF4-FFF2-40B4-BE49-F238E27FC236}">
                <a16:creationId xmlns:a16="http://schemas.microsoft.com/office/drawing/2014/main" id="{A85EA1DE-B127-BEE6-43C1-C4328CC35810}"/>
              </a:ext>
            </a:extLst>
          </p:cNvPr>
          <p:cNvSpPr>
            <a:spLocks noGrp="1"/>
          </p:cNvSpPr>
          <p:nvPr>
            <p:ph type="dt" sz="half" idx="2"/>
          </p:nvPr>
        </p:nvSpPr>
        <p:spPr>
          <a:xfrm>
            <a:off x="371475" y="6381328"/>
            <a:ext cx="5005138" cy="221109"/>
          </a:xfrm>
        </p:spPr>
        <p:txBody>
          <a:bodyPr/>
          <a:lstStyle/>
          <a:p>
            <a:r>
              <a:rPr lang="en-US" dirty="0"/>
              <a:t>30.01.2024 | 31</a:t>
            </a:r>
            <a:r>
              <a:rPr lang="en-US" baseline="30000" dirty="0"/>
              <a:t>st</a:t>
            </a:r>
            <a:r>
              <a:rPr lang="en-US" dirty="0"/>
              <a:t> EFPW | </a:t>
            </a:r>
            <a:r>
              <a:rPr lang="de-DE" dirty="0"/>
              <a:t>Prag</a:t>
            </a:r>
            <a:r>
              <a:rPr lang="en-US" dirty="0"/>
              <a:t>  | S. Brezinsek</a:t>
            </a:r>
          </a:p>
        </p:txBody>
      </p:sp>
    </p:spTree>
    <p:extLst>
      <p:ext uri="{BB962C8B-B14F-4D97-AF65-F5344CB8AC3E}">
        <p14:creationId xmlns:p14="http://schemas.microsoft.com/office/powerpoint/2010/main" val="7026985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B17EAD3B-1461-7487-5CC4-2FCC0868B62D}"/>
              </a:ext>
            </a:extLst>
          </p:cNvPr>
          <p:cNvSpPr>
            <a:spLocks noGrp="1"/>
          </p:cNvSpPr>
          <p:nvPr>
            <p:ph type="dt" sz="half" idx="10"/>
          </p:nvPr>
        </p:nvSpPr>
        <p:spPr/>
        <p:txBody>
          <a:bodyPr/>
          <a:lstStyle/>
          <a:p>
            <a:fld id="{F13E9224-E247-4E3F-A6FA-ABB087387E27}" type="datetime1">
              <a:rPr lang="fr-FR" smtClean="0"/>
              <a:t>20/02/2024</a:t>
            </a:fld>
            <a:endParaRPr lang="fr-FR"/>
          </a:p>
        </p:txBody>
      </p:sp>
      <p:sp>
        <p:nvSpPr>
          <p:cNvPr id="5" name="Espace réservé du pied de page 4">
            <a:extLst>
              <a:ext uri="{FF2B5EF4-FFF2-40B4-BE49-F238E27FC236}">
                <a16:creationId xmlns:a16="http://schemas.microsoft.com/office/drawing/2014/main" id="{4B7D443D-AEB6-DC33-3EC2-01CD79BC4C4B}"/>
              </a:ext>
            </a:extLst>
          </p:cNvPr>
          <p:cNvSpPr>
            <a:spLocks noGrp="1"/>
          </p:cNvSpPr>
          <p:nvPr>
            <p:ph type="ftr" sz="quarter" idx="11"/>
          </p:nvPr>
        </p:nvSpPr>
        <p:spPr/>
        <p:txBody>
          <a:bodyPr/>
          <a:lstStyle/>
          <a:p>
            <a:r>
              <a:rPr lang="fr-FR"/>
              <a:t>EFPW 2024 PWI WEST part  | N. Fedorczak </a:t>
            </a:r>
          </a:p>
        </p:txBody>
      </p:sp>
      <p:sp>
        <p:nvSpPr>
          <p:cNvPr id="8" name="Espace réservé du numéro de diapositive 7">
            <a:extLst>
              <a:ext uri="{FF2B5EF4-FFF2-40B4-BE49-F238E27FC236}">
                <a16:creationId xmlns:a16="http://schemas.microsoft.com/office/drawing/2014/main" id="{8424BA42-8E50-0F5C-5ECA-A7448ECF5244}"/>
              </a:ext>
            </a:extLst>
          </p:cNvPr>
          <p:cNvSpPr>
            <a:spLocks noGrp="1"/>
          </p:cNvSpPr>
          <p:nvPr>
            <p:ph type="sldNum" sz="quarter" idx="12"/>
          </p:nvPr>
        </p:nvSpPr>
        <p:spPr/>
        <p:txBody>
          <a:bodyPr/>
          <a:lstStyle/>
          <a:p>
            <a:fld id="{0CBC77A0-1F4E-42FF-9FFC-F45C3A64AF90}" type="slidenum">
              <a:rPr lang="fr-FR" smtClean="0"/>
              <a:t>5</a:t>
            </a:fld>
            <a:endParaRPr lang="fr-FR"/>
          </a:p>
        </p:txBody>
      </p:sp>
      <p:sp>
        <p:nvSpPr>
          <p:cNvPr id="6" name="Titre 5">
            <a:extLst>
              <a:ext uri="{FF2B5EF4-FFF2-40B4-BE49-F238E27FC236}">
                <a16:creationId xmlns:a16="http://schemas.microsoft.com/office/drawing/2014/main" id="{91AE047D-F51A-E955-9889-3B1336B75E09}"/>
              </a:ext>
            </a:extLst>
          </p:cNvPr>
          <p:cNvSpPr>
            <a:spLocks noGrp="1"/>
          </p:cNvSpPr>
          <p:nvPr>
            <p:ph type="title"/>
          </p:nvPr>
        </p:nvSpPr>
        <p:spPr>
          <a:xfrm>
            <a:off x="114472" y="208433"/>
            <a:ext cx="12199446" cy="871827"/>
          </a:xfrm>
        </p:spPr>
        <p:txBody>
          <a:bodyPr>
            <a:noAutofit/>
          </a:bodyPr>
          <a:lstStyle/>
          <a:p>
            <a:r>
              <a:rPr lang="en-US" sz="2400" dirty="0"/>
              <a:t>WEST: Large variety of dusts found on the divertor </a:t>
            </a:r>
            <a:endParaRPr lang="fr-FR" sz="2400" dirty="0"/>
          </a:p>
        </p:txBody>
      </p:sp>
      <p:pic>
        <p:nvPicPr>
          <p:cNvPr id="9" name="Image 8"/>
          <p:cNvPicPr>
            <a:picLocks noChangeAspect="1"/>
          </p:cNvPicPr>
          <p:nvPr/>
        </p:nvPicPr>
        <p:blipFill>
          <a:blip r:embed="rId2"/>
          <a:stretch>
            <a:fillRect/>
          </a:stretch>
        </p:blipFill>
        <p:spPr>
          <a:xfrm>
            <a:off x="6965087" y="1506178"/>
            <a:ext cx="5226913" cy="2201139"/>
          </a:xfrm>
          <a:prstGeom prst="rect">
            <a:avLst/>
          </a:prstGeom>
        </p:spPr>
      </p:pic>
      <p:sp>
        <p:nvSpPr>
          <p:cNvPr id="21" name="Rectangle 20"/>
          <p:cNvSpPr/>
          <p:nvPr/>
        </p:nvSpPr>
        <p:spPr>
          <a:xfrm>
            <a:off x="6448544" y="1000452"/>
            <a:ext cx="4130233" cy="323165"/>
          </a:xfrm>
          <a:prstGeom prst="rect">
            <a:avLst/>
          </a:prstGeom>
          <a:solidFill>
            <a:schemeClr val="bg1">
              <a:lumMod val="85000"/>
            </a:schemeClr>
          </a:solidFill>
        </p:spPr>
        <p:txBody>
          <a:bodyPr wrap="none">
            <a:spAutoFit/>
          </a:bodyPr>
          <a:lstStyle/>
          <a:p>
            <a:r>
              <a:rPr lang="en-US" sz="1500" b="1" dirty="0"/>
              <a:t>Arnas et al. </a:t>
            </a:r>
            <a:r>
              <a:rPr lang="en-US" sz="1500" b="1" dirty="0" err="1"/>
              <a:t>Nuc</a:t>
            </a:r>
            <a:r>
              <a:rPr lang="en-US" sz="1500" b="1" dirty="0"/>
              <a:t>. Mater. &amp; Energy 36 (2023) </a:t>
            </a:r>
          </a:p>
        </p:txBody>
      </p:sp>
      <p:pic>
        <p:nvPicPr>
          <p:cNvPr id="3" name="Image 2"/>
          <p:cNvPicPr>
            <a:picLocks noChangeAspect="1"/>
          </p:cNvPicPr>
          <p:nvPr/>
        </p:nvPicPr>
        <p:blipFill>
          <a:blip r:embed="rId3"/>
          <a:stretch>
            <a:fillRect/>
          </a:stretch>
        </p:blipFill>
        <p:spPr>
          <a:xfrm>
            <a:off x="1895702" y="3798509"/>
            <a:ext cx="3338191" cy="2545140"/>
          </a:xfrm>
          <a:prstGeom prst="rect">
            <a:avLst/>
          </a:prstGeom>
        </p:spPr>
      </p:pic>
      <p:sp>
        <p:nvSpPr>
          <p:cNvPr id="11" name="Espace réservé du contenu 3"/>
          <p:cNvSpPr txBox="1">
            <a:spLocks/>
          </p:cNvSpPr>
          <p:nvPr/>
        </p:nvSpPr>
        <p:spPr>
          <a:xfrm>
            <a:off x="114472" y="835376"/>
            <a:ext cx="7418442" cy="3189884"/>
          </a:xfrm>
          <a:prstGeom prst="rect">
            <a:avLst/>
          </a:prstGeom>
        </p:spPr>
        <p:txBody>
          <a:bodyPr vert="horz" wrap="square" lIns="95792" tIns="47897" rIns="95792" bIns="47897" rtlCol="0">
            <a:spAutoFit/>
          </a:bodyPr>
          <a:lstStyle>
            <a:lvl1pPr marL="239481" indent="-239481" algn="l" defTabSz="957925" rtl="0" eaLnBrk="1" latinLnBrk="0" hangingPunct="1">
              <a:lnSpc>
                <a:spcPct val="100000"/>
              </a:lnSpc>
              <a:spcBef>
                <a:spcPts val="0"/>
              </a:spcBef>
              <a:buClr>
                <a:srgbClr val="548235"/>
              </a:buClr>
              <a:buSzPct val="80000"/>
              <a:buFont typeface="Wingdings 3" panose="05040102010807070707" pitchFamily="18" charset="2"/>
              <a:buChar char="u"/>
              <a:defRPr sz="1800" b="1" kern="1200">
                <a:solidFill>
                  <a:schemeClr val="bg2">
                    <a:lumMod val="50000"/>
                  </a:schemeClr>
                </a:solidFill>
                <a:latin typeface="Calibri" charset="0"/>
                <a:ea typeface="Calibri" charset="0"/>
                <a:cs typeface="Calibri" charset="0"/>
              </a:defRPr>
            </a:lvl1pPr>
            <a:lvl2pPr marL="718444" indent="-239481" algn="l" defTabSz="957925" rtl="0" eaLnBrk="1" latinLnBrk="0" hangingPunct="1">
              <a:lnSpc>
                <a:spcPct val="100000"/>
              </a:lnSpc>
              <a:spcBef>
                <a:spcPts val="0"/>
              </a:spcBef>
              <a:buClr>
                <a:srgbClr val="548235"/>
              </a:buClr>
              <a:buFont typeface="Calibri" panose="020F0502020204030204" pitchFamily="34" charset="0"/>
              <a:buChar char="-"/>
              <a:defRPr sz="1600" kern="1200">
                <a:solidFill>
                  <a:schemeClr val="bg2">
                    <a:lumMod val="50000"/>
                  </a:schemeClr>
                </a:solidFill>
                <a:latin typeface="Calibri" charset="0"/>
                <a:ea typeface="Calibri" charset="0"/>
                <a:cs typeface="Calibri" charset="0"/>
              </a:defRPr>
            </a:lvl2pPr>
            <a:lvl3pPr marL="1197407" indent="-239481" algn="l" defTabSz="957925" rtl="0" eaLnBrk="1" latinLnBrk="0" hangingPunct="1">
              <a:lnSpc>
                <a:spcPct val="100000"/>
              </a:lnSpc>
              <a:spcBef>
                <a:spcPts val="0"/>
              </a:spcBef>
              <a:buClr>
                <a:srgbClr val="548235"/>
              </a:buClr>
              <a:buFont typeface="Wingdings" panose="05000000000000000000" pitchFamily="2" charset="2"/>
              <a:buChar char="§"/>
              <a:defRPr sz="1400" kern="1200">
                <a:solidFill>
                  <a:schemeClr val="bg2">
                    <a:lumMod val="50000"/>
                  </a:schemeClr>
                </a:solidFill>
                <a:latin typeface="Calibri" charset="0"/>
                <a:ea typeface="Calibri" charset="0"/>
                <a:cs typeface="Calibri" charset="0"/>
              </a:defRPr>
            </a:lvl3pPr>
            <a:lvl4pPr marL="1676370" indent="-239481" algn="l" defTabSz="957925" rtl="0" eaLnBrk="1" latinLnBrk="0" hangingPunct="1">
              <a:lnSpc>
                <a:spcPct val="100000"/>
              </a:lnSpc>
              <a:spcBef>
                <a:spcPts val="0"/>
              </a:spcBef>
              <a:buClr>
                <a:srgbClr val="548235"/>
              </a:buClr>
              <a:buFont typeface="Calibri" panose="020F0502020204030204" pitchFamily="34" charset="0"/>
              <a:buChar char="-"/>
              <a:defRPr sz="1200" kern="1200">
                <a:solidFill>
                  <a:schemeClr val="bg2">
                    <a:lumMod val="50000"/>
                  </a:schemeClr>
                </a:solidFill>
                <a:latin typeface="Calibri" charset="0"/>
                <a:ea typeface="Calibri" charset="0"/>
                <a:cs typeface="Calibri" charset="0"/>
              </a:defRPr>
            </a:lvl4pPr>
            <a:lvl5pPr marL="2155332" indent="-239481" algn="l" defTabSz="957925" rtl="0" eaLnBrk="1" latinLnBrk="0" hangingPunct="1">
              <a:lnSpc>
                <a:spcPct val="100000"/>
              </a:lnSpc>
              <a:spcBef>
                <a:spcPts val="0"/>
              </a:spcBef>
              <a:buClr>
                <a:srgbClr val="548235"/>
              </a:buClr>
              <a:buFont typeface="Wingdings" panose="05000000000000000000" pitchFamily="2" charset="2"/>
              <a:buChar char="§"/>
              <a:defRPr sz="1200" kern="1200">
                <a:solidFill>
                  <a:schemeClr val="bg2">
                    <a:lumMod val="50000"/>
                  </a:schemeClr>
                </a:solidFill>
                <a:latin typeface="Calibri" charset="0"/>
                <a:ea typeface="Calibri" charset="0"/>
                <a:cs typeface="Calibri" charset="0"/>
              </a:defRPr>
            </a:lvl5pPr>
            <a:lvl6pPr marL="2634295" indent="-239481" algn="l" defTabSz="957925"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6pPr>
            <a:lvl7pPr marL="3113258" indent="-239481" algn="l" defTabSz="957925"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7pPr>
            <a:lvl8pPr marL="3592220" indent="-239481" algn="l" defTabSz="957925"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8pPr>
            <a:lvl9pPr marL="4071183" indent="-239481" algn="l" defTabSz="957925"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9pPr>
          </a:lstStyle>
          <a:p>
            <a:pPr>
              <a:lnSpc>
                <a:spcPct val="150000"/>
              </a:lnSpc>
              <a:buClr>
                <a:schemeClr val="tx2"/>
              </a:buClr>
            </a:pPr>
            <a:r>
              <a:rPr lang="en-US" sz="2000" dirty="0">
                <a:solidFill>
                  <a:schemeClr val="tx1"/>
                </a:solidFill>
                <a:latin typeface="+mn-lt"/>
              </a:rPr>
              <a:t>Insitu collection of dusts on divertor surface</a:t>
            </a:r>
          </a:p>
          <a:p>
            <a:pPr>
              <a:lnSpc>
                <a:spcPct val="150000"/>
              </a:lnSpc>
              <a:buClr>
                <a:schemeClr val="tx2"/>
              </a:buClr>
            </a:pPr>
            <a:r>
              <a:rPr lang="en-US" sz="2000" dirty="0">
                <a:solidFill>
                  <a:schemeClr val="tx1"/>
                </a:solidFill>
                <a:latin typeface="+mn-lt"/>
              </a:rPr>
              <a:t>Wide spectrum of dust size &amp; composition</a:t>
            </a:r>
          </a:p>
          <a:p>
            <a:pPr>
              <a:lnSpc>
                <a:spcPct val="150000"/>
              </a:lnSpc>
              <a:buClr>
                <a:schemeClr val="tx2"/>
              </a:buClr>
            </a:pPr>
            <a:r>
              <a:rPr lang="en-US" sz="2000" b="1" dirty="0">
                <a:solidFill>
                  <a:schemeClr val="tx1"/>
                </a:solidFill>
                <a:latin typeface="+mn-lt"/>
              </a:rPr>
              <a:t>Micrometer tungsten droplets, boron spheres, </a:t>
            </a:r>
            <a:r>
              <a:rPr lang="en-US" sz="2000" b="1" dirty="0" err="1">
                <a:solidFill>
                  <a:schemeClr val="tx1"/>
                </a:solidFill>
                <a:latin typeface="+mn-lt"/>
              </a:rPr>
              <a:t>etc</a:t>
            </a:r>
            <a:endParaRPr lang="en-US" sz="2000" dirty="0">
              <a:solidFill>
                <a:schemeClr val="tx1"/>
              </a:solidFill>
              <a:latin typeface="+mn-lt"/>
            </a:endParaRPr>
          </a:p>
          <a:p>
            <a:pPr>
              <a:lnSpc>
                <a:spcPct val="150000"/>
              </a:lnSpc>
              <a:buClr>
                <a:schemeClr val="tx2"/>
              </a:buClr>
            </a:pPr>
            <a:r>
              <a:rPr lang="en-US" sz="2000" b="1" u="sng" dirty="0">
                <a:solidFill>
                  <a:schemeClr val="tx1"/>
                </a:solidFill>
                <a:latin typeface="+mn-lt"/>
              </a:rPr>
              <a:t>Nanometer tungsten dusts</a:t>
            </a:r>
          </a:p>
          <a:p>
            <a:pPr lvl="1">
              <a:lnSpc>
                <a:spcPct val="150000"/>
              </a:lnSpc>
              <a:buClr>
                <a:schemeClr val="tx2"/>
              </a:buClr>
            </a:pPr>
            <a:r>
              <a:rPr lang="en-US" sz="1800" b="1" dirty="0">
                <a:solidFill>
                  <a:schemeClr val="tx1"/>
                </a:solidFill>
                <a:latin typeface="+mn-lt"/>
              </a:rPr>
              <a:t>Most numerous particles so far, everywhere</a:t>
            </a:r>
          </a:p>
          <a:p>
            <a:pPr lvl="1">
              <a:lnSpc>
                <a:spcPct val="150000"/>
              </a:lnSpc>
              <a:buClr>
                <a:schemeClr val="tx2"/>
              </a:buClr>
            </a:pPr>
            <a:r>
              <a:rPr lang="en-US" sz="1800" b="1" dirty="0">
                <a:solidFill>
                  <a:schemeClr val="tx1"/>
                </a:solidFill>
                <a:latin typeface="+mn-lt"/>
              </a:rPr>
              <a:t>nucleation process under investigation   </a:t>
            </a:r>
            <a:endParaRPr lang="en-US" sz="1800" b="1" u="sng" dirty="0">
              <a:solidFill>
                <a:schemeClr val="tx1"/>
              </a:solidFill>
              <a:latin typeface="+mn-lt"/>
            </a:endParaRPr>
          </a:p>
          <a:p>
            <a:pPr lvl="1">
              <a:lnSpc>
                <a:spcPct val="150000"/>
              </a:lnSpc>
              <a:buClr>
                <a:schemeClr val="tx2"/>
              </a:buClr>
            </a:pPr>
            <a:endParaRPr lang="en-US" sz="1800" dirty="0">
              <a:solidFill>
                <a:schemeClr val="tx1"/>
              </a:solidFill>
              <a:latin typeface="+mn-lt"/>
            </a:endParaRPr>
          </a:p>
        </p:txBody>
      </p:sp>
      <p:pic>
        <p:nvPicPr>
          <p:cNvPr id="4" name="Image 3"/>
          <p:cNvPicPr>
            <a:picLocks noChangeAspect="1"/>
          </p:cNvPicPr>
          <p:nvPr/>
        </p:nvPicPr>
        <p:blipFill>
          <a:blip r:embed="rId4"/>
          <a:stretch>
            <a:fillRect/>
          </a:stretch>
        </p:blipFill>
        <p:spPr>
          <a:xfrm>
            <a:off x="6263245" y="3950675"/>
            <a:ext cx="5968607" cy="2392976"/>
          </a:xfrm>
          <a:prstGeom prst="rect">
            <a:avLst/>
          </a:prstGeom>
        </p:spPr>
      </p:pic>
      <p:sp>
        <p:nvSpPr>
          <p:cNvPr id="7" name="ZoneTexte 6"/>
          <p:cNvSpPr txBox="1"/>
          <p:nvPr/>
        </p:nvSpPr>
        <p:spPr>
          <a:xfrm>
            <a:off x="2170072" y="3581343"/>
            <a:ext cx="2382383" cy="338554"/>
          </a:xfrm>
          <a:prstGeom prst="rect">
            <a:avLst/>
          </a:prstGeom>
          <a:noFill/>
        </p:spPr>
        <p:txBody>
          <a:bodyPr wrap="none" rtlCol="0">
            <a:spAutoFit/>
          </a:bodyPr>
          <a:lstStyle/>
          <a:p>
            <a:r>
              <a:rPr lang="en-US" sz="1600" i="1" dirty="0"/>
              <a:t>Dust collection in WEST</a:t>
            </a:r>
          </a:p>
        </p:txBody>
      </p:sp>
      <p:sp>
        <p:nvSpPr>
          <p:cNvPr id="12" name="ZoneTexte 11"/>
          <p:cNvSpPr txBox="1"/>
          <p:nvPr/>
        </p:nvSpPr>
        <p:spPr>
          <a:xfrm>
            <a:off x="8306233" y="3720602"/>
            <a:ext cx="1713931" cy="338554"/>
          </a:xfrm>
          <a:prstGeom prst="rect">
            <a:avLst/>
          </a:prstGeom>
          <a:noFill/>
        </p:spPr>
        <p:txBody>
          <a:bodyPr wrap="none" rtlCol="0">
            <a:spAutoFit/>
          </a:bodyPr>
          <a:lstStyle/>
          <a:p>
            <a:r>
              <a:rPr lang="en-US" sz="1600" i="1" dirty="0"/>
              <a:t>nanometer dusts</a:t>
            </a:r>
          </a:p>
        </p:txBody>
      </p:sp>
      <p:sp>
        <p:nvSpPr>
          <p:cNvPr id="13" name="Textfeld 12"/>
          <p:cNvSpPr txBox="1"/>
          <p:nvPr/>
        </p:nvSpPr>
        <p:spPr>
          <a:xfrm>
            <a:off x="8879513" y="6266184"/>
            <a:ext cx="3020058"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Rudolf Neu – PWI </a:t>
            </a:r>
            <a:r>
              <a:rPr lang="de-DE" sz="1600" dirty="0" err="1" smtClean="0"/>
              <a:t>consequences</a:t>
            </a:r>
            <a:endParaRPr lang="de-DE" sz="1600" dirty="0" smtClean="0"/>
          </a:p>
        </p:txBody>
      </p:sp>
    </p:spTree>
    <p:extLst>
      <p:ext uri="{BB962C8B-B14F-4D97-AF65-F5344CB8AC3E}">
        <p14:creationId xmlns:p14="http://schemas.microsoft.com/office/powerpoint/2010/main" val="21321087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4" name="Datumsplatzhalter 1">
            <a:extLst>
              <a:ext uri="{FF2B5EF4-FFF2-40B4-BE49-F238E27FC236}">
                <a16:creationId xmlns:a16="http://schemas.microsoft.com/office/drawing/2014/main" id="{ADEE859F-6E61-46BE-A1E4-9168CE79C1A2}"/>
              </a:ext>
            </a:extLst>
          </p:cNvPr>
          <p:cNvSpPr>
            <a:spLocks noGrp="1"/>
          </p:cNvSpPr>
          <p:nvPr>
            <p:ph type="dt" sz="half" idx="10"/>
          </p:nvPr>
        </p:nvSpPr>
        <p:spPr>
          <a:xfrm>
            <a:off x="947738" y="6581140"/>
            <a:ext cx="10225087" cy="142874"/>
          </a:xfrm>
        </p:spPr>
        <p:txBody>
          <a:bodyPr/>
          <a:lstStyle/>
          <a:p>
            <a:r>
              <a:rPr lang="en-DE" altLang="en-DE"/>
              <a:t>EFPW 2024, Prague</a:t>
            </a:r>
            <a:endParaRPr lang="de-DE" altLang="en-DE" dirty="0"/>
          </a:p>
        </p:txBody>
      </p:sp>
      <p:sp>
        <p:nvSpPr>
          <p:cNvPr id="2215" name="Fußzeilenplatzhalter 2">
            <a:extLst>
              <a:ext uri="{FF2B5EF4-FFF2-40B4-BE49-F238E27FC236}">
                <a16:creationId xmlns:a16="http://schemas.microsoft.com/office/drawing/2014/main" id="{90C1FAD5-0F06-4FEB-A3B7-335DDDA4E63F}"/>
              </a:ext>
            </a:extLst>
          </p:cNvPr>
          <p:cNvSpPr>
            <a:spLocks noGrp="1"/>
          </p:cNvSpPr>
          <p:nvPr>
            <p:ph type="ftr" sz="quarter" idx="11"/>
          </p:nvPr>
        </p:nvSpPr>
        <p:spPr>
          <a:xfrm>
            <a:off x="695325" y="6581139"/>
            <a:ext cx="10477499" cy="142876"/>
          </a:xfrm>
        </p:spPr>
        <p:txBody>
          <a:bodyPr/>
          <a:lstStyle/>
          <a:p>
            <a:pPr algn="l"/>
            <a:r>
              <a:rPr lang="de-DE" altLang="en-DE" dirty="0"/>
              <a:t>R. Neu</a:t>
            </a:r>
          </a:p>
        </p:txBody>
      </p:sp>
      <p:sp>
        <p:nvSpPr>
          <p:cNvPr id="407554" name="Text Box 2">
            <a:extLst>
              <a:ext uri="{FF2B5EF4-FFF2-40B4-BE49-F238E27FC236}">
                <a16:creationId xmlns:a16="http://schemas.microsoft.com/office/drawing/2014/main" id="{4E2AF67D-08E0-43D3-B384-80D3D21BFE31}"/>
              </a:ext>
            </a:extLst>
          </p:cNvPr>
          <p:cNvSpPr txBox="1">
            <a:spLocks noChangeArrowheads="1"/>
          </p:cNvSpPr>
          <p:nvPr/>
        </p:nvSpPr>
        <p:spPr bwMode="auto">
          <a:xfrm>
            <a:off x="1762124" y="4805998"/>
            <a:ext cx="9693275" cy="1198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ts val="600"/>
              </a:spcBef>
              <a:buFontTx/>
              <a:buChar char="-"/>
            </a:pPr>
            <a:r>
              <a:rPr lang="en-US" altLang="en-DE" sz="2000" dirty="0"/>
              <a:t> breakdown on outer limiter (conditions faster compared to inner wall)</a:t>
            </a:r>
          </a:p>
          <a:p>
            <a:pPr>
              <a:spcBef>
                <a:spcPts val="600"/>
              </a:spcBef>
              <a:buFontTx/>
              <a:buChar char="-"/>
            </a:pPr>
            <a:r>
              <a:rPr lang="en-US" altLang="en-DE" sz="2000" dirty="0"/>
              <a:t> early X-point formation</a:t>
            </a:r>
          </a:p>
          <a:p>
            <a:pPr>
              <a:spcBef>
                <a:spcPts val="600"/>
              </a:spcBef>
            </a:pPr>
            <a:r>
              <a:rPr lang="en-US" altLang="en-DE" sz="2000" dirty="0"/>
              <a:t>- inner wall conditioned in flat top and ramp down phases</a:t>
            </a:r>
          </a:p>
        </p:txBody>
      </p:sp>
      <p:sp>
        <p:nvSpPr>
          <p:cNvPr id="407555" name="Text Box 3">
            <a:extLst>
              <a:ext uri="{FF2B5EF4-FFF2-40B4-BE49-F238E27FC236}">
                <a16:creationId xmlns:a16="http://schemas.microsoft.com/office/drawing/2014/main" id="{5169F5AF-A49A-4AD0-976C-43C282B4BEF8}"/>
              </a:ext>
            </a:extLst>
          </p:cNvPr>
          <p:cNvSpPr txBox="1">
            <a:spLocks noChangeArrowheads="1"/>
          </p:cNvSpPr>
          <p:nvPr/>
        </p:nvSpPr>
        <p:spPr bwMode="auto">
          <a:xfrm>
            <a:off x="636532" y="317506"/>
            <a:ext cx="5139548" cy="784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DE" sz="2500" b="1" dirty="0">
                <a:solidFill>
                  <a:schemeClr val="tx2"/>
                </a:solidFill>
              </a:rPr>
              <a:t>Start-up of un-</a:t>
            </a:r>
            <a:r>
              <a:rPr lang="en-US" altLang="en-DE" sz="2500" b="1" dirty="0" err="1">
                <a:solidFill>
                  <a:schemeClr val="tx2"/>
                </a:solidFill>
              </a:rPr>
              <a:t>boronized</a:t>
            </a:r>
            <a:r>
              <a:rPr lang="en-US" altLang="en-DE" sz="2500" b="1" dirty="0">
                <a:solidFill>
                  <a:schemeClr val="tx2"/>
                </a:solidFill>
              </a:rPr>
              <a:t> AUG</a:t>
            </a:r>
            <a:r>
              <a:rPr lang="en-US" altLang="en-DE" sz="2500" b="1" dirty="0"/>
              <a:t> </a:t>
            </a:r>
          </a:p>
          <a:p>
            <a:r>
              <a:rPr lang="en-GB" altLang="en-DE" sz="2000" dirty="0">
                <a:solidFill>
                  <a:srgbClr val="005555"/>
                </a:solidFill>
              </a:rPr>
              <a:t>Early transition to divertor (full bore plasma)</a:t>
            </a:r>
          </a:p>
        </p:txBody>
      </p:sp>
      <p:grpSp>
        <p:nvGrpSpPr>
          <p:cNvPr id="2" name="Gruppieren 1">
            <a:extLst>
              <a:ext uri="{FF2B5EF4-FFF2-40B4-BE49-F238E27FC236}">
                <a16:creationId xmlns:a16="http://schemas.microsoft.com/office/drawing/2014/main" id="{A95BD644-3466-4839-9252-A2620B8389E0}"/>
              </a:ext>
            </a:extLst>
          </p:cNvPr>
          <p:cNvGrpSpPr/>
          <p:nvPr/>
        </p:nvGrpSpPr>
        <p:grpSpPr>
          <a:xfrm>
            <a:off x="1762124" y="1233488"/>
            <a:ext cx="8581964" cy="3516828"/>
            <a:chOff x="1751549" y="1105853"/>
            <a:chExt cx="8581964" cy="3516828"/>
          </a:xfrm>
        </p:grpSpPr>
        <p:sp>
          <p:nvSpPr>
            <p:cNvPr id="407558" name="Line 6">
              <a:extLst>
                <a:ext uri="{FF2B5EF4-FFF2-40B4-BE49-F238E27FC236}">
                  <a16:creationId xmlns:a16="http://schemas.microsoft.com/office/drawing/2014/main" id="{E2BFE44C-D110-41F3-A8DC-0944153CE434}"/>
                </a:ext>
              </a:extLst>
            </p:cNvPr>
            <p:cNvSpPr>
              <a:spLocks noChangeAspect="1" noChangeShapeType="1"/>
            </p:cNvSpPr>
            <p:nvPr/>
          </p:nvSpPr>
          <p:spPr bwMode="auto">
            <a:xfrm>
              <a:off x="2216151" y="4312604"/>
              <a:ext cx="1960563"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59" name="Line 7">
              <a:extLst>
                <a:ext uri="{FF2B5EF4-FFF2-40B4-BE49-F238E27FC236}">
                  <a16:creationId xmlns:a16="http://schemas.microsoft.com/office/drawing/2014/main" id="{DF8D9E87-A930-4CE3-A7E3-21D02958CE01}"/>
                </a:ext>
              </a:extLst>
            </p:cNvPr>
            <p:cNvSpPr>
              <a:spLocks noChangeAspect="1" noChangeShapeType="1"/>
            </p:cNvSpPr>
            <p:nvPr/>
          </p:nvSpPr>
          <p:spPr bwMode="auto">
            <a:xfrm flipV="1">
              <a:off x="2333625" y="4247515"/>
              <a:ext cx="0" cy="650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60" name="Rectangle 8">
              <a:extLst>
                <a:ext uri="{FF2B5EF4-FFF2-40B4-BE49-F238E27FC236}">
                  <a16:creationId xmlns:a16="http://schemas.microsoft.com/office/drawing/2014/main" id="{71C7BE0C-FC64-4DC7-8111-729519BB04C8}"/>
                </a:ext>
              </a:extLst>
            </p:cNvPr>
            <p:cNvSpPr>
              <a:spLocks noChangeAspect="1" noChangeArrowheads="1"/>
            </p:cNvSpPr>
            <p:nvPr/>
          </p:nvSpPr>
          <p:spPr bwMode="auto">
            <a:xfrm>
              <a:off x="2243138" y="4330065"/>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1.0</a:t>
              </a:r>
              <a:endParaRPr lang="en-GB" altLang="en-DE" b="1"/>
            </a:p>
          </p:txBody>
        </p:sp>
        <p:sp>
          <p:nvSpPr>
            <p:cNvPr id="407561" name="Line 9">
              <a:extLst>
                <a:ext uri="{FF2B5EF4-FFF2-40B4-BE49-F238E27FC236}">
                  <a16:creationId xmlns:a16="http://schemas.microsoft.com/office/drawing/2014/main" id="{8C9D023C-2AA6-4AA0-829F-85B8C7218CE5}"/>
                </a:ext>
              </a:extLst>
            </p:cNvPr>
            <p:cNvSpPr>
              <a:spLocks noChangeAspect="1" noChangeShapeType="1"/>
            </p:cNvSpPr>
            <p:nvPr/>
          </p:nvSpPr>
          <p:spPr bwMode="auto">
            <a:xfrm flipV="1">
              <a:off x="2909888" y="4247515"/>
              <a:ext cx="0" cy="650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62" name="Rectangle 10">
              <a:extLst>
                <a:ext uri="{FF2B5EF4-FFF2-40B4-BE49-F238E27FC236}">
                  <a16:creationId xmlns:a16="http://schemas.microsoft.com/office/drawing/2014/main" id="{07B874FF-B111-4E70-8433-3C5CE3DA6E89}"/>
                </a:ext>
              </a:extLst>
            </p:cNvPr>
            <p:cNvSpPr>
              <a:spLocks noChangeAspect="1" noChangeArrowheads="1"/>
            </p:cNvSpPr>
            <p:nvPr/>
          </p:nvSpPr>
          <p:spPr bwMode="auto">
            <a:xfrm>
              <a:off x="2819400" y="4330065"/>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1.5</a:t>
              </a:r>
              <a:endParaRPr lang="en-GB" altLang="en-DE" b="1"/>
            </a:p>
          </p:txBody>
        </p:sp>
        <p:sp>
          <p:nvSpPr>
            <p:cNvPr id="407563" name="Line 11">
              <a:extLst>
                <a:ext uri="{FF2B5EF4-FFF2-40B4-BE49-F238E27FC236}">
                  <a16:creationId xmlns:a16="http://schemas.microsoft.com/office/drawing/2014/main" id="{9A9A224A-6FCE-48E0-A5BB-1F170DA6BA8A}"/>
                </a:ext>
              </a:extLst>
            </p:cNvPr>
            <p:cNvSpPr>
              <a:spLocks noChangeAspect="1" noChangeShapeType="1"/>
            </p:cNvSpPr>
            <p:nvPr/>
          </p:nvSpPr>
          <p:spPr bwMode="auto">
            <a:xfrm flipV="1">
              <a:off x="3486150" y="4247515"/>
              <a:ext cx="0" cy="650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64" name="Rectangle 12">
              <a:extLst>
                <a:ext uri="{FF2B5EF4-FFF2-40B4-BE49-F238E27FC236}">
                  <a16:creationId xmlns:a16="http://schemas.microsoft.com/office/drawing/2014/main" id="{8A78DD49-8A38-480B-B839-3CA3B2076B17}"/>
                </a:ext>
              </a:extLst>
            </p:cNvPr>
            <p:cNvSpPr>
              <a:spLocks noChangeAspect="1" noChangeArrowheads="1"/>
            </p:cNvSpPr>
            <p:nvPr/>
          </p:nvSpPr>
          <p:spPr bwMode="auto">
            <a:xfrm>
              <a:off x="3395663" y="4330065"/>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2.0</a:t>
              </a:r>
              <a:endParaRPr lang="en-GB" altLang="en-DE" b="1"/>
            </a:p>
          </p:txBody>
        </p:sp>
        <p:sp>
          <p:nvSpPr>
            <p:cNvPr id="407565" name="Line 13">
              <a:extLst>
                <a:ext uri="{FF2B5EF4-FFF2-40B4-BE49-F238E27FC236}">
                  <a16:creationId xmlns:a16="http://schemas.microsoft.com/office/drawing/2014/main" id="{59CC6AE3-AF3D-4CE5-BB77-02EFA039C904}"/>
                </a:ext>
              </a:extLst>
            </p:cNvPr>
            <p:cNvSpPr>
              <a:spLocks noChangeAspect="1" noChangeShapeType="1"/>
            </p:cNvSpPr>
            <p:nvPr/>
          </p:nvSpPr>
          <p:spPr bwMode="auto">
            <a:xfrm flipV="1">
              <a:off x="4062413" y="4247515"/>
              <a:ext cx="0" cy="650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66" name="Rectangle 14">
              <a:extLst>
                <a:ext uri="{FF2B5EF4-FFF2-40B4-BE49-F238E27FC236}">
                  <a16:creationId xmlns:a16="http://schemas.microsoft.com/office/drawing/2014/main" id="{3EC1A561-4365-442A-BD0D-7B04BC28C2DA}"/>
                </a:ext>
              </a:extLst>
            </p:cNvPr>
            <p:cNvSpPr>
              <a:spLocks noChangeAspect="1" noChangeArrowheads="1"/>
            </p:cNvSpPr>
            <p:nvPr/>
          </p:nvSpPr>
          <p:spPr bwMode="auto">
            <a:xfrm>
              <a:off x="3971925" y="4330065"/>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2.5</a:t>
              </a:r>
              <a:endParaRPr lang="en-GB" altLang="en-DE" b="1"/>
            </a:p>
          </p:txBody>
        </p:sp>
        <p:sp>
          <p:nvSpPr>
            <p:cNvPr id="407567" name="Line 15">
              <a:extLst>
                <a:ext uri="{FF2B5EF4-FFF2-40B4-BE49-F238E27FC236}">
                  <a16:creationId xmlns:a16="http://schemas.microsoft.com/office/drawing/2014/main" id="{8CF6CCC8-5AAA-4F37-A326-B723F7332AC2}"/>
                </a:ext>
              </a:extLst>
            </p:cNvPr>
            <p:cNvSpPr>
              <a:spLocks noChangeAspect="1" noChangeShapeType="1"/>
            </p:cNvSpPr>
            <p:nvPr/>
          </p:nvSpPr>
          <p:spPr bwMode="auto">
            <a:xfrm flipV="1">
              <a:off x="2216150"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68" name="Line 16">
              <a:extLst>
                <a:ext uri="{FF2B5EF4-FFF2-40B4-BE49-F238E27FC236}">
                  <a16:creationId xmlns:a16="http://schemas.microsoft.com/office/drawing/2014/main" id="{E45D827F-F74D-45D3-94DA-32ABDE03EBFC}"/>
                </a:ext>
              </a:extLst>
            </p:cNvPr>
            <p:cNvSpPr>
              <a:spLocks noChangeAspect="1" noChangeShapeType="1"/>
            </p:cNvSpPr>
            <p:nvPr/>
          </p:nvSpPr>
          <p:spPr bwMode="auto">
            <a:xfrm flipV="1">
              <a:off x="2447925"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69" name="Line 17">
              <a:extLst>
                <a:ext uri="{FF2B5EF4-FFF2-40B4-BE49-F238E27FC236}">
                  <a16:creationId xmlns:a16="http://schemas.microsoft.com/office/drawing/2014/main" id="{849E86D9-CCCE-4D05-886F-4035D09141DC}"/>
                </a:ext>
              </a:extLst>
            </p:cNvPr>
            <p:cNvSpPr>
              <a:spLocks noChangeAspect="1" noChangeShapeType="1"/>
            </p:cNvSpPr>
            <p:nvPr/>
          </p:nvSpPr>
          <p:spPr bwMode="auto">
            <a:xfrm flipV="1">
              <a:off x="2563814" y="4280853"/>
              <a:ext cx="1587"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70" name="Line 18">
              <a:extLst>
                <a:ext uri="{FF2B5EF4-FFF2-40B4-BE49-F238E27FC236}">
                  <a16:creationId xmlns:a16="http://schemas.microsoft.com/office/drawing/2014/main" id="{FBC3723D-1593-4CA8-9BEC-AF51EC2C76B3}"/>
                </a:ext>
              </a:extLst>
            </p:cNvPr>
            <p:cNvSpPr>
              <a:spLocks noChangeAspect="1" noChangeShapeType="1"/>
            </p:cNvSpPr>
            <p:nvPr/>
          </p:nvSpPr>
          <p:spPr bwMode="auto">
            <a:xfrm flipV="1">
              <a:off x="2678114" y="4280853"/>
              <a:ext cx="1587"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71" name="Line 19">
              <a:extLst>
                <a:ext uri="{FF2B5EF4-FFF2-40B4-BE49-F238E27FC236}">
                  <a16:creationId xmlns:a16="http://schemas.microsoft.com/office/drawing/2014/main" id="{5C668379-A98F-4B06-9075-B294DD3A43FE}"/>
                </a:ext>
              </a:extLst>
            </p:cNvPr>
            <p:cNvSpPr>
              <a:spLocks noChangeAspect="1" noChangeShapeType="1"/>
            </p:cNvSpPr>
            <p:nvPr/>
          </p:nvSpPr>
          <p:spPr bwMode="auto">
            <a:xfrm flipV="1">
              <a:off x="2792414" y="4280853"/>
              <a:ext cx="1587"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72" name="Line 20">
              <a:extLst>
                <a:ext uri="{FF2B5EF4-FFF2-40B4-BE49-F238E27FC236}">
                  <a16:creationId xmlns:a16="http://schemas.microsoft.com/office/drawing/2014/main" id="{E19C2881-D34E-4A56-A190-C6212E26A588}"/>
                </a:ext>
              </a:extLst>
            </p:cNvPr>
            <p:cNvSpPr>
              <a:spLocks noChangeAspect="1" noChangeShapeType="1"/>
            </p:cNvSpPr>
            <p:nvPr/>
          </p:nvSpPr>
          <p:spPr bwMode="auto">
            <a:xfrm flipV="1">
              <a:off x="3024189" y="4280853"/>
              <a:ext cx="1587"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73" name="Line 21">
              <a:extLst>
                <a:ext uri="{FF2B5EF4-FFF2-40B4-BE49-F238E27FC236}">
                  <a16:creationId xmlns:a16="http://schemas.microsoft.com/office/drawing/2014/main" id="{36C39433-08F6-4E2A-9350-BBEA45C49312}"/>
                </a:ext>
              </a:extLst>
            </p:cNvPr>
            <p:cNvSpPr>
              <a:spLocks noChangeAspect="1" noChangeShapeType="1"/>
            </p:cNvSpPr>
            <p:nvPr/>
          </p:nvSpPr>
          <p:spPr bwMode="auto">
            <a:xfrm flipV="1">
              <a:off x="3140075"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74" name="Line 22">
              <a:extLst>
                <a:ext uri="{FF2B5EF4-FFF2-40B4-BE49-F238E27FC236}">
                  <a16:creationId xmlns:a16="http://schemas.microsoft.com/office/drawing/2014/main" id="{3600714C-FEA5-47D9-A7FD-F76A546163A0}"/>
                </a:ext>
              </a:extLst>
            </p:cNvPr>
            <p:cNvSpPr>
              <a:spLocks noChangeAspect="1" noChangeShapeType="1"/>
            </p:cNvSpPr>
            <p:nvPr/>
          </p:nvSpPr>
          <p:spPr bwMode="auto">
            <a:xfrm flipV="1">
              <a:off x="3254375"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75" name="Line 23">
              <a:extLst>
                <a:ext uri="{FF2B5EF4-FFF2-40B4-BE49-F238E27FC236}">
                  <a16:creationId xmlns:a16="http://schemas.microsoft.com/office/drawing/2014/main" id="{9208ED00-EA6E-4AFD-8B73-0EF16DBC6D6F}"/>
                </a:ext>
              </a:extLst>
            </p:cNvPr>
            <p:cNvSpPr>
              <a:spLocks noChangeAspect="1" noChangeShapeType="1"/>
            </p:cNvSpPr>
            <p:nvPr/>
          </p:nvSpPr>
          <p:spPr bwMode="auto">
            <a:xfrm flipV="1">
              <a:off x="3368675"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76" name="Line 24">
              <a:extLst>
                <a:ext uri="{FF2B5EF4-FFF2-40B4-BE49-F238E27FC236}">
                  <a16:creationId xmlns:a16="http://schemas.microsoft.com/office/drawing/2014/main" id="{51A6221A-E932-4448-A4C1-5D126E57524B}"/>
                </a:ext>
              </a:extLst>
            </p:cNvPr>
            <p:cNvSpPr>
              <a:spLocks noChangeAspect="1" noChangeShapeType="1"/>
            </p:cNvSpPr>
            <p:nvPr/>
          </p:nvSpPr>
          <p:spPr bwMode="auto">
            <a:xfrm flipV="1">
              <a:off x="3600450"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77" name="Line 25">
              <a:extLst>
                <a:ext uri="{FF2B5EF4-FFF2-40B4-BE49-F238E27FC236}">
                  <a16:creationId xmlns:a16="http://schemas.microsoft.com/office/drawing/2014/main" id="{EDE519E3-ABAF-4CC9-9B3F-74EA32BD8AF2}"/>
                </a:ext>
              </a:extLst>
            </p:cNvPr>
            <p:cNvSpPr>
              <a:spLocks noChangeAspect="1" noChangeShapeType="1"/>
            </p:cNvSpPr>
            <p:nvPr/>
          </p:nvSpPr>
          <p:spPr bwMode="auto">
            <a:xfrm flipV="1">
              <a:off x="3716339" y="4280853"/>
              <a:ext cx="1587"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78" name="Line 26">
              <a:extLst>
                <a:ext uri="{FF2B5EF4-FFF2-40B4-BE49-F238E27FC236}">
                  <a16:creationId xmlns:a16="http://schemas.microsoft.com/office/drawing/2014/main" id="{AEEE67AE-82C4-4418-9559-410243530C82}"/>
                </a:ext>
              </a:extLst>
            </p:cNvPr>
            <p:cNvSpPr>
              <a:spLocks noChangeAspect="1" noChangeShapeType="1"/>
            </p:cNvSpPr>
            <p:nvPr/>
          </p:nvSpPr>
          <p:spPr bwMode="auto">
            <a:xfrm flipV="1">
              <a:off x="3830639" y="4280853"/>
              <a:ext cx="1587"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79" name="Line 27">
              <a:extLst>
                <a:ext uri="{FF2B5EF4-FFF2-40B4-BE49-F238E27FC236}">
                  <a16:creationId xmlns:a16="http://schemas.microsoft.com/office/drawing/2014/main" id="{468E7E1A-E393-4CEA-BC55-8B40EFC19160}"/>
                </a:ext>
              </a:extLst>
            </p:cNvPr>
            <p:cNvSpPr>
              <a:spLocks noChangeAspect="1" noChangeShapeType="1"/>
            </p:cNvSpPr>
            <p:nvPr/>
          </p:nvSpPr>
          <p:spPr bwMode="auto">
            <a:xfrm flipV="1">
              <a:off x="3944939" y="4280853"/>
              <a:ext cx="1587"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80" name="Line 28">
              <a:extLst>
                <a:ext uri="{FF2B5EF4-FFF2-40B4-BE49-F238E27FC236}">
                  <a16:creationId xmlns:a16="http://schemas.microsoft.com/office/drawing/2014/main" id="{B1C5FB02-8E18-4566-B4BD-A65A4C6D28D9}"/>
                </a:ext>
              </a:extLst>
            </p:cNvPr>
            <p:cNvSpPr>
              <a:spLocks noChangeAspect="1" noChangeShapeType="1"/>
            </p:cNvSpPr>
            <p:nvPr/>
          </p:nvSpPr>
          <p:spPr bwMode="auto">
            <a:xfrm flipV="1">
              <a:off x="4176714" y="4280853"/>
              <a:ext cx="1587"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81" name="Rectangle 29">
              <a:extLst>
                <a:ext uri="{FF2B5EF4-FFF2-40B4-BE49-F238E27FC236}">
                  <a16:creationId xmlns:a16="http://schemas.microsoft.com/office/drawing/2014/main" id="{441EDB5E-CF34-4151-AB55-64B3DE8F1B85}"/>
                </a:ext>
              </a:extLst>
            </p:cNvPr>
            <p:cNvSpPr>
              <a:spLocks noChangeAspect="1" noChangeArrowheads="1"/>
            </p:cNvSpPr>
            <p:nvPr/>
          </p:nvSpPr>
          <p:spPr bwMode="auto">
            <a:xfrm>
              <a:off x="3065464" y="4438015"/>
              <a:ext cx="34945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R(m)</a:t>
              </a:r>
              <a:endParaRPr lang="en-GB" altLang="en-DE" b="1"/>
            </a:p>
          </p:txBody>
        </p:sp>
        <p:sp>
          <p:nvSpPr>
            <p:cNvPr id="407582" name="Line 30">
              <a:extLst>
                <a:ext uri="{FF2B5EF4-FFF2-40B4-BE49-F238E27FC236}">
                  <a16:creationId xmlns:a16="http://schemas.microsoft.com/office/drawing/2014/main" id="{C063741F-A8C4-4893-B75F-CF8EEDBDAD68}"/>
                </a:ext>
              </a:extLst>
            </p:cNvPr>
            <p:cNvSpPr>
              <a:spLocks noChangeAspect="1" noChangeShapeType="1"/>
            </p:cNvSpPr>
            <p:nvPr/>
          </p:nvSpPr>
          <p:spPr bwMode="auto">
            <a:xfrm>
              <a:off x="2216151" y="1105854"/>
              <a:ext cx="1960563"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83" name="Line 31">
              <a:extLst>
                <a:ext uri="{FF2B5EF4-FFF2-40B4-BE49-F238E27FC236}">
                  <a16:creationId xmlns:a16="http://schemas.microsoft.com/office/drawing/2014/main" id="{FC86FF97-D005-478C-98AE-2062E594AA06}"/>
                </a:ext>
              </a:extLst>
            </p:cNvPr>
            <p:cNvSpPr>
              <a:spLocks noChangeAspect="1" noChangeShapeType="1"/>
            </p:cNvSpPr>
            <p:nvPr/>
          </p:nvSpPr>
          <p:spPr bwMode="auto">
            <a:xfrm>
              <a:off x="2333625" y="1105854"/>
              <a:ext cx="0" cy="650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84" name="Line 32">
              <a:extLst>
                <a:ext uri="{FF2B5EF4-FFF2-40B4-BE49-F238E27FC236}">
                  <a16:creationId xmlns:a16="http://schemas.microsoft.com/office/drawing/2014/main" id="{B90D0FF6-F8A9-4439-9231-1D507B407BFF}"/>
                </a:ext>
              </a:extLst>
            </p:cNvPr>
            <p:cNvSpPr>
              <a:spLocks noChangeAspect="1" noChangeShapeType="1"/>
            </p:cNvSpPr>
            <p:nvPr/>
          </p:nvSpPr>
          <p:spPr bwMode="auto">
            <a:xfrm>
              <a:off x="2909888" y="1105854"/>
              <a:ext cx="0" cy="650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85" name="Line 33">
              <a:extLst>
                <a:ext uri="{FF2B5EF4-FFF2-40B4-BE49-F238E27FC236}">
                  <a16:creationId xmlns:a16="http://schemas.microsoft.com/office/drawing/2014/main" id="{A107FB62-D702-44B5-80D5-741EEBCDA28C}"/>
                </a:ext>
              </a:extLst>
            </p:cNvPr>
            <p:cNvSpPr>
              <a:spLocks noChangeAspect="1" noChangeShapeType="1"/>
            </p:cNvSpPr>
            <p:nvPr/>
          </p:nvSpPr>
          <p:spPr bwMode="auto">
            <a:xfrm>
              <a:off x="3486150" y="1105854"/>
              <a:ext cx="0" cy="650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86" name="Line 34">
              <a:extLst>
                <a:ext uri="{FF2B5EF4-FFF2-40B4-BE49-F238E27FC236}">
                  <a16:creationId xmlns:a16="http://schemas.microsoft.com/office/drawing/2014/main" id="{18372F89-BCBB-4B72-A029-8B6C6FB270A6}"/>
                </a:ext>
              </a:extLst>
            </p:cNvPr>
            <p:cNvSpPr>
              <a:spLocks noChangeAspect="1" noChangeShapeType="1"/>
            </p:cNvSpPr>
            <p:nvPr/>
          </p:nvSpPr>
          <p:spPr bwMode="auto">
            <a:xfrm>
              <a:off x="4062413" y="1105854"/>
              <a:ext cx="0" cy="650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87" name="Line 35">
              <a:extLst>
                <a:ext uri="{FF2B5EF4-FFF2-40B4-BE49-F238E27FC236}">
                  <a16:creationId xmlns:a16="http://schemas.microsoft.com/office/drawing/2014/main" id="{A9BEBC5B-2AE0-448E-92E2-C50FB9620455}"/>
                </a:ext>
              </a:extLst>
            </p:cNvPr>
            <p:cNvSpPr>
              <a:spLocks noChangeAspect="1" noChangeShapeType="1"/>
            </p:cNvSpPr>
            <p:nvPr/>
          </p:nvSpPr>
          <p:spPr bwMode="auto">
            <a:xfrm>
              <a:off x="2216150"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88" name="Line 36">
              <a:extLst>
                <a:ext uri="{FF2B5EF4-FFF2-40B4-BE49-F238E27FC236}">
                  <a16:creationId xmlns:a16="http://schemas.microsoft.com/office/drawing/2014/main" id="{3F1B718D-C5EA-42DC-841B-69E30126B8E8}"/>
                </a:ext>
              </a:extLst>
            </p:cNvPr>
            <p:cNvSpPr>
              <a:spLocks noChangeAspect="1" noChangeShapeType="1"/>
            </p:cNvSpPr>
            <p:nvPr/>
          </p:nvSpPr>
          <p:spPr bwMode="auto">
            <a:xfrm>
              <a:off x="2447925"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89" name="Line 37">
              <a:extLst>
                <a:ext uri="{FF2B5EF4-FFF2-40B4-BE49-F238E27FC236}">
                  <a16:creationId xmlns:a16="http://schemas.microsoft.com/office/drawing/2014/main" id="{B9EF151F-A4A8-457E-A575-8E9BDD2D7D35}"/>
                </a:ext>
              </a:extLst>
            </p:cNvPr>
            <p:cNvSpPr>
              <a:spLocks noChangeAspect="1" noChangeShapeType="1"/>
            </p:cNvSpPr>
            <p:nvPr/>
          </p:nvSpPr>
          <p:spPr bwMode="auto">
            <a:xfrm>
              <a:off x="2563814"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90" name="Line 38">
              <a:extLst>
                <a:ext uri="{FF2B5EF4-FFF2-40B4-BE49-F238E27FC236}">
                  <a16:creationId xmlns:a16="http://schemas.microsoft.com/office/drawing/2014/main" id="{33A8DE49-A204-4FD4-AE3F-3E5ACFCABF40}"/>
                </a:ext>
              </a:extLst>
            </p:cNvPr>
            <p:cNvSpPr>
              <a:spLocks noChangeAspect="1" noChangeShapeType="1"/>
            </p:cNvSpPr>
            <p:nvPr/>
          </p:nvSpPr>
          <p:spPr bwMode="auto">
            <a:xfrm>
              <a:off x="2678114"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91" name="Line 39">
              <a:extLst>
                <a:ext uri="{FF2B5EF4-FFF2-40B4-BE49-F238E27FC236}">
                  <a16:creationId xmlns:a16="http://schemas.microsoft.com/office/drawing/2014/main" id="{9880E89E-08E9-4268-BA78-9334DB8B271A}"/>
                </a:ext>
              </a:extLst>
            </p:cNvPr>
            <p:cNvSpPr>
              <a:spLocks noChangeAspect="1" noChangeShapeType="1"/>
            </p:cNvSpPr>
            <p:nvPr/>
          </p:nvSpPr>
          <p:spPr bwMode="auto">
            <a:xfrm>
              <a:off x="2792414"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92" name="Line 40">
              <a:extLst>
                <a:ext uri="{FF2B5EF4-FFF2-40B4-BE49-F238E27FC236}">
                  <a16:creationId xmlns:a16="http://schemas.microsoft.com/office/drawing/2014/main" id="{51DEDD75-15C5-4E34-AFFB-08CD6D898345}"/>
                </a:ext>
              </a:extLst>
            </p:cNvPr>
            <p:cNvSpPr>
              <a:spLocks noChangeAspect="1" noChangeShapeType="1"/>
            </p:cNvSpPr>
            <p:nvPr/>
          </p:nvSpPr>
          <p:spPr bwMode="auto">
            <a:xfrm>
              <a:off x="3024189"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93" name="Line 41">
              <a:extLst>
                <a:ext uri="{FF2B5EF4-FFF2-40B4-BE49-F238E27FC236}">
                  <a16:creationId xmlns:a16="http://schemas.microsoft.com/office/drawing/2014/main" id="{CF3E4141-F31A-4FAC-93F8-458EB5F43683}"/>
                </a:ext>
              </a:extLst>
            </p:cNvPr>
            <p:cNvSpPr>
              <a:spLocks noChangeAspect="1" noChangeShapeType="1"/>
            </p:cNvSpPr>
            <p:nvPr/>
          </p:nvSpPr>
          <p:spPr bwMode="auto">
            <a:xfrm>
              <a:off x="3140075"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94" name="Line 42">
              <a:extLst>
                <a:ext uri="{FF2B5EF4-FFF2-40B4-BE49-F238E27FC236}">
                  <a16:creationId xmlns:a16="http://schemas.microsoft.com/office/drawing/2014/main" id="{0C8F6ECB-5205-4EA8-81E0-8CD657DE13BC}"/>
                </a:ext>
              </a:extLst>
            </p:cNvPr>
            <p:cNvSpPr>
              <a:spLocks noChangeAspect="1" noChangeShapeType="1"/>
            </p:cNvSpPr>
            <p:nvPr/>
          </p:nvSpPr>
          <p:spPr bwMode="auto">
            <a:xfrm>
              <a:off x="3254375"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95" name="Line 43">
              <a:extLst>
                <a:ext uri="{FF2B5EF4-FFF2-40B4-BE49-F238E27FC236}">
                  <a16:creationId xmlns:a16="http://schemas.microsoft.com/office/drawing/2014/main" id="{F20F141D-30A8-427C-AC5C-D8858C2C8779}"/>
                </a:ext>
              </a:extLst>
            </p:cNvPr>
            <p:cNvSpPr>
              <a:spLocks noChangeAspect="1" noChangeShapeType="1"/>
            </p:cNvSpPr>
            <p:nvPr/>
          </p:nvSpPr>
          <p:spPr bwMode="auto">
            <a:xfrm>
              <a:off x="3368675"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96" name="Line 44">
              <a:extLst>
                <a:ext uri="{FF2B5EF4-FFF2-40B4-BE49-F238E27FC236}">
                  <a16:creationId xmlns:a16="http://schemas.microsoft.com/office/drawing/2014/main" id="{C0A91714-BDDC-416E-B3C8-C736AA4FEBB0}"/>
                </a:ext>
              </a:extLst>
            </p:cNvPr>
            <p:cNvSpPr>
              <a:spLocks noChangeAspect="1" noChangeShapeType="1"/>
            </p:cNvSpPr>
            <p:nvPr/>
          </p:nvSpPr>
          <p:spPr bwMode="auto">
            <a:xfrm>
              <a:off x="3600450"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97" name="Line 45">
              <a:extLst>
                <a:ext uri="{FF2B5EF4-FFF2-40B4-BE49-F238E27FC236}">
                  <a16:creationId xmlns:a16="http://schemas.microsoft.com/office/drawing/2014/main" id="{6EC28E27-C579-4969-A1CC-A2C78DCFA86D}"/>
                </a:ext>
              </a:extLst>
            </p:cNvPr>
            <p:cNvSpPr>
              <a:spLocks noChangeAspect="1" noChangeShapeType="1"/>
            </p:cNvSpPr>
            <p:nvPr/>
          </p:nvSpPr>
          <p:spPr bwMode="auto">
            <a:xfrm>
              <a:off x="3716339"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98" name="Line 46">
              <a:extLst>
                <a:ext uri="{FF2B5EF4-FFF2-40B4-BE49-F238E27FC236}">
                  <a16:creationId xmlns:a16="http://schemas.microsoft.com/office/drawing/2014/main" id="{3F9ADBFB-1E73-409B-BA6E-3AD2ACF46C0D}"/>
                </a:ext>
              </a:extLst>
            </p:cNvPr>
            <p:cNvSpPr>
              <a:spLocks noChangeAspect="1" noChangeShapeType="1"/>
            </p:cNvSpPr>
            <p:nvPr/>
          </p:nvSpPr>
          <p:spPr bwMode="auto">
            <a:xfrm>
              <a:off x="3830639"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599" name="Line 47">
              <a:extLst>
                <a:ext uri="{FF2B5EF4-FFF2-40B4-BE49-F238E27FC236}">
                  <a16:creationId xmlns:a16="http://schemas.microsoft.com/office/drawing/2014/main" id="{094ED936-B73F-4AC5-89A5-D708A6699834}"/>
                </a:ext>
              </a:extLst>
            </p:cNvPr>
            <p:cNvSpPr>
              <a:spLocks noChangeAspect="1" noChangeShapeType="1"/>
            </p:cNvSpPr>
            <p:nvPr/>
          </p:nvSpPr>
          <p:spPr bwMode="auto">
            <a:xfrm>
              <a:off x="3944939"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00" name="Line 48">
              <a:extLst>
                <a:ext uri="{FF2B5EF4-FFF2-40B4-BE49-F238E27FC236}">
                  <a16:creationId xmlns:a16="http://schemas.microsoft.com/office/drawing/2014/main" id="{BF0C6839-CC6D-49ED-A97B-DC8078FAFEF5}"/>
                </a:ext>
              </a:extLst>
            </p:cNvPr>
            <p:cNvSpPr>
              <a:spLocks noChangeAspect="1" noChangeShapeType="1"/>
            </p:cNvSpPr>
            <p:nvPr/>
          </p:nvSpPr>
          <p:spPr bwMode="auto">
            <a:xfrm>
              <a:off x="4176714"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01" name="Line 49">
              <a:extLst>
                <a:ext uri="{FF2B5EF4-FFF2-40B4-BE49-F238E27FC236}">
                  <a16:creationId xmlns:a16="http://schemas.microsoft.com/office/drawing/2014/main" id="{68A35092-EB48-47F7-8682-F9E7C616DE90}"/>
                </a:ext>
              </a:extLst>
            </p:cNvPr>
            <p:cNvSpPr>
              <a:spLocks noChangeAspect="1" noChangeShapeType="1"/>
            </p:cNvSpPr>
            <p:nvPr/>
          </p:nvSpPr>
          <p:spPr bwMode="auto">
            <a:xfrm flipV="1">
              <a:off x="2216150" y="1105853"/>
              <a:ext cx="1588" cy="3206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02" name="Line 50">
              <a:extLst>
                <a:ext uri="{FF2B5EF4-FFF2-40B4-BE49-F238E27FC236}">
                  <a16:creationId xmlns:a16="http://schemas.microsoft.com/office/drawing/2014/main" id="{7E036773-0AE5-4E9E-9D3D-3ECA12E112A5}"/>
                </a:ext>
              </a:extLst>
            </p:cNvPr>
            <p:cNvSpPr>
              <a:spLocks noChangeAspect="1" noChangeShapeType="1"/>
            </p:cNvSpPr>
            <p:nvPr/>
          </p:nvSpPr>
          <p:spPr bwMode="auto">
            <a:xfrm>
              <a:off x="2216150" y="3853815"/>
              <a:ext cx="39688"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03" name="Rectangle 51">
              <a:extLst>
                <a:ext uri="{FF2B5EF4-FFF2-40B4-BE49-F238E27FC236}">
                  <a16:creationId xmlns:a16="http://schemas.microsoft.com/office/drawing/2014/main" id="{37B7A294-D671-4D04-9380-49A496D5F727}"/>
                </a:ext>
              </a:extLst>
            </p:cNvPr>
            <p:cNvSpPr>
              <a:spLocks noChangeAspect="1" noChangeArrowheads="1"/>
            </p:cNvSpPr>
            <p:nvPr/>
          </p:nvSpPr>
          <p:spPr bwMode="auto">
            <a:xfrm>
              <a:off x="1933575" y="3779203"/>
              <a:ext cx="26449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1.0</a:t>
              </a:r>
              <a:endParaRPr lang="en-GB" altLang="en-DE" b="1"/>
            </a:p>
          </p:txBody>
        </p:sp>
        <p:sp>
          <p:nvSpPr>
            <p:cNvPr id="407604" name="Line 52">
              <a:extLst>
                <a:ext uri="{FF2B5EF4-FFF2-40B4-BE49-F238E27FC236}">
                  <a16:creationId xmlns:a16="http://schemas.microsoft.com/office/drawing/2014/main" id="{55E96686-9F77-4821-97E5-6C4E3F365213}"/>
                </a:ext>
              </a:extLst>
            </p:cNvPr>
            <p:cNvSpPr>
              <a:spLocks noChangeAspect="1" noChangeShapeType="1"/>
            </p:cNvSpPr>
            <p:nvPr/>
          </p:nvSpPr>
          <p:spPr bwMode="auto">
            <a:xfrm>
              <a:off x="2216150" y="3282315"/>
              <a:ext cx="39688"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05" name="Rectangle 53">
              <a:extLst>
                <a:ext uri="{FF2B5EF4-FFF2-40B4-BE49-F238E27FC236}">
                  <a16:creationId xmlns:a16="http://schemas.microsoft.com/office/drawing/2014/main" id="{12E621DF-8E0C-4313-A128-B8F9B1D503A5}"/>
                </a:ext>
              </a:extLst>
            </p:cNvPr>
            <p:cNvSpPr>
              <a:spLocks noChangeAspect="1" noChangeArrowheads="1"/>
            </p:cNvSpPr>
            <p:nvPr/>
          </p:nvSpPr>
          <p:spPr bwMode="auto">
            <a:xfrm>
              <a:off x="1933575" y="3207703"/>
              <a:ext cx="26449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0.5</a:t>
              </a:r>
              <a:endParaRPr lang="en-GB" altLang="en-DE" b="1"/>
            </a:p>
          </p:txBody>
        </p:sp>
        <p:sp>
          <p:nvSpPr>
            <p:cNvPr id="407606" name="Line 54">
              <a:extLst>
                <a:ext uri="{FF2B5EF4-FFF2-40B4-BE49-F238E27FC236}">
                  <a16:creationId xmlns:a16="http://schemas.microsoft.com/office/drawing/2014/main" id="{981A5419-61B5-4837-97D6-97E0E06CFF68}"/>
                </a:ext>
              </a:extLst>
            </p:cNvPr>
            <p:cNvSpPr>
              <a:spLocks noChangeAspect="1" noChangeShapeType="1"/>
            </p:cNvSpPr>
            <p:nvPr/>
          </p:nvSpPr>
          <p:spPr bwMode="auto">
            <a:xfrm>
              <a:off x="2216150" y="2710815"/>
              <a:ext cx="39688"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07" name="Rectangle 55">
              <a:extLst>
                <a:ext uri="{FF2B5EF4-FFF2-40B4-BE49-F238E27FC236}">
                  <a16:creationId xmlns:a16="http://schemas.microsoft.com/office/drawing/2014/main" id="{858B5896-02EF-4F8B-BB23-26B8DA582647}"/>
                </a:ext>
              </a:extLst>
            </p:cNvPr>
            <p:cNvSpPr>
              <a:spLocks noChangeAspect="1" noChangeArrowheads="1"/>
            </p:cNvSpPr>
            <p:nvPr/>
          </p:nvSpPr>
          <p:spPr bwMode="auto">
            <a:xfrm>
              <a:off x="1965325" y="2634615"/>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0.0</a:t>
              </a:r>
              <a:endParaRPr lang="en-GB" altLang="en-DE" b="1"/>
            </a:p>
          </p:txBody>
        </p:sp>
        <p:sp>
          <p:nvSpPr>
            <p:cNvPr id="407608" name="Line 56">
              <a:extLst>
                <a:ext uri="{FF2B5EF4-FFF2-40B4-BE49-F238E27FC236}">
                  <a16:creationId xmlns:a16="http://schemas.microsoft.com/office/drawing/2014/main" id="{C4338092-3CA8-40A8-8C7E-95218554CC74}"/>
                </a:ext>
              </a:extLst>
            </p:cNvPr>
            <p:cNvSpPr>
              <a:spLocks noChangeAspect="1" noChangeShapeType="1"/>
            </p:cNvSpPr>
            <p:nvPr/>
          </p:nvSpPr>
          <p:spPr bwMode="auto">
            <a:xfrm>
              <a:off x="2216150" y="2137729"/>
              <a:ext cx="39688"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09" name="Rectangle 57">
              <a:extLst>
                <a:ext uri="{FF2B5EF4-FFF2-40B4-BE49-F238E27FC236}">
                  <a16:creationId xmlns:a16="http://schemas.microsoft.com/office/drawing/2014/main" id="{7F7539A8-2731-49AE-BE4D-25D5E7E5CB06}"/>
                </a:ext>
              </a:extLst>
            </p:cNvPr>
            <p:cNvSpPr>
              <a:spLocks noChangeAspect="1" noChangeArrowheads="1"/>
            </p:cNvSpPr>
            <p:nvPr/>
          </p:nvSpPr>
          <p:spPr bwMode="auto">
            <a:xfrm>
              <a:off x="1965325" y="2061528"/>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0.5</a:t>
              </a:r>
              <a:endParaRPr lang="en-GB" altLang="en-DE" b="1"/>
            </a:p>
          </p:txBody>
        </p:sp>
        <p:sp>
          <p:nvSpPr>
            <p:cNvPr id="407610" name="Line 58">
              <a:extLst>
                <a:ext uri="{FF2B5EF4-FFF2-40B4-BE49-F238E27FC236}">
                  <a16:creationId xmlns:a16="http://schemas.microsoft.com/office/drawing/2014/main" id="{499FB9CE-A10D-408E-AB71-709BCA6AFA68}"/>
                </a:ext>
              </a:extLst>
            </p:cNvPr>
            <p:cNvSpPr>
              <a:spLocks noChangeAspect="1" noChangeShapeType="1"/>
            </p:cNvSpPr>
            <p:nvPr/>
          </p:nvSpPr>
          <p:spPr bwMode="auto">
            <a:xfrm>
              <a:off x="2216150" y="1564640"/>
              <a:ext cx="39688"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11" name="Rectangle 59">
              <a:extLst>
                <a:ext uri="{FF2B5EF4-FFF2-40B4-BE49-F238E27FC236}">
                  <a16:creationId xmlns:a16="http://schemas.microsoft.com/office/drawing/2014/main" id="{0F576502-C168-44BF-AC53-87470263D0AD}"/>
                </a:ext>
              </a:extLst>
            </p:cNvPr>
            <p:cNvSpPr>
              <a:spLocks noChangeAspect="1" noChangeArrowheads="1"/>
            </p:cNvSpPr>
            <p:nvPr/>
          </p:nvSpPr>
          <p:spPr bwMode="auto">
            <a:xfrm>
              <a:off x="1965325" y="1490028"/>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1.0</a:t>
              </a:r>
              <a:endParaRPr lang="en-GB" altLang="en-DE" b="1"/>
            </a:p>
          </p:txBody>
        </p:sp>
        <p:sp>
          <p:nvSpPr>
            <p:cNvPr id="407612" name="Line 60">
              <a:extLst>
                <a:ext uri="{FF2B5EF4-FFF2-40B4-BE49-F238E27FC236}">
                  <a16:creationId xmlns:a16="http://schemas.microsoft.com/office/drawing/2014/main" id="{C6BEFEA7-BA95-4854-B02C-1F7A74C96871}"/>
                </a:ext>
              </a:extLst>
            </p:cNvPr>
            <p:cNvSpPr>
              <a:spLocks noChangeAspect="1" noChangeShapeType="1"/>
            </p:cNvSpPr>
            <p:nvPr/>
          </p:nvSpPr>
          <p:spPr bwMode="auto">
            <a:xfrm>
              <a:off x="2216150" y="4312604"/>
              <a:ext cx="20638"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13" name="Line 61">
              <a:extLst>
                <a:ext uri="{FF2B5EF4-FFF2-40B4-BE49-F238E27FC236}">
                  <a16:creationId xmlns:a16="http://schemas.microsoft.com/office/drawing/2014/main" id="{9141443A-F9E5-40AC-B733-3394E76EFF17}"/>
                </a:ext>
              </a:extLst>
            </p:cNvPr>
            <p:cNvSpPr>
              <a:spLocks noChangeAspect="1" noChangeShapeType="1"/>
            </p:cNvSpPr>
            <p:nvPr/>
          </p:nvSpPr>
          <p:spPr bwMode="auto">
            <a:xfrm>
              <a:off x="2216150" y="4198304"/>
              <a:ext cx="20638"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14" name="Line 62">
              <a:extLst>
                <a:ext uri="{FF2B5EF4-FFF2-40B4-BE49-F238E27FC236}">
                  <a16:creationId xmlns:a16="http://schemas.microsoft.com/office/drawing/2014/main" id="{46CD445B-6468-4E22-85ED-5673FE7AA021}"/>
                </a:ext>
              </a:extLst>
            </p:cNvPr>
            <p:cNvSpPr>
              <a:spLocks noChangeAspect="1" noChangeShapeType="1"/>
            </p:cNvSpPr>
            <p:nvPr/>
          </p:nvSpPr>
          <p:spPr bwMode="auto">
            <a:xfrm>
              <a:off x="2216150" y="4084003"/>
              <a:ext cx="20638"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15" name="Line 63">
              <a:extLst>
                <a:ext uri="{FF2B5EF4-FFF2-40B4-BE49-F238E27FC236}">
                  <a16:creationId xmlns:a16="http://schemas.microsoft.com/office/drawing/2014/main" id="{BBE09663-764C-473C-A2B8-400A6230A53C}"/>
                </a:ext>
              </a:extLst>
            </p:cNvPr>
            <p:cNvSpPr>
              <a:spLocks noChangeAspect="1" noChangeShapeType="1"/>
            </p:cNvSpPr>
            <p:nvPr/>
          </p:nvSpPr>
          <p:spPr bwMode="auto">
            <a:xfrm>
              <a:off x="2216150" y="3968115"/>
              <a:ext cx="20638"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16" name="Line 64">
              <a:extLst>
                <a:ext uri="{FF2B5EF4-FFF2-40B4-BE49-F238E27FC236}">
                  <a16:creationId xmlns:a16="http://schemas.microsoft.com/office/drawing/2014/main" id="{A6C7365E-08BC-42D5-A0E5-19055DAA08A2}"/>
                </a:ext>
              </a:extLst>
            </p:cNvPr>
            <p:cNvSpPr>
              <a:spLocks noChangeAspect="1" noChangeShapeType="1"/>
            </p:cNvSpPr>
            <p:nvPr/>
          </p:nvSpPr>
          <p:spPr bwMode="auto">
            <a:xfrm>
              <a:off x="2216150" y="3739515"/>
              <a:ext cx="20638"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17" name="Line 65">
              <a:extLst>
                <a:ext uri="{FF2B5EF4-FFF2-40B4-BE49-F238E27FC236}">
                  <a16:creationId xmlns:a16="http://schemas.microsoft.com/office/drawing/2014/main" id="{DFB250BA-B8A4-492C-8C5B-F37F7E32B4D0}"/>
                </a:ext>
              </a:extLst>
            </p:cNvPr>
            <p:cNvSpPr>
              <a:spLocks noChangeAspect="1" noChangeShapeType="1"/>
            </p:cNvSpPr>
            <p:nvPr/>
          </p:nvSpPr>
          <p:spPr bwMode="auto">
            <a:xfrm>
              <a:off x="2216150" y="3625215"/>
              <a:ext cx="20638"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18" name="Line 66">
              <a:extLst>
                <a:ext uri="{FF2B5EF4-FFF2-40B4-BE49-F238E27FC236}">
                  <a16:creationId xmlns:a16="http://schemas.microsoft.com/office/drawing/2014/main" id="{43CEDD03-C404-4651-B6AD-656B970E292C}"/>
                </a:ext>
              </a:extLst>
            </p:cNvPr>
            <p:cNvSpPr>
              <a:spLocks noChangeAspect="1" noChangeShapeType="1"/>
            </p:cNvSpPr>
            <p:nvPr/>
          </p:nvSpPr>
          <p:spPr bwMode="auto">
            <a:xfrm>
              <a:off x="2216150" y="3510915"/>
              <a:ext cx="20638"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19" name="Line 67">
              <a:extLst>
                <a:ext uri="{FF2B5EF4-FFF2-40B4-BE49-F238E27FC236}">
                  <a16:creationId xmlns:a16="http://schemas.microsoft.com/office/drawing/2014/main" id="{B7AB248F-05A3-4212-BEA8-BC5344073151}"/>
                </a:ext>
              </a:extLst>
            </p:cNvPr>
            <p:cNvSpPr>
              <a:spLocks noChangeAspect="1" noChangeShapeType="1"/>
            </p:cNvSpPr>
            <p:nvPr/>
          </p:nvSpPr>
          <p:spPr bwMode="auto">
            <a:xfrm>
              <a:off x="2216150" y="3396615"/>
              <a:ext cx="20638"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20" name="Line 68">
              <a:extLst>
                <a:ext uri="{FF2B5EF4-FFF2-40B4-BE49-F238E27FC236}">
                  <a16:creationId xmlns:a16="http://schemas.microsoft.com/office/drawing/2014/main" id="{EFC102A8-ACAD-469A-BDFC-7B580BCC2ECE}"/>
                </a:ext>
              </a:extLst>
            </p:cNvPr>
            <p:cNvSpPr>
              <a:spLocks noChangeAspect="1" noChangeShapeType="1"/>
            </p:cNvSpPr>
            <p:nvPr/>
          </p:nvSpPr>
          <p:spPr bwMode="auto">
            <a:xfrm>
              <a:off x="2216150" y="3168015"/>
              <a:ext cx="20638"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21" name="Line 69">
              <a:extLst>
                <a:ext uri="{FF2B5EF4-FFF2-40B4-BE49-F238E27FC236}">
                  <a16:creationId xmlns:a16="http://schemas.microsoft.com/office/drawing/2014/main" id="{EC9A931B-5131-4E92-A0DA-097CDA5C8E53}"/>
                </a:ext>
              </a:extLst>
            </p:cNvPr>
            <p:cNvSpPr>
              <a:spLocks noChangeAspect="1" noChangeShapeType="1"/>
            </p:cNvSpPr>
            <p:nvPr/>
          </p:nvSpPr>
          <p:spPr bwMode="auto">
            <a:xfrm>
              <a:off x="2216150" y="3053715"/>
              <a:ext cx="20638"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22" name="Line 70">
              <a:extLst>
                <a:ext uri="{FF2B5EF4-FFF2-40B4-BE49-F238E27FC236}">
                  <a16:creationId xmlns:a16="http://schemas.microsoft.com/office/drawing/2014/main" id="{3F16D9FD-5147-480B-9239-C0B9FBE1BAA8}"/>
                </a:ext>
              </a:extLst>
            </p:cNvPr>
            <p:cNvSpPr>
              <a:spLocks noChangeAspect="1" noChangeShapeType="1"/>
            </p:cNvSpPr>
            <p:nvPr/>
          </p:nvSpPr>
          <p:spPr bwMode="auto">
            <a:xfrm>
              <a:off x="2216150" y="2937829"/>
              <a:ext cx="20638"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23" name="Line 71">
              <a:extLst>
                <a:ext uri="{FF2B5EF4-FFF2-40B4-BE49-F238E27FC236}">
                  <a16:creationId xmlns:a16="http://schemas.microsoft.com/office/drawing/2014/main" id="{23834889-BCA6-4C01-B3D6-74C68CD2C618}"/>
                </a:ext>
              </a:extLst>
            </p:cNvPr>
            <p:cNvSpPr>
              <a:spLocks noChangeAspect="1" noChangeShapeType="1"/>
            </p:cNvSpPr>
            <p:nvPr/>
          </p:nvSpPr>
          <p:spPr bwMode="auto">
            <a:xfrm>
              <a:off x="2216150" y="2823529"/>
              <a:ext cx="20638"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24" name="Line 72">
              <a:extLst>
                <a:ext uri="{FF2B5EF4-FFF2-40B4-BE49-F238E27FC236}">
                  <a16:creationId xmlns:a16="http://schemas.microsoft.com/office/drawing/2014/main" id="{E5746213-B750-4373-B416-F9BDC6F82C94}"/>
                </a:ext>
              </a:extLst>
            </p:cNvPr>
            <p:cNvSpPr>
              <a:spLocks noChangeAspect="1" noChangeShapeType="1"/>
            </p:cNvSpPr>
            <p:nvPr/>
          </p:nvSpPr>
          <p:spPr bwMode="auto">
            <a:xfrm>
              <a:off x="2216150" y="2594929"/>
              <a:ext cx="20638"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25" name="Line 73">
              <a:extLst>
                <a:ext uri="{FF2B5EF4-FFF2-40B4-BE49-F238E27FC236}">
                  <a16:creationId xmlns:a16="http://schemas.microsoft.com/office/drawing/2014/main" id="{4C825B6B-41EF-484B-9009-AABC56C332DE}"/>
                </a:ext>
              </a:extLst>
            </p:cNvPr>
            <p:cNvSpPr>
              <a:spLocks noChangeAspect="1" noChangeShapeType="1"/>
            </p:cNvSpPr>
            <p:nvPr/>
          </p:nvSpPr>
          <p:spPr bwMode="auto">
            <a:xfrm>
              <a:off x="2216150" y="2480629"/>
              <a:ext cx="20638"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26" name="Line 74">
              <a:extLst>
                <a:ext uri="{FF2B5EF4-FFF2-40B4-BE49-F238E27FC236}">
                  <a16:creationId xmlns:a16="http://schemas.microsoft.com/office/drawing/2014/main" id="{C25BC2A5-4C08-4CC4-8322-FD1B768CC584}"/>
                </a:ext>
              </a:extLst>
            </p:cNvPr>
            <p:cNvSpPr>
              <a:spLocks noChangeAspect="1" noChangeShapeType="1"/>
            </p:cNvSpPr>
            <p:nvPr/>
          </p:nvSpPr>
          <p:spPr bwMode="auto">
            <a:xfrm>
              <a:off x="2216150" y="2366329"/>
              <a:ext cx="20638"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27" name="Line 75">
              <a:extLst>
                <a:ext uri="{FF2B5EF4-FFF2-40B4-BE49-F238E27FC236}">
                  <a16:creationId xmlns:a16="http://schemas.microsoft.com/office/drawing/2014/main" id="{AE0EF6D8-9575-44C1-A93C-A79155CB070E}"/>
                </a:ext>
              </a:extLst>
            </p:cNvPr>
            <p:cNvSpPr>
              <a:spLocks noChangeAspect="1" noChangeShapeType="1"/>
            </p:cNvSpPr>
            <p:nvPr/>
          </p:nvSpPr>
          <p:spPr bwMode="auto">
            <a:xfrm>
              <a:off x="2216150" y="2250440"/>
              <a:ext cx="20638"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28" name="Line 76">
              <a:extLst>
                <a:ext uri="{FF2B5EF4-FFF2-40B4-BE49-F238E27FC236}">
                  <a16:creationId xmlns:a16="http://schemas.microsoft.com/office/drawing/2014/main" id="{BB7C2190-B1EF-4062-9444-60B095629A26}"/>
                </a:ext>
              </a:extLst>
            </p:cNvPr>
            <p:cNvSpPr>
              <a:spLocks noChangeAspect="1" noChangeShapeType="1"/>
            </p:cNvSpPr>
            <p:nvPr/>
          </p:nvSpPr>
          <p:spPr bwMode="auto">
            <a:xfrm>
              <a:off x="2216150" y="2023429"/>
              <a:ext cx="20638"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29" name="Line 77">
              <a:extLst>
                <a:ext uri="{FF2B5EF4-FFF2-40B4-BE49-F238E27FC236}">
                  <a16:creationId xmlns:a16="http://schemas.microsoft.com/office/drawing/2014/main" id="{5C475FFE-4C84-4B15-AA99-7FC87397C4AB}"/>
                </a:ext>
              </a:extLst>
            </p:cNvPr>
            <p:cNvSpPr>
              <a:spLocks noChangeAspect="1" noChangeShapeType="1"/>
            </p:cNvSpPr>
            <p:nvPr/>
          </p:nvSpPr>
          <p:spPr bwMode="auto">
            <a:xfrm>
              <a:off x="2216150" y="1907540"/>
              <a:ext cx="20638"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30" name="Line 78">
              <a:extLst>
                <a:ext uri="{FF2B5EF4-FFF2-40B4-BE49-F238E27FC236}">
                  <a16:creationId xmlns:a16="http://schemas.microsoft.com/office/drawing/2014/main" id="{2684ACF9-7332-4AC8-A607-8DEFAF991631}"/>
                </a:ext>
              </a:extLst>
            </p:cNvPr>
            <p:cNvSpPr>
              <a:spLocks noChangeAspect="1" noChangeShapeType="1"/>
            </p:cNvSpPr>
            <p:nvPr/>
          </p:nvSpPr>
          <p:spPr bwMode="auto">
            <a:xfrm>
              <a:off x="2216150" y="1793240"/>
              <a:ext cx="20638"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31" name="Line 79">
              <a:extLst>
                <a:ext uri="{FF2B5EF4-FFF2-40B4-BE49-F238E27FC236}">
                  <a16:creationId xmlns:a16="http://schemas.microsoft.com/office/drawing/2014/main" id="{6648044F-CE31-4643-8553-4B185CFDB622}"/>
                </a:ext>
              </a:extLst>
            </p:cNvPr>
            <p:cNvSpPr>
              <a:spLocks noChangeAspect="1" noChangeShapeType="1"/>
            </p:cNvSpPr>
            <p:nvPr/>
          </p:nvSpPr>
          <p:spPr bwMode="auto">
            <a:xfrm>
              <a:off x="2216150" y="1678940"/>
              <a:ext cx="20638"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32" name="Line 80">
              <a:extLst>
                <a:ext uri="{FF2B5EF4-FFF2-40B4-BE49-F238E27FC236}">
                  <a16:creationId xmlns:a16="http://schemas.microsoft.com/office/drawing/2014/main" id="{81E10BC6-D37A-4F76-A4E9-067E4BB2DC56}"/>
                </a:ext>
              </a:extLst>
            </p:cNvPr>
            <p:cNvSpPr>
              <a:spLocks noChangeAspect="1" noChangeShapeType="1"/>
            </p:cNvSpPr>
            <p:nvPr/>
          </p:nvSpPr>
          <p:spPr bwMode="auto">
            <a:xfrm>
              <a:off x="2216150" y="1450340"/>
              <a:ext cx="20638"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33" name="Line 81">
              <a:extLst>
                <a:ext uri="{FF2B5EF4-FFF2-40B4-BE49-F238E27FC236}">
                  <a16:creationId xmlns:a16="http://schemas.microsoft.com/office/drawing/2014/main" id="{6E80002F-DF23-4A23-80AE-23F9530D66CD}"/>
                </a:ext>
              </a:extLst>
            </p:cNvPr>
            <p:cNvSpPr>
              <a:spLocks noChangeAspect="1" noChangeShapeType="1"/>
            </p:cNvSpPr>
            <p:nvPr/>
          </p:nvSpPr>
          <p:spPr bwMode="auto">
            <a:xfrm>
              <a:off x="2216150" y="1336040"/>
              <a:ext cx="20638"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34" name="Line 82">
              <a:extLst>
                <a:ext uri="{FF2B5EF4-FFF2-40B4-BE49-F238E27FC236}">
                  <a16:creationId xmlns:a16="http://schemas.microsoft.com/office/drawing/2014/main" id="{CF33A566-4552-4049-AEB4-2464327BB15F}"/>
                </a:ext>
              </a:extLst>
            </p:cNvPr>
            <p:cNvSpPr>
              <a:spLocks noChangeAspect="1" noChangeShapeType="1"/>
            </p:cNvSpPr>
            <p:nvPr/>
          </p:nvSpPr>
          <p:spPr bwMode="auto">
            <a:xfrm>
              <a:off x="2216150" y="1221740"/>
              <a:ext cx="20638"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35" name="Line 83">
              <a:extLst>
                <a:ext uri="{FF2B5EF4-FFF2-40B4-BE49-F238E27FC236}">
                  <a16:creationId xmlns:a16="http://schemas.microsoft.com/office/drawing/2014/main" id="{2550118B-8451-44C4-9A55-9C262CDE4439}"/>
                </a:ext>
              </a:extLst>
            </p:cNvPr>
            <p:cNvSpPr>
              <a:spLocks noChangeAspect="1" noChangeShapeType="1"/>
            </p:cNvSpPr>
            <p:nvPr/>
          </p:nvSpPr>
          <p:spPr bwMode="auto">
            <a:xfrm>
              <a:off x="2216150" y="1105854"/>
              <a:ext cx="20638"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36" name="Rectangle 84">
              <a:extLst>
                <a:ext uri="{FF2B5EF4-FFF2-40B4-BE49-F238E27FC236}">
                  <a16:creationId xmlns:a16="http://schemas.microsoft.com/office/drawing/2014/main" id="{B398469B-4AE3-4C94-AD26-2E032B1AEEED}"/>
                </a:ext>
              </a:extLst>
            </p:cNvPr>
            <p:cNvSpPr>
              <a:spLocks noChangeAspect="1" noChangeArrowheads="1"/>
            </p:cNvSpPr>
            <p:nvPr/>
          </p:nvSpPr>
          <p:spPr bwMode="auto">
            <a:xfrm rot="16200000">
              <a:off x="1685986" y="2579589"/>
              <a:ext cx="3157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z(m)</a:t>
              </a:r>
              <a:endParaRPr lang="en-GB" altLang="en-DE" b="1"/>
            </a:p>
          </p:txBody>
        </p:sp>
        <p:sp>
          <p:nvSpPr>
            <p:cNvPr id="407637" name="Line 85">
              <a:extLst>
                <a:ext uri="{FF2B5EF4-FFF2-40B4-BE49-F238E27FC236}">
                  <a16:creationId xmlns:a16="http://schemas.microsoft.com/office/drawing/2014/main" id="{E9351D3C-5C5F-4F82-AFAB-7A53C8E91114}"/>
                </a:ext>
              </a:extLst>
            </p:cNvPr>
            <p:cNvSpPr>
              <a:spLocks noChangeAspect="1" noChangeShapeType="1"/>
            </p:cNvSpPr>
            <p:nvPr/>
          </p:nvSpPr>
          <p:spPr bwMode="auto">
            <a:xfrm flipV="1">
              <a:off x="4176714" y="1105853"/>
              <a:ext cx="1587" cy="3206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38" name="Line 86">
              <a:extLst>
                <a:ext uri="{FF2B5EF4-FFF2-40B4-BE49-F238E27FC236}">
                  <a16:creationId xmlns:a16="http://schemas.microsoft.com/office/drawing/2014/main" id="{F1A937FA-ABAF-4101-9E19-56FC44732AD1}"/>
                </a:ext>
              </a:extLst>
            </p:cNvPr>
            <p:cNvSpPr>
              <a:spLocks noChangeAspect="1" noChangeShapeType="1"/>
            </p:cNvSpPr>
            <p:nvPr/>
          </p:nvSpPr>
          <p:spPr bwMode="auto">
            <a:xfrm flipH="1">
              <a:off x="4137025" y="3853815"/>
              <a:ext cx="39688"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39" name="Line 87">
              <a:extLst>
                <a:ext uri="{FF2B5EF4-FFF2-40B4-BE49-F238E27FC236}">
                  <a16:creationId xmlns:a16="http://schemas.microsoft.com/office/drawing/2014/main" id="{260B54C7-2EB4-4593-89E8-4BDA8340717C}"/>
                </a:ext>
              </a:extLst>
            </p:cNvPr>
            <p:cNvSpPr>
              <a:spLocks noChangeAspect="1" noChangeShapeType="1"/>
            </p:cNvSpPr>
            <p:nvPr/>
          </p:nvSpPr>
          <p:spPr bwMode="auto">
            <a:xfrm flipH="1">
              <a:off x="4137025" y="3282315"/>
              <a:ext cx="39688"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40" name="Line 88">
              <a:extLst>
                <a:ext uri="{FF2B5EF4-FFF2-40B4-BE49-F238E27FC236}">
                  <a16:creationId xmlns:a16="http://schemas.microsoft.com/office/drawing/2014/main" id="{8939B87A-751E-4C1A-AB79-CFF27369CAAC}"/>
                </a:ext>
              </a:extLst>
            </p:cNvPr>
            <p:cNvSpPr>
              <a:spLocks noChangeAspect="1" noChangeShapeType="1"/>
            </p:cNvSpPr>
            <p:nvPr/>
          </p:nvSpPr>
          <p:spPr bwMode="auto">
            <a:xfrm flipH="1">
              <a:off x="4137025" y="2710815"/>
              <a:ext cx="39688"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41" name="Line 89">
              <a:extLst>
                <a:ext uri="{FF2B5EF4-FFF2-40B4-BE49-F238E27FC236}">
                  <a16:creationId xmlns:a16="http://schemas.microsoft.com/office/drawing/2014/main" id="{A9DC5B58-2979-48F2-9E75-96DA13115CA9}"/>
                </a:ext>
              </a:extLst>
            </p:cNvPr>
            <p:cNvSpPr>
              <a:spLocks noChangeAspect="1" noChangeShapeType="1"/>
            </p:cNvSpPr>
            <p:nvPr/>
          </p:nvSpPr>
          <p:spPr bwMode="auto">
            <a:xfrm flipH="1">
              <a:off x="4137025" y="2137729"/>
              <a:ext cx="39688"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42" name="Line 90">
              <a:extLst>
                <a:ext uri="{FF2B5EF4-FFF2-40B4-BE49-F238E27FC236}">
                  <a16:creationId xmlns:a16="http://schemas.microsoft.com/office/drawing/2014/main" id="{5C3DA0C6-5877-4AE9-A837-D8CA21D03A01}"/>
                </a:ext>
              </a:extLst>
            </p:cNvPr>
            <p:cNvSpPr>
              <a:spLocks noChangeAspect="1" noChangeShapeType="1"/>
            </p:cNvSpPr>
            <p:nvPr/>
          </p:nvSpPr>
          <p:spPr bwMode="auto">
            <a:xfrm flipH="1">
              <a:off x="4137025" y="1564640"/>
              <a:ext cx="39688"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43" name="Line 91">
              <a:extLst>
                <a:ext uri="{FF2B5EF4-FFF2-40B4-BE49-F238E27FC236}">
                  <a16:creationId xmlns:a16="http://schemas.microsoft.com/office/drawing/2014/main" id="{AD379058-6A6F-4E38-AB3E-07FC469309F7}"/>
                </a:ext>
              </a:extLst>
            </p:cNvPr>
            <p:cNvSpPr>
              <a:spLocks noChangeAspect="1" noChangeShapeType="1"/>
            </p:cNvSpPr>
            <p:nvPr/>
          </p:nvSpPr>
          <p:spPr bwMode="auto">
            <a:xfrm flipH="1">
              <a:off x="4157663" y="4312604"/>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44" name="Line 92">
              <a:extLst>
                <a:ext uri="{FF2B5EF4-FFF2-40B4-BE49-F238E27FC236}">
                  <a16:creationId xmlns:a16="http://schemas.microsoft.com/office/drawing/2014/main" id="{DBADD24E-0D9C-482E-BF6A-75C36E87639A}"/>
                </a:ext>
              </a:extLst>
            </p:cNvPr>
            <p:cNvSpPr>
              <a:spLocks noChangeAspect="1" noChangeShapeType="1"/>
            </p:cNvSpPr>
            <p:nvPr/>
          </p:nvSpPr>
          <p:spPr bwMode="auto">
            <a:xfrm flipH="1">
              <a:off x="4157663" y="4198304"/>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45" name="Line 93">
              <a:extLst>
                <a:ext uri="{FF2B5EF4-FFF2-40B4-BE49-F238E27FC236}">
                  <a16:creationId xmlns:a16="http://schemas.microsoft.com/office/drawing/2014/main" id="{6505CE30-82FC-4A42-B001-FAEA7B3C21D3}"/>
                </a:ext>
              </a:extLst>
            </p:cNvPr>
            <p:cNvSpPr>
              <a:spLocks noChangeAspect="1" noChangeShapeType="1"/>
            </p:cNvSpPr>
            <p:nvPr/>
          </p:nvSpPr>
          <p:spPr bwMode="auto">
            <a:xfrm flipH="1">
              <a:off x="4157663" y="4084003"/>
              <a:ext cx="19050"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46" name="Line 94">
              <a:extLst>
                <a:ext uri="{FF2B5EF4-FFF2-40B4-BE49-F238E27FC236}">
                  <a16:creationId xmlns:a16="http://schemas.microsoft.com/office/drawing/2014/main" id="{85072A1A-D502-4CEC-B967-EEEE373A2265}"/>
                </a:ext>
              </a:extLst>
            </p:cNvPr>
            <p:cNvSpPr>
              <a:spLocks noChangeAspect="1" noChangeShapeType="1"/>
            </p:cNvSpPr>
            <p:nvPr/>
          </p:nvSpPr>
          <p:spPr bwMode="auto">
            <a:xfrm flipH="1">
              <a:off x="4157663" y="3968115"/>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47" name="Line 95">
              <a:extLst>
                <a:ext uri="{FF2B5EF4-FFF2-40B4-BE49-F238E27FC236}">
                  <a16:creationId xmlns:a16="http://schemas.microsoft.com/office/drawing/2014/main" id="{E7EBFA28-BA64-490D-B680-EFAD92FC706C}"/>
                </a:ext>
              </a:extLst>
            </p:cNvPr>
            <p:cNvSpPr>
              <a:spLocks noChangeAspect="1" noChangeShapeType="1"/>
            </p:cNvSpPr>
            <p:nvPr/>
          </p:nvSpPr>
          <p:spPr bwMode="auto">
            <a:xfrm flipH="1">
              <a:off x="4157663" y="3739515"/>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48" name="Line 96">
              <a:extLst>
                <a:ext uri="{FF2B5EF4-FFF2-40B4-BE49-F238E27FC236}">
                  <a16:creationId xmlns:a16="http://schemas.microsoft.com/office/drawing/2014/main" id="{BDFAB10E-E6DE-4EB2-B39B-8C1A06255954}"/>
                </a:ext>
              </a:extLst>
            </p:cNvPr>
            <p:cNvSpPr>
              <a:spLocks noChangeAspect="1" noChangeShapeType="1"/>
            </p:cNvSpPr>
            <p:nvPr/>
          </p:nvSpPr>
          <p:spPr bwMode="auto">
            <a:xfrm flipH="1">
              <a:off x="4157663" y="3625215"/>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49" name="Line 97">
              <a:extLst>
                <a:ext uri="{FF2B5EF4-FFF2-40B4-BE49-F238E27FC236}">
                  <a16:creationId xmlns:a16="http://schemas.microsoft.com/office/drawing/2014/main" id="{32CCAA7E-683D-4B5A-889D-0C2C43DBFD28}"/>
                </a:ext>
              </a:extLst>
            </p:cNvPr>
            <p:cNvSpPr>
              <a:spLocks noChangeAspect="1" noChangeShapeType="1"/>
            </p:cNvSpPr>
            <p:nvPr/>
          </p:nvSpPr>
          <p:spPr bwMode="auto">
            <a:xfrm flipH="1">
              <a:off x="4157663" y="3510915"/>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50" name="Line 98">
              <a:extLst>
                <a:ext uri="{FF2B5EF4-FFF2-40B4-BE49-F238E27FC236}">
                  <a16:creationId xmlns:a16="http://schemas.microsoft.com/office/drawing/2014/main" id="{8B9C9704-210B-43A4-8A31-13725DF81B4D}"/>
                </a:ext>
              </a:extLst>
            </p:cNvPr>
            <p:cNvSpPr>
              <a:spLocks noChangeAspect="1" noChangeShapeType="1"/>
            </p:cNvSpPr>
            <p:nvPr/>
          </p:nvSpPr>
          <p:spPr bwMode="auto">
            <a:xfrm flipH="1">
              <a:off x="4157663" y="3396615"/>
              <a:ext cx="19050"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51" name="Line 99">
              <a:extLst>
                <a:ext uri="{FF2B5EF4-FFF2-40B4-BE49-F238E27FC236}">
                  <a16:creationId xmlns:a16="http://schemas.microsoft.com/office/drawing/2014/main" id="{40D37C37-7400-40C3-8218-243286715F96}"/>
                </a:ext>
              </a:extLst>
            </p:cNvPr>
            <p:cNvSpPr>
              <a:spLocks noChangeAspect="1" noChangeShapeType="1"/>
            </p:cNvSpPr>
            <p:nvPr/>
          </p:nvSpPr>
          <p:spPr bwMode="auto">
            <a:xfrm flipH="1">
              <a:off x="4157663" y="3168015"/>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52" name="Line 100">
              <a:extLst>
                <a:ext uri="{FF2B5EF4-FFF2-40B4-BE49-F238E27FC236}">
                  <a16:creationId xmlns:a16="http://schemas.microsoft.com/office/drawing/2014/main" id="{3F653B15-FF3F-47AF-A259-C553DCE3F5E3}"/>
                </a:ext>
              </a:extLst>
            </p:cNvPr>
            <p:cNvSpPr>
              <a:spLocks noChangeAspect="1" noChangeShapeType="1"/>
            </p:cNvSpPr>
            <p:nvPr/>
          </p:nvSpPr>
          <p:spPr bwMode="auto">
            <a:xfrm flipH="1">
              <a:off x="4157663" y="3053715"/>
              <a:ext cx="19050"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53" name="Line 101">
              <a:extLst>
                <a:ext uri="{FF2B5EF4-FFF2-40B4-BE49-F238E27FC236}">
                  <a16:creationId xmlns:a16="http://schemas.microsoft.com/office/drawing/2014/main" id="{12B35F3F-E2DA-4684-AB5C-527DF040F3CC}"/>
                </a:ext>
              </a:extLst>
            </p:cNvPr>
            <p:cNvSpPr>
              <a:spLocks noChangeAspect="1" noChangeShapeType="1"/>
            </p:cNvSpPr>
            <p:nvPr/>
          </p:nvSpPr>
          <p:spPr bwMode="auto">
            <a:xfrm flipH="1">
              <a:off x="4157663" y="29378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54" name="Line 102">
              <a:extLst>
                <a:ext uri="{FF2B5EF4-FFF2-40B4-BE49-F238E27FC236}">
                  <a16:creationId xmlns:a16="http://schemas.microsoft.com/office/drawing/2014/main" id="{1552F84D-C2A5-41E7-8A68-16BBE180B55A}"/>
                </a:ext>
              </a:extLst>
            </p:cNvPr>
            <p:cNvSpPr>
              <a:spLocks noChangeAspect="1" noChangeShapeType="1"/>
            </p:cNvSpPr>
            <p:nvPr/>
          </p:nvSpPr>
          <p:spPr bwMode="auto">
            <a:xfrm flipH="1">
              <a:off x="4157663" y="28235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55" name="Line 103">
              <a:extLst>
                <a:ext uri="{FF2B5EF4-FFF2-40B4-BE49-F238E27FC236}">
                  <a16:creationId xmlns:a16="http://schemas.microsoft.com/office/drawing/2014/main" id="{A3B5DE29-90FA-4C0E-8A30-8B2C6E2804E3}"/>
                </a:ext>
              </a:extLst>
            </p:cNvPr>
            <p:cNvSpPr>
              <a:spLocks noChangeAspect="1" noChangeShapeType="1"/>
            </p:cNvSpPr>
            <p:nvPr/>
          </p:nvSpPr>
          <p:spPr bwMode="auto">
            <a:xfrm flipH="1">
              <a:off x="4157663" y="25949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56" name="Line 104">
              <a:extLst>
                <a:ext uri="{FF2B5EF4-FFF2-40B4-BE49-F238E27FC236}">
                  <a16:creationId xmlns:a16="http://schemas.microsoft.com/office/drawing/2014/main" id="{A94DF689-E09E-486B-90CE-76DCF1ED9D0B}"/>
                </a:ext>
              </a:extLst>
            </p:cNvPr>
            <p:cNvSpPr>
              <a:spLocks noChangeAspect="1" noChangeShapeType="1"/>
            </p:cNvSpPr>
            <p:nvPr/>
          </p:nvSpPr>
          <p:spPr bwMode="auto">
            <a:xfrm flipH="1">
              <a:off x="4157663" y="24806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57" name="Line 105">
              <a:extLst>
                <a:ext uri="{FF2B5EF4-FFF2-40B4-BE49-F238E27FC236}">
                  <a16:creationId xmlns:a16="http://schemas.microsoft.com/office/drawing/2014/main" id="{A72F9D22-7157-4519-AB6A-2D7CBA149860}"/>
                </a:ext>
              </a:extLst>
            </p:cNvPr>
            <p:cNvSpPr>
              <a:spLocks noChangeAspect="1" noChangeShapeType="1"/>
            </p:cNvSpPr>
            <p:nvPr/>
          </p:nvSpPr>
          <p:spPr bwMode="auto">
            <a:xfrm flipH="1">
              <a:off x="4157663" y="23663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58" name="Line 106">
              <a:extLst>
                <a:ext uri="{FF2B5EF4-FFF2-40B4-BE49-F238E27FC236}">
                  <a16:creationId xmlns:a16="http://schemas.microsoft.com/office/drawing/2014/main" id="{4CDDBFD2-9460-46EE-B4A5-144C796776E5}"/>
                </a:ext>
              </a:extLst>
            </p:cNvPr>
            <p:cNvSpPr>
              <a:spLocks noChangeAspect="1" noChangeShapeType="1"/>
            </p:cNvSpPr>
            <p:nvPr/>
          </p:nvSpPr>
          <p:spPr bwMode="auto">
            <a:xfrm flipH="1">
              <a:off x="4157663" y="22504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59" name="Line 107">
              <a:extLst>
                <a:ext uri="{FF2B5EF4-FFF2-40B4-BE49-F238E27FC236}">
                  <a16:creationId xmlns:a16="http://schemas.microsoft.com/office/drawing/2014/main" id="{66B6391A-6BE1-46F8-B960-EB20F7B3B097}"/>
                </a:ext>
              </a:extLst>
            </p:cNvPr>
            <p:cNvSpPr>
              <a:spLocks noChangeAspect="1" noChangeShapeType="1"/>
            </p:cNvSpPr>
            <p:nvPr/>
          </p:nvSpPr>
          <p:spPr bwMode="auto">
            <a:xfrm flipH="1">
              <a:off x="4157663" y="20234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60" name="Line 108">
              <a:extLst>
                <a:ext uri="{FF2B5EF4-FFF2-40B4-BE49-F238E27FC236}">
                  <a16:creationId xmlns:a16="http://schemas.microsoft.com/office/drawing/2014/main" id="{C081901A-3A91-4C11-A69A-FEBB2A2BD05D}"/>
                </a:ext>
              </a:extLst>
            </p:cNvPr>
            <p:cNvSpPr>
              <a:spLocks noChangeAspect="1" noChangeShapeType="1"/>
            </p:cNvSpPr>
            <p:nvPr/>
          </p:nvSpPr>
          <p:spPr bwMode="auto">
            <a:xfrm flipH="1">
              <a:off x="4157663" y="19075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61" name="Line 109">
              <a:extLst>
                <a:ext uri="{FF2B5EF4-FFF2-40B4-BE49-F238E27FC236}">
                  <a16:creationId xmlns:a16="http://schemas.microsoft.com/office/drawing/2014/main" id="{95D402E1-3D6F-4A55-B9ED-671FE102062E}"/>
                </a:ext>
              </a:extLst>
            </p:cNvPr>
            <p:cNvSpPr>
              <a:spLocks noChangeAspect="1" noChangeShapeType="1"/>
            </p:cNvSpPr>
            <p:nvPr/>
          </p:nvSpPr>
          <p:spPr bwMode="auto">
            <a:xfrm flipH="1">
              <a:off x="4157663" y="17932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62" name="Line 110">
              <a:extLst>
                <a:ext uri="{FF2B5EF4-FFF2-40B4-BE49-F238E27FC236}">
                  <a16:creationId xmlns:a16="http://schemas.microsoft.com/office/drawing/2014/main" id="{A2956D4D-7151-4E9B-9E8B-89F9E1A79E44}"/>
                </a:ext>
              </a:extLst>
            </p:cNvPr>
            <p:cNvSpPr>
              <a:spLocks noChangeAspect="1" noChangeShapeType="1"/>
            </p:cNvSpPr>
            <p:nvPr/>
          </p:nvSpPr>
          <p:spPr bwMode="auto">
            <a:xfrm flipH="1">
              <a:off x="4157663" y="16789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63" name="Line 111">
              <a:extLst>
                <a:ext uri="{FF2B5EF4-FFF2-40B4-BE49-F238E27FC236}">
                  <a16:creationId xmlns:a16="http://schemas.microsoft.com/office/drawing/2014/main" id="{412676FB-8237-4459-88D1-110D74D4A14E}"/>
                </a:ext>
              </a:extLst>
            </p:cNvPr>
            <p:cNvSpPr>
              <a:spLocks noChangeAspect="1" noChangeShapeType="1"/>
            </p:cNvSpPr>
            <p:nvPr/>
          </p:nvSpPr>
          <p:spPr bwMode="auto">
            <a:xfrm flipH="1">
              <a:off x="4157663" y="14503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64" name="Line 112">
              <a:extLst>
                <a:ext uri="{FF2B5EF4-FFF2-40B4-BE49-F238E27FC236}">
                  <a16:creationId xmlns:a16="http://schemas.microsoft.com/office/drawing/2014/main" id="{A913C72A-2F98-4A40-B8DD-379AB1F674A8}"/>
                </a:ext>
              </a:extLst>
            </p:cNvPr>
            <p:cNvSpPr>
              <a:spLocks noChangeAspect="1" noChangeShapeType="1"/>
            </p:cNvSpPr>
            <p:nvPr/>
          </p:nvSpPr>
          <p:spPr bwMode="auto">
            <a:xfrm flipH="1">
              <a:off x="4157663" y="13360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65" name="Line 113">
              <a:extLst>
                <a:ext uri="{FF2B5EF4-FFF2-40B4-BE49-F238E27FC236}">
                  <a16:creationId xmlns:a16="http://schemas.microsoft.com/office/drawing/2014/main" id="{483136FC-CEB3-4B46-AEB7-B73E5D236B0B}"/>
                </a:ext>
              </a:extLst>
            </p:cNvPr>
            <p:cNvSpPr>
              <a:spLocks noChangeAspect="1" noChangeShapeType="1"/>
            </p:cNvSpPr>
            <p:nvPr/>
          </p:nvSpPr>
          <p:spPr bwMode="auto">
            <a:xfrm flipH="1">
              <a:off x="4157663" y="1221740"/>
              <a:ext cx="19050"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66" name="Line 114">
              <a:extLst>
                <a:ext uri="{FF2B5EF4-FFF2-40B4-BE49-F238E27FC236}">
                  <a16:creationId xmlns:a16="http://schemas.microsoft.com/office/drawing/2014/main" id="{5670CD3F-6AAD-45CE-A3E3-50A4641EB7DA}"/>
                </a:ext>
              </a:extLst>
            </p:cNvPr>
            <p:cNvSpPr>
              <a:spLocks noChangeAspect="1" noChangeShapeType="1"/>
            </p:cNvSpPr>
            <p:nvPr/>
          </p:nvSpPr>
          <p:spPr bwMode="auto">
            <a:xfrm flipH="1">
              <a:off x="4157663" y="1105854"/>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667" name="Freeform 115">
              <a:extLst>
                <a:ext uri="{FF2B5EF4-FFF2-40B4-BE49-F238E27FC236}">
                  <a16:creationId xmlns:a16="http://schemas.microsoft.com/office/drawing/2014/main" id="{F1ABBF3E-5FB7-4B9D-B64F-23967C59D0EA}"/>
                </a:ext>
              </a:extLst>
            </p:cNvPr>
            <p:cNvSpPr>
              <a:spLocks noChangeAspect="1"/>
            </p:cNvSpPr>
            <p:nvPr/>
          </p:nvSpPr>
          <p:spPr bwMode="auto">
            <a:xfrm>
              <a:off x="3414714" y="1709104"/>
              <a:ext cx="338137" cy="376237"/>
            </a:xfrm>
            <a:custGeom>
              <a:avLst/>
              <a:gdLst>
                <a:gd name="T0" fmla="*/ 1321 w 2002"/>
                <a:gd name="T1" fmla="*/ 1668 h 1668"/>
                <a:gd name="T2" fmla="*/ 0 w 2002"/>
                <a:gd name="T3" fmla="*/ 0 h 1668"/>
                <a:gd name="T4" fmla="*/ 782 w 2002"/>
                <a:gd name="T5" fmla="*/ 0 h 1668"/>
                <a:gd name="T6" fmla="*/ 2002 w 2002"/>
                <a:gd name="T7" fmla="*/ 1485 h 1668"/>
                <a:gd name="T8" fmla="*/ 2002 w 2002"/>
                <a:gd name="T9" fmla="*/ 1668 h 1668"/>
                <a:gd name="T10" fmla="*/ 1321 w 2002"/>
                <a:gd name="T11" fmla="*/ 1668 h 1668"/>
              </a:gdLst>
              <a:ahLst/>
              <a:cxnLst>
                <a:cxn ang="0">
                  <a:pos x="T0" y="T1"/>
                </a:cxn>
                <a:cxn ang="0">
                  <a:pos x="T2" y="T3"/>
                </a:cxn>
                <a:cxn ang="0">
                  <a:pos x="T4" y="T5"/>
                </a:cxn>
                <a:cxn ang="0">
                  <a:pos x="T6" y="T7"/>
                </a:cxn>
                <a:cxn ang="0">
                  <a:pos x="T8" y="T9"/>
                </a:cxn>
                <a:cxn ang="0">
                  <a:pos x="T10" y="T11"/>
                </a:cxn>
              </a:cxnLst>
              <a:rect l="0" t="0" r="r" b="b"/>
              <a:pathLst>
                <a:path w="2002" h="1668">
                  <a:moveTo>
                    <a:pt x="1321" y="1668"/>
                  </a:moveTo>
                  <a:lnTo>
                    <a:pt x="0" y="0"/>
                  </a:lnTo>
                  <a:lnTo>
                    <a:pt x="782" y="0"/>
                  </a:lnTo>
                  <a:lnTo>
                    <a:pt x="2002" y="1485"/>
                  </a:lnTo>
                  <a:lnTo>
                    <a:pt x="2002" y="1668"/>
                  </a:lnTo>
                  <a:lnTo>
                    <a:pt x="1321" y="1668"/>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668" name="Freeform 116">
              <a:extLst>
                <a:ext uri="{FF2B5EF4-FFF2-40B4-BE49-F238E27FC236}">
                  <a16:creationId xmlns:a16="http://schemas.microsoft.com/office/drawing/2014/main" id="{24775584-23E1-4C89-AA9D-6199AE97A02D}"/>
                </a:ext>
              </a:extLst>
            </p:cNvPr>
            <p:cNvSpPr>
              <a:spLocks noChangeAspect="1"/>
            </p:cNvSpPr>
            <p:nvPr/>
          </p:nvSpPr>
          <p:spPr bwMode="auto">
            <a:xfrm>
              <a:off x="3414714" y="1709104"/>
              <a:ext cx="338137" cy="376237"/>
            </a:xfrm>
            <a:custGeom>
              <a:avLst/>
              <a:gdLst>
                <a:gd name="T0" fmla="*/ 1321 w 2002"/>
                <a:gd name="T1" fmla="*/ 1668 h 1668"/>
                <a:gd name="T2" fmla="*/ 0 w 2002"/>
                <a:gd name="T3" fmla="*/ 0 h 1668"/>
                <a:gd name="T4" fmla="*/ 782 w 2002"/>
                <a:gd name="T5" fmla="*/ 0 h 1668"/>
                <a:gd name="T6" fmla="*/ 2002 w 2002"/>
                <a:gd name="T7" fmla="*/ 1485 h 1668"/>
                <a:gd name="T8" fmla="*/ 2002 w 2002"/>
                <a:gd name="T9" fmla="*/ 1668 h 1668"/>
                <a:gd name="T10" fmla="*/ 1321 w 2002"/>
                <a:gd name="T11" fmla="*/ 1668 h 1668"/>
              </a:gdLst>
              <a:ahLst/>
              <a:cxnLst>
                <a:cxn ang="0">
                  <a:pos x="T0" y="T1"/>
                </a:cxn>
                <a:cxn ang="0">
                  <a:pos x="T2" y="T3"/>
                </a:cxn>
                <a:cxn ang="0">
                  <a:pos x="T4" y="T5"/>
                </a:cxn>
                <a:cxn ang="0">
                  <a:pos x="T6" y="T7"/>
                </a:cxn>
                <a:cxn ang="0">
                  <a:pos x="T8" y="T9"/>
                </a:cxn>
                <a:cxn ang="0">
                  <a:pos x="T10" y="T11"/>
                </a:cxn>
              </a:cxnLst>
              <a:rect l="0" t="0" r="r" b="b"/>
              <a:pathLst>
                <a:path w="2002" h="1668">
                  <a:moveTo>
                    <a:pt x="1321" y="1668"/>
                  </a:moveTo>
                  <a:lnTo>
                    <a:pt x="0" y="0"/>
                  </a:lnTo>
                  <a:lnTo>
                    <a:pt x="782" y="0"/>
                  </a:lnTo>
                  <a:lnTo>
                    <a:pt x="2002" y="1485"/>
                  </a:lnTo>
                  <a:lnTo>
                    <a:pt x="2002" y="1668"/>
                  </a:lnTo>
                  <a:lnTo>
                    <a:pt x="1321" y="1668"/>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669" name="Freeform 117">
              <a:extLst>
                <a:ext uri="{FF2B5EF4-FFF2-40B4-BE49-F238E27FC236}">
                  <a16:creationId xmlns:a16="http://schemas.microsoft.com/office/drawing/2014/main" id="{94E08C0D-6B48-4C9D-B4A6-0E11218BC9C2}"/>
                </a:ext>
              </a:extLst>
            </p:cNvPr>
            <p:cNvSpPr>
              <a:spLocks noChangeAspect="1"/>
            </p:cNvSpPr>
            <p:nvPr/>
          </p:nvSpPr>
          <p:spPr bwMode="auto">
            <a:xfrm>
              <a:off x="3316289" y="3339466"/>
              <a:ext cx="363537" cy="371475"/>
            </a:xfrm>
            <a:custGeom>
              <a:avLst/>
              <a:gdLst>
                <a:gd name="T0" fmla="*/ 0 w 2145"/>
                <a:gd name="T1" fmla="*/ 1649 h 1649"/>
                <a:gd name="T2" fmla="*/ 761 w 2145"/>
                <a:gd name="T3" fmla="*/ 1649 h 1649"/>
                <a:gd name="T4" fmla="*/ 2145 w 2145"/>
                <a:gd name="T5" fmla="*/ 77 h 1649"/>
                <a:gd name="T6" fmla="*/ 2145 w 2145"/>
                <a:gd name="T7" fmla="*/ 0 h 1649"/>
                <a:gd name="T8" fmla="*/ 1453 w 2145"/>
                <a:gd name="T9" fmla="*/ 0 h 1649"/>
                <a:gd name="T10" fmla="*/ 0 w 2145"/>
                <a:gd name="T11" fmla="*/ 1649 h 1649"/>
              </a:gdLst>
              <a:ahLst/>
              <a:cxnLst>
                <a:cxn ang="0">
                  <a:pos x="T0" y="T1"/>
                </a:cxn>
                <a:cxn ang="0">
                  <a:pos x="T2" y="T3"/>
                </a:cxn>
                <a:cxn ang="0">
                  <a:pos x="T4" y="T5"/>
                </a:cxn>
                <a:cxn ang="0">
                  <a:pos x="T6" y="T7"/>
                </a:cxn>
                <a:cxn ang="0">
                  <a:pos x="T8" y="T9"/>
                </a:cxn>
                <a:cxn ang="0">
                  <a:pos x="T10" y="T11"/>
                </a:cxn>
              </a:cxnLst>
              <a:rect l="0" t="0" r="r" b="b"/>
              <a:pathLst>
                <a:path w="2145" h="1649">
                  <a:moveTo>
                    <a:pt x="0" y="1649"/>
                  </a:moveTo>
                  <a:lnTo>
                    <a:pt x="761" y="1649"/>
                  </a:lnTo>
                  <a:lnTo>
                    <a:pt x="2145" y="77"/>
                  </a:lnTo>
                  <a:lnTo>
                    <a:pt x="2145" y="0"/>
                  </a:lnTo>
                  <a:lnTo>
                    <a:pt x="1453" y="0"/>
                  </a:lnTo>
                  <a:lnTo>
                    <a:pt x="0" y="1649"/>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670" name="Freeform 118">
              <a:extLst>
                <a:ext uri="{FF2B5EF4-FFF2-40B4-BE49-F238E27FC236}">
                  <a16:creationId xmlns:a16="http://schemas.microsoft.com/office/drawing/2014/main" id="{02F0A8EB-4BAE-481C-8468-A45AE7035D45}"/>
                </a:ext>
              </a:extLst>
            </p:cNvPr>
            <p:cNvSpPr>
              <a:spLocks noChangeAspect="1"/>
            </p:cNvSpPr>
            <p:nvPr/>
          </p:nvSpPr>
          <p:spPr bwMode="auto">
            <a:xfrm>
              <a:off x="3316289" y="3339466"/>
              <a:ext cx="363537" cy="371475"/>
            </a:xfrm>
            <a:custGeom>
              <a:avLst/>
              <a:gdLst>
                <a:gd name="T0" fmla="*/ 0 w 2145"/>
                <a:gd name="T1" fmla="*/ 1649 h 1649"/>
                <a:gd name="T2" fmla="*/ 761 w 2145"/>
                <a:gd name="T3" fmla="*/ 1649 h 1649"/>
                <a:gd name="T4" fmla="*/ 2145 w 2145"/>
                <a:gd name="T5" fmla="*/ 77 h 1649"/>
                <a:gd name="T6" fmla="*/ 2145 w 2145"/>
                <a:gd name="T7" fmla="*/ 0 h 1649"/>
                <a:gd name="T8" fmla="*/ 1453 w 2145"/>
                <a:gd name="T9" fmla="*/ 0 h 1649"/>
                <a:gd name="T10" fmla="*/ 0 w 2145"/>
                <a:gd name="T11" fmla="*/ 1649 h 1649"/>
              </a:gdLst>
              <a:ahLst/>
              <a:cxnLst>
                <a:cxn ang="0">
                  <a:pos x="T0" y="T1"/>
                </a:cxn>
                <a:cxn ang="0">
                  <a:pos x="T2" y="T3"/>
                </a:cxn>
                <a:cxn ang="0">
                  <a:pos x="T4" y="T5"/>
                </a:cxn>
                <a:cxn ang="0">
                  <a:pos x="T6" y="T7"/>
                </a:cxn>
                <a:cxn ang="0">
                  <a:pos x="T8" y="T9"/>
                </a:cxn>
                <a:cxn ang="0">
                  <a:pos x="T10" y="T11"/>
                </a:cxn>
              </a:cxnLst>
              <a:rect l="0" t="0" r="r" b="b"/>
              <a:pathLst>
                <a:path w="2145" h="1649">
                  <a:moveTo>
                    <a:pt x="0" y="1649"/>
                  </a:moveTo>
                  <a:lnTo>
                    <a:pt x="761" y="1649"/>
                  </a:lnTo>
                  <a:lnTo>
                    <a:pt x="2145" y="77"/>
                  </a:lnTo>
                  <a:lnTo>
                    <a:pt x="2145" y="0"/>
                  </a:lnTo>
                  <a:lnTo>
                    <a:pt x="1453" y="0"/>
                  </a:lnTo>
                  <a:lnTo>
                    <a:pt x="0" y="164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671" name="Freeform 119">
              <a:extLst>
                <a:ext uri="{FF2B5EF4-FFF2-40B4-BE49-F238E27FC236}">
                  <a16:creationId xmlns:a16="http://schemas.microsoft.com/office/drawing/2014/main" id="{45F8F43F-17F8-4442-A521-C62957CF4621}"/>
                </a:ext>
              </a:extLst>
            </p:cNvPr>
            <p:cNvSpPr>
              <a:spLocks noChangeAspect="1"/>
            </p:cNvSpPr>
            <p:nvPr/>
          </p:nvSpPr>
          <p:spPr bwMode="auto">
            <a:xfrm>
              <a:off x="2333625" y="3487104"/>
              <a:ext cx="107950" cy="92075"/>
            </a:xfrm>
            <a:custGeom>
              <a:avLst/>
              <a:gdLst>
                <a:gd name="T0" fmla="*/ 646 w 646"/>
                <a:gd name="T1" fmla="*/ 407 h 407"/>
                <a:gd name="T2" fmla="*/ 646 w 646"/>
                <a:gd name="T3" fmla="*/ 0 h 407"/>
                <a:gd name="T4" fmla="*/ 496 w 646"/>
                <a:gd name="T5" fmla="*/ 0 h 407"/>
                <a:gd name="T6" fmla="*/ 496 w 646"/>
                <a:gd name="T7" fmla="*/ 126 h 407"/>
                <a:gd name="T8" fmla="*/ 0 w 646"/>
                <a:gd name="T9" fmla="*/ 126 h 407"/>
                <a:gd name="T10" fmla="*/ 0 w 646"/>
                <a:gd name="T11" fmla="*/ 229 h 407"/>
                <a:gd name="T12" fmla="*/ 496 w 646"/>
                <a:gd name="T13" fmla="*/ 229 h 407"/>
                <a:gd name="T14" fmla="*/ 496 w 646"/>
                <a:gd name="T15" fmla="*/ 407 h 407"/>
                <a:gd name="T16" fmla="*/ 646 w 646"/>
                <a:gd name="T17" fmla="*/ 40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07">
                  <a:moveTo>
                    <a:pt x="646" y="407"/>
                  </a:moveTo>
                  <a:lnTo>
                    <a:pt x="646" y="0"/>
                  </a:lnTo>
                  <a:lnTo>
                    <a:pt x="496" y="0"/>
                  </a:lnTo>
                  <a:lnTo>
                    <a:pt x="496" y="126"/>
                  </a:lnTo>
                  <a:lnTo>
                    <a:pt x="0" y="126"/>
                  </a:lnTo>
                  <a:lnTo>
                    <a:pt x="0" y="229"/>
                  </a:lnTo>
                  <a:lnTo>
                    <a:pt x="496" y="229"/>
                  </a:lnTo>
                  <a:lnTo>
                    <a:pt x="496" y="407"/>
                  </a:lnTo>
                  <a:lnTo>
                    <a:pt x="646" y="407"/>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672" name="Freeform 120">
              <a:extLst>
                <a:ext uri="{FF2B5EF4-FFF2-40B4-BE49-F238E27FC236}">
                  <a16:creationId xmlns:a16="http://schemas.microsoft.com/office/drawing/2014/main" id="{2C81042B-3050-4022-9FE4-65035256AD86}"/>
                </a:ext>
              </a:extLst>
            </p:cNvPr>
            <p:cNvSpPr>
              <a:spLocks noChangeAspect="1"/>
            </p:cNvSpPr>
            <p:nvPr/>
          </p:nvSpPr>
          <p:spPr bwMode="auto">
            <a:xfrm>
              <a:off x="2333625" y="3487104"/>
              <a:ext cx="107950" cy="92075"/>
            </a:xfrm>
            <a:custGeom>
              <a:avLst/>
              <a:gdLst>
                <a:gd name="T0" fmla="*/ 646 w 646"/>
                <a:gd name="T1" fmla="*/ 407 h 407"/>
                <a:gd name="T2" fmla="*/ 646 w 646"/>
                <a:gd name="T3" fmla="*/ 0 h 407"/>
                <a:gd name="T4" fmla="*/ 496 w 646"/>
                <a:gd name="T5" fmla="*/ 0 h 407"/>
                <a:gd name="T6" fmla="*/ 496 w 646"/>
                <a:gd name="T7" fmla="*/ 126 h 407"/>
                <a:gd name="T8" fmla="*/ 0 w 646"/>
                <a:gd name="T9" fmla="*/ 126 h 407"/>
                <a:gd name="T10" fmla="*/ 0 w 646"/>
                <a:gd name="T11" fmla="*/ 229 h 407"/>
                <a:gd name="T12" fmla="*/ 496 w 646"/>
                <a:gd name="T13" fmla="*/ 229 h 407"/>
                <a:gd name="T14" fmla="*/ 496 w 646"/>
                <a:gd name="T15" fmla="*/ 407 h 407"/>
                <a:gd name="T16" fmla="*/ 646 w 646"/>
                <a:gd name="T17" fmla="*/ 40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07">
                  <a:moveTo>
                    <a:pt x="646" y="407"/>
                  </a:moveTo>
                  <a:lnTo>
                    <a:pt x="646" y="0"/>
                  </a:lnTo>
                  <a:lnTo>
                    <a:pt x="496" y="0"/>
                  </a:lnTo>
                  <a:lnTo>
                    <a:pt x="496" y="126"/>
                  </a:lnTo>
                  <a:lnTo>
                    <a:pt x="0" y="126"/>
                  </a:lnTo>
                  <a:lnTo>
                    <a:pt x="0" y="229"/>
                  </a:lnTo>
                  <a:lnTo>
                    <a:pt x="496" y="229"/>
                  </a:lnTo>
                  <a:lnTo>
                    <a:pt x="496" y="407"/>
                  </a:lnTo>
                  <a:lnTo>
                    <a:pt x="646" y="407"/>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673" name="Freeform 121">
              <a:extLst>
                <a:ext uri="{FF2B5EF4-FFF2-40B4-BE49-F238E27FC236}">
                  <a16:creationId xmlns:a16="http://schemas.microsoft.com/office/drawing/2014/main" id="{C5C8D586-7D33-4377-8C06-AFA01FBDCE31}"/>
                </a:ext>
              </a:extLst>
            </p:cNvPr>
            <p:cNvSpPr>
              <a:spLocks noChangeAspect="1"/>
            </p:cNvSpPr>
            <p:nvPr/>
          </p:nvSpPr>
          <p:spPr bwMode="auto">
            <a:xfrm>
              <a:off x="2368550" y="1826579"/>
              <a:ext cx="153988" cy="1552575"/>
            </a:xfrm>
            <a:custGeom>
              <a:avLst/>
              <a:gdLst>
                <a:gd name="T0" fmla="*/ 472 w 911"/>
                <a:gd name="T1" fmla="*/ 6904 h 6904"/>
                <a:gd name="T2" fmla="*/ 368 w 911"/>
                <a:gd name="T3" fmla="*/ 6563 h 6904"/>
                <a:gd name="T4" fmla="*/ 277 w 911"/>
                <a:gd name="T5" fmla="*/ 6219 h 6904"/>
                <a:gd name="T6" fmla="*/ 200 w 911"/>
                <a:gd name="T7" fmla="*/ 5875 h 6904"/>
                <a:gd name="T8" fmla="*/ 134 w 911"/>
                <a:gd name="T9" fmla="*/ 5528 h 6904"/>
                <a:gd name="T10" fmla="*/ 81 w 911"/>
                <a:gd name="T11" fmla="*/ 5180 h 6904"/>
                <a:gd name="T12" fmla="*/ 42 w 911"/>
                <a:gd name="T13" fmla="*/ 4832 h 6904"/>
                <a:gd name="T14" fmla="*/ 15 w 911"/>
                <a:gd name="T15" fmla="*/ 4482 h 6904"/>
                <a:gd name="T16" fmla="*/ 2 w 911"/>
                <a:gd name="T17" fmla="*/ 4133 h 6904"/>
                <a:gd name="T18" fmla="*/ 0 w 911"/>
                <a:gd name="T19" fmla="*/ 3783 h 6904"/>
                <a:gd name="T20" fmla="*/ 13 w 911"/>
                <a:gd name="T21" fmla="*/ 3433 h 6904"/>
                <a:gd name="T22" fmla="*/ 38 w 911"/>
                <a:gd name="T23" fmla="*/ 3084 h 6904"/>
                <a:gd name="T24" fmla="*/ 75 w 911"/>
                <a:gd name="T25" fmla="*/ 2735 h 6904"/>
                <a:gd name="T26" fmla="*/ 125 w 911"/>
                <a:gd name="T27" fmla="*/ 2388 h 6904"/>
                <a:gd name="T28" fmla="*/ 188 w 911"/>
                <a:gd name="T29" fmla="*/ 2041 h 6904"/>
                <a:gd name="T30" fmla="*/ 265 w 911"/>
                <a:gd name="T31" fmla="*/ 1696 h 6904"/>
                <a:gd name="T32" fmla="*/ 354 w 911"/>
                <a:gd name="T33" fmla="*/ 1352 h 6904"/>
                <a:gd name="T34" fmla="*/ 455 w 911"/>
                <a:gd name="T35" fmla="*/ 1011 h 6904"/>
                <a:gd name="T36" fmla="*/ 569 w 911"/>
                <a:gd name="T37" fmla="*/ 671 h 6904"/>
                <a:gd name="T38" fmla="*/ 695 w 911"/>
                <a:gd name="T39" fmla="*/ 335 h 6904"/>
                <a:gd name="T40" fmla="*/ 833 w 911"/>
                <a:gd name="T41" fmla="*/ 0 h 6904"/>
                <a:gd name="T42" fmla="*/ 911 w 911"/>
                <a:gd name="T43" fmla="*/ 19 h 6904"/>
                <a:gd name="T44" fmla="*/ 773 w 911"/>
                <a:gd name="T45" fmla="*/ 351 h 6904"/>
                <a:gd name="T46" fmla="*/ 647 w 911"/>
                <a:gd name="T47" fmla="*/ 687 h 6904"/>
                <a:gd name="T48" fmla="*/ 534 w 911"/>
                <a:gd name="T49" fmla="*/ 1024 h 6904"/>
                <a:gd name="T50" fmla="*/ 434 w 911"/>
                <a:gd name="T51" fmla="*/ 1365 h 6904"/>
                <a:gd name="T52" fmla="*/ 345 w 911"/>
                <a:gd name="T53" fmla="*/ 1706 h 6904"/>
                <a:gd name="T54" fmla="*/ 269 w 911"/>
                <a:gd name="T55" fmla="*/ 2050 h 6904"/>
                <a:gd name="T56" fmla="*/ 206 w 911"/>
                <a:gd name="T57" fmla="*/ 2395 h 6904"/>
                <a:gd name="T58" fmla="*/ 157 w 911"/>
                <a:gd name="T59" fmla="*/ 2742 h 6904"/>
                <a:gd name="T60" fmla="*/ 120 w 911"/>
                <a:gd name="T61" fmla="*/ 3088 h 6904"/>
                <a:gd name="T62" fmla="*/ 95 w 911"/>
                <a:gd name="T63" fmla="*/ 3436 h 6904"/>
                <a:gd name="T64" fmla="*/ 83 w 911"/>
                <a:gd name="T65" fmla="*/ 3784 h 6904"/>
                <a:gd name="T66" fmla="*/ 84 w 911"/>
                <a:gd name="T67" fmla="*/ 4132 h 6904"/>
                <a:gd name="T68" fmla="*/ 97 w 911"/>
                <a:gd name="T69" fmla="*/ 4480 h 6904"/>
                <a:gd name="T70" fmla="*/ 124 w 911"/>
                <a:gd name="T71" fmla="*/ 4827 h 6904"/>
                <a:gd name="T72" fmla="*/ 164 w 911"/>
                <a:gd name="T73" fmla="*/ 5174 h 6904"/>
                <a:gd name="T74" fmla="*/ 215 w 911"/>
                <a:gd name="T75" fmla="*/ 5521 h 6904"/>
                <a:gd name="T76" fmla="*/ 281 w 911"/>
                <a:gd name="T77" fmla="*/ 5865 h 6904"/>
                <a:gd name="T78" fmla="*/ 358 w 911"/>
                <a:gd name="T79" fmla="*/ 6208 h 6904"/>
                <a:gd name="T80" fmla="*/ 448 w 911"/>
                <a:gd name="T81" fmla="*/ 6550 h 6904"/>
                <a:gd name="T82" fmla="*/ 551 w 911"/>
                <a:gd name="T83" fmla="*/ 6889 h 6904"/>
                <a:gd name="T84" fmla="*/ 472 w 911"/>
                <a:gd name="T85" fmla="*/ 6904 h 6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1" h="6904">
                  <a:moveTo>
                    <a:pt x="472" y="6904"/>
                  </a:moveTo>
                  <a:lnTo>
                    <a:pt x="368" y="6563"/>
                  </a:lnTo>
                  <a:lnTo>
                    <a:pt x="277" y="6219"/>
                  </a:lnTo>
                  <a:lnTo>
                    <a:pt x="200" y="5875"/>
                  </a:lnTo>
                  <a:lnTo>
                    <a:pt x="134" y="5528"/>
                  </a:lnTo>
                  <a:lnTo>
                    <a:pt x="81" y="5180"/>
                  </a:lnTo>
                  <a:lnTo>
                    <a:pt x="42" y="4832"/>
                  </a:lnTo>
                  <a:lnTo>
                    <a:pt x="15" y="4482"/>
                  </a:lnTo>
                  <a:lnTo>
                    <a:pt x="2" y="4133"/>
                  </a:lnTo>
                  <a:lnTo>
                    <a:pt x="0" y="3783"/>
                  </a:lnTo>
                  <a:lnTo>
                    <a:pt x="13" y="3433"/>
                  </a:lnTo>
                  <a:lnTo>
                    <a:pt x="38" y="3084"/>
                  </a:lnTo>
                  <a:lnTo>
                    <a:pt x="75" y="2735"/>
                  </a:lnTo>
                  <a:lnTo>
                    <a:pt x="125" y="2388"/>
                  </a:lnTo>
                  <a:lnTo>
                    <a:pt x="188" y="2041"/>
                  </a:lnTo>
                  <a:lnTo>
                    <a:pt x="265" y="1696"/>
                  </a:lnTo>
                  <a:lnTo>
                    <a:pt x="354" y="1352"/>
                  </a:lnTo>
                  <a:lnTo>
                    <a:pt x="455" y="1011"/>
                  </a:lnTo>
                  <a:lnTo>
                    <a:pt x="569" y="671"/>
                  </a:lnTo>
                  <a:lnTo>
                    <a:pt x="695" y="335"/>
                  </a:lnTo>
                  <a:lnTo>
                    <a:pt x="833" y="0"/>
                  </a:lnTo>
                  <a:lnTo>
                    <a:pt x="911" y="19"/>
                  </a:lnTo>
                  <a:lnTo>
                    <a:pt x="773" y="351"/>
                  </a:lnTo>
                  <a:lnTo>
                    <a:pt x="647" y="687"/>
                  </a:lnTo>
                  <a:lnTo>
                    <a:pt x="534" y="1024"/>
                  </a:lnTo>
                  <a:lnTo>
                    <a:pt x="434" y="1365"/>
                  </a:lnTo>
                  <a:lnTo>
                    <a:pt x="345" y="1706"/>
                  </a:lnTo>
                  <a:lnTo>
                    <a:pt x="269" y="2050"/>
                  </a:lnTo>
                  <a:lnTo>
                    <a:pt x="206" y="2395"/>
                  </a:lnTo>
                  <a:lnTo>
                    <a:pt x="157" y="2742"/>
                  </a:lnTo>
                  <a:lnTo>
                    <a:pt x="120" y="3088"/>
                  </a:lnTo>
                  <a:lnTo>
                    <a:pt x="95" y="3436"/>
                  </a:lnTo>
                  <a:lnTo>
                    <a:pt x="83" y="3784"/>
                  </a:lnTo>
                  <a:lnTo>
                    <a:pt x="84" y="4132"/>
                  </a:lnTo>
                  <a:lnTo>
                    <a:pt x="97" y="4480"/>
                  </a:lnTo>
                  <a:lnTo>
                    <a:pt x="124" y="4827"/>
                  </a:lnTo>
                  <a:lnTo>
                    <a:pt x="164" y="5174"/>
                  </a:lnTo>
                  <a:lnTo>
                    <a:pt x="215" y="5521"/>
                  </a:lnTo>
                  <a:lnTo>
                    <a:pt x="281" y="5865"/>
                  </a:lnTo>
                  <a:lnTo>
                    <a:pt x="358" y="6208"/>
                  </a:lnTo>
                  <a:lnTo>
                    <a:pt x="448" y="6550"/>
                  </a:lnTo>
                  <a:lnTo>
                    <a:pt x="551" y="6889"/>
                  </a:lnTo>
                  <a:lnTo>
                    <a:pt x="472" y="6904"/>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674" name="Freeform 122">
              <a:extLst>
                <a:ext uri="{FF2B5EF4-FFF2-40B4-BE49-F238E27FC236}">
                  <a16:creationId xmlns:a16="http://schemas.microsoft.com/office/drawing/2014/main" id="{5AA25A7E-8FA4-43E8-931D-73FD80E14B54}"/>
                </a:ext>
              </a:extLst>
            </p:cNvPr>
            <p:cNvSpPr>
              <a:spLocks noChangeAspect="1"/>
            </p:cNvSpPr>
            <p:nvPr/>
          </p:nvSpPr>
          <p:spPr bwMode="auto">
            <a:xfrm>
              <a:off x="2368550" y="1826579"/>
              <a:ext cx="153988" cy="1552575"/>
            </a:xfrm>
            <a:custGeom>
              <a:avLst/>
              <a:gdLst>
                <a:gd name="T0" fmla="*/ 472 w 911"/>
                <a:gd name="T1" fmla="*/ 6904 h 6904"/>
                <a:gd name="T2" fmla="*/ 368 w 911"/>
                <a:gd name="T3" fmla="*/ 6563 h 6904"/>
                <a:gd name="T4" fmla="*/ 277 w 911"/>
                <a:gd name="T5" fmla="*/ 6219 h 6904"/>
                <a:gd name="T6" fmla="*/ 200 w 911"/>
                <a:gd name="T7" fmla="*/ 5875 h 6904"/>
                <a:gd name="T8" fmla="*/ 134 w 911"/>
                <a:gd name="T9" fmla="*/ 5528 h 6904"/>
                <a:gd name="T10" fmla="*/ 81 w 911"/>
                <a:gd name="T11" fmla="*/ 5180 h 6904"/>
                <a:gd name="T12" fmla="*/ 42 w 911"/>
                <a:gd name="T13" fmla="*/ 4832 h 6904"/>
                <a:gd name="T14" fmla="*/ 15 w 911"/>
                <a:gd name="T15" fmla="*/ 4482 h 6904"/>
                <a:gd name="T16" fmla="*/ 2 w 911"/>
                <a:gd name="T17" fmla="*/ 4133 h 6904"/>
                <a:gd name="T18" fmla="*/ 0 w 911"/>
                <a:gd name="T19" fmla="*/ 3783 h 6904"/>
                <a:gd name="T20" fmla="*/ 13 w 911"/>
                <a:gd name="T21" fmla="*/ 3433 h 6904"/>
                <a:gd name="T22" fmla="*/ 38 w 911"/>
                <a:gd name="T23" fmla="*/ 3084 h 6904"/>
                <a:gd name="T24" fmla="*/ 75 w 911"/>
                <a:gd name="T25" fmla="*/ 2735 h 6904"/>
                <a:gd name="T26" fmla="*/ 125 w 911"/>
                <a:gd name="T27" fmla="*/ 2388 h 6904"/>
                <a:gd name="T28" fmla="*/ 188 w 911"/>
                <a:gd name="T29" fmla="*/ 2041 h 6904"/>
                <a:gd name="T30" fmla="*/ 265 w 911"/>
                <a:gd name="T31" fmla="*/ 1696 h 6904"/>
                <a:gd name="T32" fmla="*/ 354 w 911"/>
                <a:gd name="T33" fmla="*/ 1352 h 6904"/>
                <a:gd name="T34" fmla="*/ 455 w 911"/>
                <a:gd name="T35" fmla="*/ 1011 h 6904"/>
                <a:gd name="T36" fmla="*/ 569 w 911"/>
                <a:gd name="T37" fmla="*/ 671 h 6904"/>
                <a:gd name="T38" fmla="*/ 695 w 911"/>
                <a:gd name="T39" fmla="*/ 335 h 6904"/>
                <a:gd name="T40" fmla="*/ 833 w 911"/>
                <a:gd name="T41" fmla="*/ 0 h 6904"/>
                <a:gd name="T42" fmla="*/ 911 w 911"/>
                <a:gd name="T43" fmla="*/ 19 h 6904"/>
                <a:gd name="T44" fmla="*/ 773 w 911"/>
                <a:gd name="T45" fmla="*/ 351 h 6904"/>
                <a:gd name="T46" fmla="*/ 647 w 911"/>
                <a:gd name="T47" fmla="*/ 687 h 6904"/>
                <a:gd name="T48" fmla="*/ 534 w 911"/>
                <a:gd name="T49" fmla="*/ 1024 h 6904"/>
                <a:gd name="T50" fmla="*/ 434 w 911"/>
                <a:gd name="T51" fmla="*/ 1365 h 6904"/>
                <a:gd name="T52" fmla="*/ 345 w 911"/>
                <a:gd name="T53" fmla="*/ 1706 h 6904"/>
                <a:gd name="T54" fmla="*/ 269 w 911"/>
                <a:gd name="T55" fmla="*/ 2050 h 6904"/>
                <a:gd name="T56" fmla="*/ 206 w 911"/>
                <a:gd name="T57" fmla="*/ 2395 h 6904"/>
                <a:gd name="T58" fmla="*/ 157 w 911"/>
                <a:gd name="T59" fmla="*/ 2742 h 6904"/>
                <a:gd name="T60" fmla="*/ 120 w 911"/>
                <a:gd name="T61" fmla="*/ 3088 h 6904"/>
                <a:gd name="T62" fmla="*/ 95 w 911"/>
                <a:gd name="T63" fmla="*/ 3436 h 6904"/>
                <a:gd name="T64" fmla="*/ 83 w 911"/>
                <a:gd name="T65" fmla="*/ 3784 h 6904"/>
                <a:gd name="T66" fmla="*/ 84 w 911"/>
                <a:gd name="T67" fmla="*/ 4132 h 6904"/>
                <a:gd name="T68" fmla="*/ 97 w 911"/>
                <a:gd name="T69" fmla="*/ 4480 h 6904"/>
                <a:gd name="T70" fmla="*/ 124 w 911"/>
                <a:gd name="T71" fmla="*/ 4827 h 6904"/>
                <a:gd name="T72" fmla="*/ 164 w 911"/>
                <a:gd name="T73" fmla="*/ 5174 h 6904"/>
                <a:gd name="T74" fmla="*/ 215 w 911"/>
                <a:gd name="T75" fmla="*/ 5521 h 6904"/>
                <a:gd name="T76" fmla="*/ 281 w 911"/>
                <a:gd name="T77" fmla="*/ 5865 h 6904"/>
                <a:gd name="T78" fmla="*/ 358 w 911"/>
                <a:gd name="T79" fmla="*/ 6208 h 6904"/>
                <a:gd name="T80" fmla="*/ 448 w 911"/>
                <a:gd name="T81" fmla="*/ 6550 h 6904"/>
                <a:gd name="T82" fmla="*/ 551 w 911"/>
                <a:gd name="T83" fmla="*/ 6889 h 6904"/>
                <a:gd name="T84" fmla="*/ 472 w 911"/>
                <a:gd name="T85" fmla="*/ 6904 h 6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1" h="6904">
                  <a:moveTo>
                    <a:pt x="472" y="6904"/>
                  </a:moveTo>
                  <a:lnTo>
                    <a:pt x="368" y="6563"/>
                  </a:lnTo>
                  <a:lnTo>
                    <a:pt x="277" y="6219"/>
                  </a:lnTo>
                  <a:lnTo>
                    <a:pt x="200" y="5875"/>
                  </a:lnTo>
                  <a:lnTo>
                    <a:pt x="134" y="5528"/>
                  </a:lnTo>
                  <a:lnTo>
                    <a:pt x="81" y="5180"/>
                  </a:lnTo>
                  <a:lnTo>
                    <a:pt x="42" y="4832"/>
                  </a:lnTo>
                  <a:lnTo>
                    <a:pt x="15" y="4482"/>
                  </a:lnTo>
                  <a:lnTo>
                    <a:pt x="2" y="4133"/>
                  </a:lnTo>
                  <a:lnTo>
                    <a:pt x="0" y="3783"/>
                  </a:lnTo>
                  <a:lnTo>
                    <a:pt x="13" y="3433"/>
                  </a:lnTo>
                  <a:lnTo>
                    <a:pt x="38" y="3084"/>
                  </a:lnTo>
                  <a:lnTo>
                    <a:pt x="75" y="2735"/>
                  </a:lnTo>
                  <a:lnTo>
                    <a:pt x="125" y="2388"/>
                  </a:lnTo>
                  <a:lnTo>
                    <a:pt x="188" y="2041"/>
                  </a:lnTo>
                  <a:lnTo>
                    <a:pt x="265" y="1696"/>
                  </a:lnTo>
                  <a:lnTo>
                    <a:pt x="354" y="1352"/>
                  </a:lnTo>
                  <a:lnTo>
                    <a:pt x="455" y="1011"/>
                  </a:lnTo>
                  <a:lnTo>
                    <a:pt x="569" y="671"/>
                  </a:lnTo>
                  <a:lnTo>
                    <a:pt x="695" y="335"/>
                  </a:lnTo>
                  <a:lnTo>
                    <a:pt x="833" y="0"/>
                  </a:lnTo>
                  <a:lnTo>
                    <a:pt x="911" y="19"/>
                  </a:lnTo>
                  <a:lnTo>
                    <a:pt x="773" y="351"/>
                  </a:lnTo>
                  <a:lnTo>
                    <a:pt x="647" y="687"/>
                  </a:lnTo>
                  <a:lnTo>
                    <a:pt x="534" y="1024"/>
                  </a:lnTo>
                  <a:lnTo>
                    <a:pt x="434" y="1365"/>
                  </a:lnTo>
                  <a:lnTo>
                    <a:pt x="345" y="1706"/>
                  </a:lnTo>
                  <a:lnTo>
                    <a:pt x="269" y="2050"/>
                  </a:lnTo>
                  <a:lnTo>
                    <a:pt x="206" y="2395"/>
                  </a:lnTo>
                  <a:lnTo>
                    <a:pt x="157" y="2742"/>
                  </a:lnTo>
                  <a:lnTo>
                    <a:pt x="120" y="3088"/>
                  </a:lnTo>
                  <a:lnTo>
                    <a:pt x="95" y="3436"/>
                  </a:lnTo>
                  <a:lnTo>
                    <a:pt x="83" y="3784"/>
                  </a:lnTo>
                  <a:lnTo>
                    <a:pt x="84" y="4132"/>
                  </a:lnTo>
                  <a:lnTo>
                    <a:pt x="97" y="4480"/>
                  </a:lnTo>
                  <a:lnTo>
                    <a:pt x="124" y="4827"/>
                  </a:lnTo>
                  <a:lnTo>
                    <a:pt x="164" y="5174"/>
                  </a:lnTo>
                  <a:lnTo>
                    <a:pt x="215" y="5521"/>
                  </a:lnTo>
                  <a:lnTo>
                    <a:pt x="281" y="5865"/>
                  </a:lnTo>
                  <a:lnTo>
                    <a:pt x="358" y="6208"/>
                  </a:lnTo>
                  <a:lnTo>
                    <a:pt x="448" y="6550"/>
                  </a:lnTo>
                  <a:lnTo>
                    <a:pt x="551" y="6889"/>
                  </a:lnTo>
                  <a:lnTo>
                    <a:pt x="472" y="6904"/>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675" name="Freeform 123">
              <a:extLst>
                <a:ext uri="{FF2B5EF4-FFF2-40B4-BE49-F238E27FC236}">
                  <a16:creationId xmlns:a16="http://schemas.microsoft.com/office/drawing/2014/main" id="{5881121F-1A68-49A1-92CF-9B55434F019E}"/>
                </a:ext>
              </a:extLst>
            </p:cNvPr>
            <p:cNvSpPr>
              <a:spLocks noChangeAspect="1"/>
            </p:cNvSpPr>
            <p:nvPr/>
          </p:nvSpPr>
          <p:spPr bwMode="auto">
            <a:xfrm>
              <a:off x="3492501" y="2107566"/>
              <a:ext cx="684213" cy="1211263"/>
            </a:xfrm>
            <a:custGeom>
              <a:avLst/>
              <a:gdLst>
                <a:gd name="T0" fmla="*/ 4061 w 4061"/>
                <a:gd name="T1" fmla="*/ 0 h 5379"/>
                <a:gd name="T2" fmla="*/ 919 w 4061"/>
                <a:gd name="T3" fmla="*/ 0 h 5379"/>
                <a:gd name="T4" fmla="*/ 905 w 4061"/>
                <a:gd name="T5" fmla="*/ 5 h 5379"/>
                <a:gd name="T6" fmla="*/ 877 w 4061"/>
                <a:gd name="T7" fmla="*/ 11 h 5379"/>
                <a:gd name="T8" fmla="*/ 857 w 4061"/>
                <a:gd name="T9" fmla="*/ 26 h 5379"/>
                <a:gd name="T10" fmla="*/ 850 w 4061"/>
                <a:gd name="T11" fmla="*/ 41 h 5379"/>
                <a:gd name="T12" fmla="*/ 857 w 4061"/>
                <a:gd name="T13" fmla="*/ 67 h 5379"/>
                <a:gd name="T14" fmla="*/ 856 w 4061"/>
                <a:gd name="T15" fmla="*/ 68 h 5379"/>
                <a:gd name="T16" fmla="*/ 1007 w 4061"/>
                <a:gd name="T17" fmla="*/ 380 h 5379"/>
                <a:gd name="T18" fmla="*/ 1132 w 4061"/>
                <a:gd name="T19" fmla="*/ 699 h 5379"/>
                <a:gd name="T20" fmla="*/ 1231 w 4061"/>
                <a:gd name="T21" fmla="*/ 1022 h 5379"/>
                <a:gd name="T22" fmla="*/ 1303 w 4061"/>
                <a:gd name="T23" fmla="*/ 1350 h 5379"/>
                <a:gd name="T24" fmla="*/ 1347 w 4061"/>
                <a:gd name="T25" fmla="*/ 1680 h 5379"/>
                <a:gd name="T26" fmla="*/ 1364 w 4061"/>
                <a:gd name="T27" fmla="*/ 2011 h 5379"/>
                <a:gd name="T28" fmla="*/ 1352 w 4061"/>
                <a:gd name="T29" fmla="*/ 2344 h 5379"/>
                <a:gd name="T30" fmla="*/ 1313 w 4061"/>
                <a:gd name="T31" fmla="*/ 2674 h 5379"/>
                <a:gd name="T32" fmla="*/ 1246 w 4061"/>
                <a:gd name="T33" fmla="*/ 3003 h 5379"/>
                <a:gd name="T34" fmla="*/ 1153 w 4061"/>
                <a:gd name="T35" fmla="*/ 3327 h 5379"/>
                <a:gd name="T36" fmla="*/ 1031 w 4061"/>
                <a:gd name="T37" fmla="*/ 3646 h 5379"/>
                <a:gd name="T38" fmla="*/ 884 w 4061"/>
                <a:gd name="T39" fmla="*/ 3960 h 5379"/>
                <a:gd name="T40" fmla="*/ 710 w 4061"/>
                <a:gd name="T41" fmla="*/ 4266 h 5379"/>
                <a:gd name="T42" fmla="*/ 511 w 4061"/>
                <a:gd name="T43" fmla="*/ 4562 h 5379"/>
                <a:gd name="T44" fmla="*/ 288 w 4061"/>
                <a:gd name="T45" fmla="*/ 4850 h 5379"/>
                <a:gd name="T46" fmla="*/ 42 w 4061"/>
                <a:gd name="T47" fmla="*/ 5126 h 5379"/>
                <a:gd name="T48" fmla="*/ 43 w 4061"/>
                <a:gd name="T49" fmla="*/ 5132 h 5379"/>
                <a:gd name="T50" fmla="*/ 14 w 4061"/>
                <a:gd name="T51" fmla="*/ 5169 h 5379"/>
                <a:gd name="T52" fmla="*/ 0 w 4061"/>
                <a:gd name="T53" fmla="*/ 5210 h 5379"/>
                <a:gd name="T54" fmla="*/ 3 w 4061"/>
                <a:gd name="T55" fmla="*/ 5252 h 5379"/>
                <a:gd name="T56" fmla="*/ 21 w 4061"/>
                <a:gd name="T57" fmla="*/ 5293 h 5379"/>
                <a:gd name="T58" fmla="*/ 52 w 4061"/>
                <a:gd name="T59" fmla="*/ 5328 h 5379"/>
                <a:gd name="T60" fmla="*/ 96 w 4061"/>
                <a:gd name="T61" fmla="*/ 5355 h 5379"/>
                <a:gd name="T62" fmla="*/ 148 w 4061"/>
                <a:gd name="T63" fmla="*/ 5373 h 5379"/>
                <a:gd name="T64" fmla="*/ 204 w 4061"/>
                <a:gd name="T65" fmla="*/ 5379 h 5379"/>
                <a:gd name="T66" fmla="*/ 263 w 4061"/>
                <a:gd name="T67" fmla="*/ 5379 h 5379"/>
                <a:gd name="T68" fmla="*/ 4061 w 4061"/>
                <a:gd name="T69" fmla="*/ 5379 h 5379"/>
                <a:gd name="T70" fmla="*/ 4061 w 4061"/>
                <a:gd name="T71" fmla="*/ 0 h 5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61" h="5379">
                  <a:moveTo>
                    <a:pt x="4061" y="0"/>
                  </a:moveTo>
                  <a:lnTo>
                    <a:pt x="919" y="0"/>
                  </a:lnTo>
                  <a:lnTo>
                    <a:pt x="905" y="5"/>
                  </a:lnTo>
                  <a:lnTo>
                    <a:pt x="877" y="11"/>
                  </a:lnTo>
                  <a:lnTo>
                    <a:pt x="857" y="26"/>
                  </a:lnTo>
                  <a:lnTo>
                    <a:pt x="850" y="41"/>
                  </a:lnTo>
                  <a:lnTo>
                    <a:pt x="857" y="67"/>
                  </a:lnTo>
                  <a:lnTo>
                    <a:pt x="856" y="68"/>
                  </a:lnTo>
                  <a:lnTo>
                    <a:pt x="1007" y="380"/>
                  </a:lnTo>
                  <a:lnTo>
                    <a:pt x="1132" y="699"/>
                  </a:lnTo>
                  <a:lnTo>
                    <a:pt x="1231" y="1022"/>
                  </a:lnTo>
                  <a:lnTo>
                    <a:pt x="1303" y="1350"/>
                  </a:lnTo>
                  <a:lnTo>
                    <a:pt x="1347" y="1680"/>
                  </a:lnTo>
                  <a:lnTo>
                    <a:pt x="1364" y="2011"/>
                  </a:lnTo>
                  <a:lnTo>
                    <a:pt x="1352" y="2344"/>
                  </a:lnTo>
                  <a:lnTo>
                    <a:pt x="1313" y="2674"/>
                  </a:lnTo>
                  <a:lnTo>
                    <a:pt x="1246" y="3003"/>
                  </a:lnTo>
                  <a:lnTo>
                    <a:pt x="1153" y="3327"/>
                  </a:lnTo>
                  <a:lnTo>
                    <a:pt x="1031" y="3646"/>
                  </a:lnTo>
                  <a:lnTo>
                    <a:pt x="884" y="3960"/>
                  </a:lnTo>
                  <a:lnTo>
                    <a:pt x="710" y="4266"/>
                  </a:lnTo>
                  <a:lnTo>
                    <a:pt x="511" y="4562"/>
                  </a:lnTo>
                  <a:lnTo>
                    <a:pt x="288" y="4850"/>
                  </a:lnTo>
                  <a:lnTo>
                    <a:pt x="42" y="5126"/>
                  </a:lnTo>
                  <a:lnTo>
                    <a:pt x="43" y="5132"/>
                  </a:lnTo>
                  <a:lnTo>
                    <a:pt x="14" y="5169"/>
                  </a:lnTo>
                  <a:lnTo>
                    <a:pt x="0" y="5210"/>
                  </a:lnTo>
                  <a:lnTo>
                    <a:pt x="3" y="5252"/>
                  </a:lnTo>
                  <a:lnTo>
                    <a:pt x="21" y="5293"/>
                  </a:lnTo>
                  <a:lnTo>
                    <a:pt x="52" y="5328"/>
                  </a:lnTo>
                  <a:lnTo>
                    <a:pt x="96" y="5355"/>
                  </a:lnTo>
                  <a:lnTo>
                    <a:pt x="148" y="5373"/>
                  </a:lnTo>
                  <a:lnTo>
                    <a:pt x="204" y="5379"/>
                  </a:lnTo>
                  <a:lnTo>
                    <a:pt x="263" y="5379"/>
                  </a:lnTo>
                  <a:lnTo>
                    <a:pt x="4061" y="5379"/>
                  </a:lnTo>
                  <a:lnTo>
                    <a:pt x="4061" y="0"/>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676" name="Freeform 124">
              <a:extLst>
                <a:ext uri="{FF2B5EF4-FFF2-40B4-BE49-F238E27FC236}">
                  <a16:creationId xmlns:a16="http://schemas.microsoft.com/office/drawing/2014/main" id="{41E7541F-1758-4FDA-979F-027ECD0836F6}"/>
                </a:ext>
              </a:extLst>
            </p:cNvPr>
            <p:cNvSpPr>
              <a:spLocks noChangeAspect="1"/>
            </p:cNvSpPr>
            <p:nvPr/>
          </p:nvSpPr>
          <p:spPr bwMode="auto">
            <a:xfrm>
              <a:off x="3492501" y="2107566"/>
              <a:ext cx="684213" cy="1211263"/>
            </a:xfrm>
            <a:custGeom>
              <a:avLst/>
              <a:gdLst>
                <a:gd name="T0" fmla="*/ 4061 w 4061"/>
                <a:gd name="T1" fmla="*/ 0 h 5379"/>
                <a:gd name="T2" fmla="*/ 919 w 4061"/>
                <a:gd name="T3" fmla="*/ 0 h 5379"/>
                <a:gd name="T4" fmla="*/ 905 w 4061"/>
                <a:gd name="T5" fmla="*/ 5 h 5379"/>
                <a:gd name="T6" fmla="*/ 877 w 4061"/>
                <a:gd name="T7" fmla="*/ 11 h 5379"/>
                <a:gd name="T8" fmla="*/ 857 w 4061"/>
                <a:gd name="T9" fmla="*/ 26 h 5379"/>
                <a:gd name="T10" fmla="*/ 850 w 4061"/>
                <a:gd name="T11" fmla="*/ 41 h 5379"/>
                <a:gd name="T12" fmla="*/ 857 w 4061"/>
                <a:gd name="T13" fmla="*/ 67 h 5379"/>
                <a:gd name="T14" fmla="*/ 856 w 4061"/>
                <a:gd name="T15" fmla="*/ 68 h 5379"/>
                <a:gd name="T16" fmla="*/ 1007 w 4061"/>
                <a:gd name="T17" fmla="*/ 380 h 5379"/>
                <a:gd name="T18" fmla="*/ 1132 w 4061"/>
                <a:gd name="T19" fmla="*/ 699 h 5379"/>
                <a:gd name="T20" fmla="*/ 1231 w 4061"/>
                <a:gd name="T21" fmla="*/ 1022 h 5379"/>
                <a:gd name="T22" fmla="*/ 1303 w 4061"/>
                <a:gd name="T23" fmla="*/ 1350 h 5379"/>
                <a:gd name="T24" fmla="*/ 1347 w 4061"/>
                <a:gd name="T25" fmla="*/ 1680 h 5379"/>
                <a:gd name="T26" fmla="*/ 1364 w 4061"/>
                <a:gd name="T27" fmla="*/ 2011 h 5379"/>
                <a:gd name="T28" fmla="*/ 1352 w 4061"/>
                <a:gd name="T29" fmla="*/ 2344 h 5379"/>
                <a:gd name="T30" fmla="*/ 1313 w 4061"/>
                <a:gd name="T31" fmla="*/ 2674 h 5379"/>
                <a:gd name="T32" fmla="*/ 1246 w 4061"/>
                <a:gd name="T33" fmla="*/ 3003 h 5379"/>
                <a:gd name="T34" fmla="*/ 1153 w 4061"/>
                <a:gd name="T35" fmla="*/ 3327 h 5379"/>
                <a:gd name="T36" fmla="*/ 1031 w 4061"/>
                <a:gd name="T37" fmla="*/ 3646 h 5379"/>
                <a:gd name="T38" fmla="*/ 884 w 4061"/>
                <a:gd name="T39" fmla="*/ 3960 h 5379"/>
                <a:gd name="T40" fmla="*/ 710 w 4061"/>
                <a:gd name="T41" fmla="*/ 4266 h 5379"/>
                <a:gd name="T42" fmla="*/ 511 w 4061"/>
                <a:gd name="T43" fmla="*/ 4562 h 5379"/>
                <a:gd name="T44" fmla="*/ 288 w 4061"/>
                <a:gd name="T45" fmla="*/ 4850 h 5379"/>
                <a:gd name="T46" fmla="*/ 42 w 4061"/>
                <a:gd name="T47" fmla="*/ 5126 h 5379"/>
                <a:gd name="T48" fmla="*/ 43 w 4061"/>
                <a:gd name="T49" fmla="*/ 5132 h 5379"/>
                <a:gd name="T50" fmla="*/ 14 w 4061"/>
                <a:gd name="T51" fmla="*/ 5169 h 5379"/>
                <a:gd name="T52" fmla="*/ 0 w 4061"/>
                <a:gd name="T53" fmla="*/ 5210 h 5379"/>
                <a:gd name="T54" fmla="*/ 3 w 4061"/>
                <a:gd name="T55" fmla="*/ 5252 h 5379"/>
                <a:gd name="T56" fmla="*/ 21 w 4061"/>
                <a:gd name="T57" fmla="*/ 5293 h 5379"/>
                <a:gd name="T58" fmla="*/ 52 w 4061"/>
                <a:gd name="T59" fmla="*/ 5328 h 5379"/>
                <a:gd name="T60" fmla="*/ 96 w 4061"/>
                <a:gd name="T61" fmla="*/ 5355 h 5379"/>
                <a:gd name="T62" fmla="*/ 148 w 4061"/>
                <a:gd name="T63" fmla="*/ 5373 h 5379"/>
                <a:gd name="T64" fmla="*/ 204 w 4061"/>
                <a:gd name="T65" fmla="*/ 5379 h 5379"/>
                <a:gd name="T66" fmla="*/ 263 w 4061"/>
                <a:gd name="T67" fmla="*/ 5379 h 5379"/>
                <a:gd name="T68" fmla="*/ 4061 w 4061"/>
                <a:gd name="T69" fmla="*/ 5379 h 5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61" h="5379">
                  <a:moveTo>
                    <a:pt x="4061" y="0"/>
                  </a:moveTo>
                  <a:lnTo>
                    <a:pt x="919" y="0"/>
                  </a:lnTo>
                  <a:lnTo>
                    <a:pt x="905" y="5"/>
                  </a:lnTo>
                  <a:lnTo>
                    <a:pt x="877" y="11"/>
                  </a:lnTo>
                  <a:lnTo>
                    <a:pt x="857" y="26"/>
                  </a:lnTo>
                  <a:lnTo>
                    <a:pt x="850" y="41"/>
                  </a:lnTo>
                  <a:lnTo>
                    <a:pt x="857" y="67"/>
                  </a:lnTo>
                  <a:lnTo>
                    <a:pt x="856" y="68"/>
                  </a:lnTo>
                  <a:lnTo>
                    <a:pt x="1007" y="380"/>
                  </a:lnTo>
                  <a:lnTo>
                    <a:pt x="1132" y="699"/>
                  </a:lnTo>
                  <a:lnTo>
                    <a:pt x="1231" y="1022"/>
                  </a:lnTo>
                  <a:lnTo>
                    <a:pt x="1303" y="1350"/>
                  </a:lnTo>
                  <a:lnTo>
                    <a:pt x="1347" y="1680"/>
                  </a:lnTo>
                  <a:lnTo>
                    <a:pt x="1364" y="2011"/>
                  </a:lnTo>
                  <a:lnTo>
                    <a:pt x="1352" y="2344"/>
                  </a:lnTo>
                  <a:lnTo>
                    <a:pt x="1313" y="2674"/>
                  </a:lnTo>
                  <a:lnTo>
                    <a:pt x="1246" y="3003"/>
                  </a:lnTo>
                  <a:lnTo>
                    <a:pt x="1153" y="3327"/>
                  </a:lnTo>
                  <a:lnTo>
                    <a:pt x="1031" y="3646"/>
                  </a:lnTo>
                  <a:lnTo>
                    <a:pt x="884" y="3960"/>
                  </a:lnTo>
                  <a:lnTo>
                    <a:pt x="710" y="4266"/>
                  </a:lnTo>
                  <a:lnTo>
                    <a:pt x="511" y="4562"/>
                  </a:lnTo>
                  <a:lnTo>
                    <a:pt x="288" y="4850"/>
                  </a:lnTo>
                  <a:lnTo>
                    <a:pt x="42" y="5126"/>
                  </a:lnTo>
                  <a:lnTo>
                    <a:pt x="43" y="5132"/>
                  </a:lnTo>
                  <a:lnTo>
                    <a:pt x="14" y="5169"/>
                  </a:lnTo>
                  <a:lnTo>
                    <a:pt x="0" y="5210"/>
                  </a:lnTo>
                  <a:lnTo>
                    <a:pt x="3" y="5252"/>
                  </a:lnTo>
                  <a:lnTo>
                    <a:pt x="21" y="5293"/>
                  </a:lnTo>
                  <a:lnTo>
                    <a:pt x="52" y="5328"/>
                  </a:lnTo>
                  <a:lnTo>
                    <a:pt x="96" y="5355"/>
                  </a:lnTo>
                  <a:lnTo>
                    <a:pt x="148" y="5373"/>
                  </a:lnTo>
                  <a:lnTo>
                    <a:pt x="204" y="5379"/>
                  </a:lnTo>
                  <a:lnTo>
                    <a:pt x="263" y="5379"/>
                  </a:lnTo>
                  <a:lnTo>
                    <a:pt x="4061" y="537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677" name="Freeform 125">
              <a:extLst>
                <a:ext uri="{FF2B5EF4-FFF2-40B4-BE49-F238E27FC236}">
                  <a16:creationId xmlns:a16="http://schemas.microsoft.com/office/drawing/2014/main" id="{5B6F6D26-8837-47B3-8052-3EE6E1864E9D}"/>
                </a:ext>
              </a:extLst>
            </p:cNvPr>
            <p:cNvSpPr>
              <a:spLocks noChangeAspect="1"/>
            </p:cNvSpPr>
            <p:nvPr/>
          </p:nvSpPr>
          <p:spPr bwMode="auto">
            <a:xfrm>
              <a:off x="2276475" y="1188403"/>
              <a:ext cx="1809750" cy="3041650"/>
            </a:xfrm>
            <a:custGeom>
              <a:avLst/>
              <a:gdLst>
                <a:gd name="T0" fmla="*/ 10725 w 10725"/>
                <a:gd name="T1" fmla="*/ 6759 h 13518"/>
                <a:gd name="T2" fmla="*/ 10621 w 10725"/>
                <a:gd name="T3" fmla="*/ 5690 h 13518"/>
                <a:gd name="T4" fmla="*/ 10315 w 10725"/>
                <a:gd name="T5" fmla="*/ 4644 h 13518"/>
                <a:gd name="T6" fmla="*/ 9810 w 10725"/>
                <a:gd name="T7" fmla="*/ 3640 h 13518"/>
                <a:gd name="T8" fmla="*/ 9118 w 10725"/>
                <a:gd name="T9" fmla="*/ 2700 h 13518"/>
                <a:gd name="T10" fmla="*/ 8253 w 10725"/>
                <a:gd name="T11" fmla="*/ 1844 h 13518"/>
                <a:gd name="T12" fmla="*/ 7233 w 10725"/>
                <a:gd name="T13" fmla="*/ 1089 h 13518"/>
                <a:gd name="T14" fmla="*/ 6077 w 10725"/>
                <a:gd name="T15" fmla="*/ 451 h 13518"/>
                <a:gd name="T16" fmla="*/ 6077 w 10725"/>
                <a:gd name="T17" fmla="*/ 451 h 13518"/>
                <a:gd name="T18" fmla="*/ 5152 w 10725"/>
                <a:gd name="T19" fmla="*/ 130 h 13518"/>
                <a:gd name="T20" fmla="*/ 4148 w 10725"/>
                <a:gd name="T21" fmla="*/ 0 h 13518"/>
                <a:gd name="T22" fmla="*/ 3132 w 10725"/>
                <a:gd name="T23" fmla="*/ 67 h 13518"/>
                <a:gd name="T24" fmla="*/ 2173 w 10725"/>
                <a:gd name="T25" fmla="*/ 330 h 13518"/>
                <a:gd name="T26" fmla="*/ 1341 w 10725"/>
                <a:gd name="T27" fmla="*/ 769 h 13518"/>
                <a:gd name="T28" fmla="*/ 689 w 10725"/>
                <a:gd name="T29" fmla="*/ 1354 h 13518"/>
                <a:gd name="T30" fmla="*/ 264 w 10725"/>
                <a:gd name="T31" fmla="*/ 2045 h 13518"/>
                <a:gd name="T32" fmla="*/ 95 w 10725"/>
                <a:gd name="T33" fmla="*/ 2794 h 13518"/>
                <a:gd name="T34" fmla="*/ 94 w 10725"/>
                <a:gd name="T35" fmla="*/ 2796 h 13518"/>
                <a:gd name="T36" fmla="*/ 42 w 10725"/>
                <a:gd name="T37" fmla="*/ 4117 h 13518"/>
                <a:gd name="T38" fmla="*/ 11 w 10725"/>
                <a:gd name="T39" fmla="*/ 5438 h 13518"/>
                <a:gd name="T40" fmla="*/ 0 w 10725"/>
                <a:gd name="T41" fmla="*/ 6759 h 13518"/>
                <a:gd name="T42" fmla="*/ 11 w 10725"/>
                <a:gd name="T43" fmla="*/ 8080 h 13518"/>
                <a:gd name="T44" fmla="*/ 42 w 10725"/>
                <a:gd name="T45" fmla="*/ 9400 h 13518"/>
                <a:gd name="T46" fmla="*/ 94 w 10725"/>
                <a:gd name="T47" fmla="*/ 10721 h 13518"/>
                <a:gd name="T48" fmla="*/ 95 w 10725"/>
                <a:gd name="T49" fmla="*/ 10724 h 13518"/>
                <a:gd name="T50" fmla="*/ 264 w 10725"/>
                <a:gd name="T51" fmla="*/ 11473 h 13518"/>
                <a:gd name="T52" fmla="*/ 689 w 10725"/>
                <a:gd name="T53" fmla="*/ 12164 h 13518"/>
                <a:gd name="T54" fmla="*/ 1341 w 10725"/>
                <a:gd name="T55" fmla="*/ 12748 h 13518"/>
                <a:gd name="T56" fmla="*/ 2173 w 10725"/>
                <a:gd name="T57" fmla="*/ 13187 h 13518"/>
                <a:gd name="T58" fmla="*/ 3132 w 10725"/>
                <a:gd name="T59" fmla="*/ 13450 h 13518"/>
                <a:gd name="T60" fmla="*/ 4148 w 10725"/>
                <a:gd name="T61" fmla="*/ 13518 h 13518"/>
                <a:gd name="T62" fmla="*/ 5152 w 10725"/>
                <a:gd name="T63" fmla="*/ 13387 h 13518"/>
                <a:gd name="T64" fmla="*/ 6077 w 10725"/>
                <a:gd name="T65" fmla="*/ 13066 h 13518"/>
                <a:gd name="T66" fmla="*/ 6077 w 10725"/>
                <a:gd name="T67" fmla="*/ 13067 h 13518"/>
                <a:gd name="T68" fmla="*/ 7233 w 10725"/>
                <a:gd name="T69" fmla="*/ 12428 h 13518"/>
                <a:gd name="T70" fmla="*/ 8253 w 10725"/>
                <a:gd name="T71" fmla="*/ 11673 h 13518"/>
                <a:gd name="T72" fmla="*/ 9118 w 10725"/>
                <a:gd name="T73" fmla="*/ 10817 h 13518"/>
                <a:gd name="T74" fmla="*/ 9810 w 10725"/>
                <a:gd name="T75" fmla="*/ 9878 h 13518"/>
                <a:gd name="T76" fmla="*/ 10315 w 10725"/>
                <a:gd name="T77" fmla="*/ 8874 h 13518"/>
                <a:gd name="T78" fmla="*/ 10621 w 10725"/>
                <a:gd name="T79" fmla="*/ 7827 h 13518"/>
                <a:gd name="T80" fmla="*/ 10725 w 10725"/>
                <a:gd name="T81" fmla="*/ 6759 h 13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25" h="13518">
                  <a:moveTo>
                    <a:pt x="10725" y="6759"/>
                  </a:moveTo>
                  <a:lnTo>
                    <a:pt x="10621" y="5690"/>
                  </a:lnTo>
                  <a:lnTo>
                    <a:pt x="10315" y="4644"/>
                  </a:lnTo>
                  <a:lnTo>
                    <a:pt x="9810" y="3640"/>
                  </a:lnTo>
                  <a:lnTo>
                    <a:pt x="9118" y="2700"/>
                  </a:lnTo>
                  <a:lnTo>
                    <a:pt x="8253" y="1844"/>
                  </a:lnTo>
                  <a:lnTo>
                    <a:pt x="7233" y="1089"/>
                  </a:lnTo>
                  <a:lnTo>
                    <a:pt x="6077" y="451"/>
                  </a:lnTo>
                  <a:lnTo>
                    <a:pt x="6077" y="451"/>
                  </a:lnTo>
                  <a:lnTo>
                    <a:pt x="5152" y="130"/>
                  </a:lnTo>
                  <a:lnTo>
                    <a:pt x="4148" y="0"/>
                  </a:lnTo>
                  <a:lnTo>
                    <a:pt x="3132" y="67"/>
                  </a:lnTo>
                  <a:lnTo>
                    <a:pt x="2173" y="330"/>
                  </a:lnTo>
                  <a:lnTo>
                    <a:pt x="1341" y="769"/>
                  </a:lnTo>
                  <a:lnTo>
                    <a:pt x="689" y="1354"/>
                  </a:lnTo>
                  <a:lnTo>
                    <a:pt x="264" y="2045"/>
                  </a:lnTo>
                  <a:lnTo>
                    <a:pt x="95" y="2794"/>
                  </a:lnTo>
                  <a:lnTo>
                    <a:pt x="94" y="2796"/>
                  </a:lnTo>
                  <a:lnTo>
                    <a:pt x="42" y="4117"/>
                  </a:lnTo>
                  <a:lnTo>
                    <a:pt x="11" y="5438"/>
                  </a:lnTo>
                  <a:lnTo>
                    <a:pt x="0" y="6759"/>
                  </a:lnTo>
                  <a:lnTo>
                    <a:pt x="11" y="8080"/>
                  </a:lnTo>
                  <a:lnTo>
                    <a:pt x="42" y="9400"/>
                  </a:lnTo>
                  <a:lnTo>
                    <a:pt x="94" y="10721"/>
                  </a:lnTo>
                  <a:lnTo>
                    <a:pt x="95" y="10724"/>
                  </a:lnTo>
                  <a:lnTo>
                    <a:pt x="264" y="11473"/>
                  </a:lnTo>
                  <a:lnTo>
                    <a:pt x="689" y="12164"/>
                  </a:lnTo>
                  <a:lnTo>
                    <a:pt x="1341" y="12748"/>
                  </a:lnTo>
                  <a:lnTo>
                    <a:pt x="2173" y="13187"/>
                  </a:lnTo>
                  <a:lnTo>
                    <a:pt x="3132" y="13450"/>
                  </a:lnTo>
                  <a:lnTo>
                    <a:pt x="4148" y="13518"/>
                  </a:lnTo>
                  <a:lnTo>
                    <a:pt x="5152" y="13387"/>
                  </a:lnTo>
                  <a:lnTo>
                    <a:pt x="6077" y="13066"/>
                  </a:lnTo>
                  <a:lnTo>
                    <a:pt x="6077" y="13067"/>
                  </a:lnTo>
                  <a:lnTo>
                    <a:pt x="7233" y="12428"/>
                  </a:lnTo>
                  <a:lnTo>
                    <a:pt x="8253" y="11673"/>
                  </a:lnTo>
                  <a:lnTo>
                    <a:pt x="9118" y="10817"/>
                  </a:lnTo>
                  <a:lnTo>
                    <a:pt x="9810" y="9878"/>
                  </a:lnTo>
                  <a:lnTo>
                    <a:pt x="10315" y="8874"/>
                  </a:lnTo>
                  <a:lnTo>
                    <a:pt x="10621" y="7827"/>
                  </a:lnTo>
                  <a:lnTo>
                    <a:pt x="10725" y="675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678" name="Freeform 126">
              <a:extLst>
                <a:ext uri="{FF2B5EF4-FFF2-40B4-BE49-F238E27FC236}">
                  <a16:creationId xmlns:a16="http://schemas.microsoft.com/office/drawing/2014/main" id="{C7AD6F93-9D90-4B3C-80B5-DA2E05D123B8}"/>
                </a:ext>
              </a:extLst>
            </p:cNvPr>
            <p:cNvSpPr>
              <a:spLocks noChangeAspect="1"/>
            </p:cNvSpPr>
            <p:nvPr/>
          </p:nvSpPr>
          <p:spPr bwMode="auto">
            <a:xfrm>
              <a:off x="2468563" y="3463290"/>
              <a:ext cx="80962" cy="96838"/>
            </a:xfrm>
            <a:custGeom>
              <a:avLst/>
              <a:gdLst>
                <a:gd name="T0" fmla="*/ 146 w 480"/>
                <a:gd name="T1" fmla="*/ 0 h 438"/>
                <a:gd name="T2" fmla="*/ 163 w 480"/>
                <a:gd name="T3" fmla="*/ 3 h 438"/>
                <a:gd name="T4" fmla="*/ 178 w 480"/>
                <a:gd name="T5" fmla="*/ 9 h 438"/>
                <a:gd name="T6" fmla="*/ 191 w 480"/>
                <a:gd name="T7" fmla="*/ 18 h 438"/>
                <a:gd name="T8" fmla="*/ 477 w 480"/>
                <a:gd name="T9" fmla="*/ 347 h 438"/>
                <a:gd name="T10" fmla="*/ 480 w 480"/>
                <a:gd name="T11" fmla="*/ 352 h 438"/>
                <a:gd name="T12" fmla="*/ 480 w 480"/>
                <a:gd name="T13" fmla="*/ 358 h 438"/>
                <a:gd name="T14" fmla="*/ 478 w 480"/>
                <a:gd name="T15" fmla="*/ 363 h 438"/>
                <a:gd name="T16" fmla="*/ 472 w 480"/>
                <a:gd name="T17" fmla="*/ 367 h 438"/>
                <a:gd name="T18" fmla="*/ 326 w 480"/>
                <a:gd name="T19" fmla="*/ 438 h 438"/>
                <a:gd name="T20" fmla="*/ 0 w 480"/>
                <a:gd name="T21" fmla="*/ 58 h 438"/>
                <a:gd name="T22" fmla="*/ 128 w 480"/>
                <a:gd name="T23" fmla="*/ 0 h 438"/>
                <a:gd name="T24" fmla="*/ 146 w 480"/>
                <a:gd name="T25"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438">
                  <a:moveTo>
                    <a:pt x="146" y="0"/>
                  </a:moveTo>
                  <a:lnTo>
                    <a:pt x="163" y="3"/>
                  </a:lnTo>
                  <a:lnTo>
                    <a:pt x="178" y="9"/>
                  </a:lnTo>
                  <a:lnTo>
                    <a:pt x="191" y="18"/>
                  </a:lnTo>
                  <a:lnTo>
                    <a:pt x="477" y="347"/>
                  </a:lnTo>
                  <a:lnTo>
                    <a:pt x="480" y="352"/>
                  </a:lnTo>
                  <a:lnTo>
                    <a:pt x="480" y="358"/>
                  </a:lnTo>
                  <a:lnTo>
                    <a:pt x="478" y="363"/>
                  </a:lnTo>
                  <a:lnTo>
                    <a:pt x="472" y="367"/>
                  </a:lnTo>
                  <a:lnTo>
                    <a:pt x="326" y="438"/>
                  </a:lnTo>
                  <a:lnTo>
                    <a:pt x="0" y="58"/>
                  </a:lnTo>
                  <a:lnTo>
                    <a:pt x="128" y="0"/>
                  </a:lnTo>
                  <a:lnTo>
                    <a:pt x="146" y="0"/>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679" name="Freeform 127">
              <a:extLst>
                <a:ext uri="{FF2B5EF4-FFF2-40B4-BE49-F238E27FC236}">
                  <a16:creationId xmlns:a16="http://schemas.microsoft.com/office/drawing/2014/main" id="{AF5D50F4-3BED-4B08-9075-09395C952E69}"/>
                </a:ext>
              </a:extLst>
            </p:cNvPr>
            <p:cNvSpPr>
              <a:spLocks noChangeAspect="1"/>
            </p:cNvSpPr>
            <p:nvPr/>
          </p:nvSpPr>
          <p:spPr bwMode="auto">
            <a:xfrm>
              <a:off x="2468563" y="3463290"/>
              <a:ext cx="80962" cy="96838"/>
            </a:xfrm>
            <a:custGeom>
              <a:avLst/>
              <a:gdLst>
                <a:gd name="T0" fmla="*/ 146 w 480"/>
                <a:gd name="T1" fmla="*/ 0 h 438"/>
                <a:gd name="T2" fmla="*/ 163 w 480"/>
                <a:gd name="T3" fmla="*/ 3 h 438"/>
                <a:gd name="T4" fmla="*/ 178 w 480"/>
                <a:gd name="T5" fmla="*/ 9 h 438"/>
                <a:gd name="T6" fmla="*/ 191 w 480"/>
                <a:gd name="T7" fmla="*/ 18 h 438"/>
                <a:gd name="T8" fmla="*/ 477 w 480"/>
                <a:gd name="T9" fmla="*/ 347 h 438"/>
                <a:gd name="T10" fmla="*/ 480 w 480"/>
                <a:gd name="T11" fmla="*/ 352 h 438"/>
                <a:gd name="T12" fmla="*/ 480 w 480"/>
                <a:gd name="T13" fmla="*/ 358 h 438"/>
                <a:gd name="T14" fmla="*/ 478 w 480"/>
                <a:gd name="T15" fmla="*/ 363 h 438"/>
                <a:gd name="T16" fmla="*/ 472 w 480"/>
                <a:gd name="T17" fmla="*/ 367 h 438"/>
                <a:gd name="T18" fmla="*/ 326 w 480"/>
                <a:gd name="T19" fmla="*/ 438 h 438"/>
                <a:gd name="T20" fmla="*/ 0 w 480"/>
                <a:gd name="T21" fmla="*/ 58 h 438"/>
                <a:gd name="T22" fmla="*/ 128 w 480"/>
                <a:gd name="T23" fmla="*/ 0 h 438"/>
                <a:gd name="T24" fmla="*/ 146 w 480"/>
                <a:gd name="T25"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438">
                  <a:moveTo>
                    <a:pt x="146" y="0"/>
                  </a:moveTo>
                  <a:lnTo>
                    <a:pt x="163" y="3"/>
                  </a:lnTo>
                  <a:lnTo>
                    <a:pt x="178" y="9"/>
                  </a:lnTo>
                  <a:lnTo>
                    <a:pt x="191" y="18"/>
                  </a:lnTo>
                  <a:lnTo>
                    <a:pt x="477" y="347"/>
                  </a:lnTo>
                  <a:lnTo>
                    <a:pt x="480" y="352"/>
                  </a:lnTo>
                  <a:lnTo>
                    <a:pt x="480" y="358"/>
                  </a:lnTo>
                  <a:lnTo>
                    <a:pt x="478" y="363"/>
                  </a:lnTo>
                  <a:lnTo>
                    <a:pt x="472" y="367"/>
                  </a:lnTo>
                  <a:lnTo>
                    <a:pt x="326" y="438"/>
                  </a:lnTo>
                  <a:lnTo>
                    <a:pt x="0" y="58"/>
                  </a:lnTo>
                  <a:lnTo>
                    <a:pt x="128" y="0"/>
                  </a:lnTo>
                  <a:lnTo>
                    <a:pt x="146" y="0"/>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680" name="Freeform 128">
              <a:extLst>
                <a:ext uri="{FF2B5EF4-FFF2-40B4-BE49-F238E27FC236}">
                  <a16:creationId xmlns:a16="http://schemas.microsoft.com/office/drawing/2014/main" id="{64DD9D62-5D2C-4AB6-8CB8-6BA457BACA4D}"/>
                </a:ext>
              </a:extLst>
            </p:cNvPr>
            <p:cNvSpPr>
              <a:spLocks noChangeAspect="1"/>
            </p:cNvSpPr>
            <p:nvPr/>
          </p:nvSpPr>
          <p:spPr bwMode="auto">
            <a:xfrm>
              <a:off x="2522538" y="3544253"/>
              <a:ext cx="95250" cy="107950"/>
            </a:xfrm>
            <a:custGeom>
              <a:avLst/>
              <a:gdLst>
                <a:gd name="T0" fmla="*/ 153 w 560"/>
                <a:gd name="T1" fmla="*/ 0 h 480"/>
                <a:gd name="T2" fmla="*/ 161 w 560"/>
                <a:gd name="T3" fmla="*/ 1 h 480"/>
                <a:gd name="T4" fmla="*/ 168 w 560"/>
                <a:gd name="T5" fmla="*/ 3 h 480"/>
                <a:gd name="T6" fmla="*/ 172 w 560"/>
                <a:gd name="T7" fmla="*/ 7 h 480"/>
                <a:gd name="T8" fmla="*/ 559 w 560"/>
                <a:gd name="T9" fmla="*/ 458 h 480"/>
                <a:gd name="T10" fmla="*/ 560 w 560"/>
                <a:gd name="T11" fmla="*/ 472 h 480"/>
                <a:gd name="T12" fmla="*/ 542 w 560"/>
                <a:gd name="T13" fmla="*/ 480 h 480"/>
                <a:gd name="T14" fmla="*/ 350 w 560"/>
                <a:gd name="T15" fmla="*/ 480 h 480"/>
                <a:gd name="T16" fmla="*/ 0 w 560"/>
                <a:gd name="T17" fmla="*/ 72 h 480"/>
                <a:gd name="T18" fmla="*/ 146 w 560"/>
                <a:gd name="T19" fmla="*/ 2 h 480"/>
                <a:gd name="T20" fmla="*/ 153 w 560"/>
                <a:gd name="T2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0" h="480">
                  <a:moveTo>
                    <a:pt x="153" y="0"/>
                  </a:moveTo>
                  <a:lnTo>
                    <a:pt x="161" y="1"/>
                  </a:lnTo>
                  <a:lnTo>
                    <a:pt x="168" y="3"/>
                  </a:lnTo>
                  <a:lnTo>
                    <a:pt x="172" y="7"/>
                  </a:lnTo>
                  <a:lnTo>
                    <a:pt x="559" y="458"/>
                  </a:lnTo>
                  <a:lnTo>
                    <a:pt x="560" y="472"/>
                  </a:lnTo>
                  <a:lnTo>
                    <a:pt x="542" y="480"/>
                  </a:lnTo>
                  <a:lnTo>
                    <a:pt x="350" y="480"/>
                  </a:lnTo>
                  <a:lnTo>
                    <a:pt x="0" y="72"/>
                  </a:lnTo>
                  <a:lnTo>
                    <a:pt x="146" y="2"/>
                  </a:lnTo>
                  <a:lnTo>
                    <a:pt x="153" y="0"/>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681" name="Freeform 129">
              <a:extLst>
                <a:ext uri="{FF2B5EF4-FFF2-40B4-BE49-F238E27FC236}">
                  <a16:creationId xmlns:a16="http://schemas.microsoft.com/office/drawing/2014/main" id="{02139BCA-FA72-4987-8C0A-AAB69D9C9B2D}"/>
                </a:ext>
              </a:extLst>
            </p:cNvPr>
            <p:cNvSpPr>
              <a:spLocks noChangeAspect="1"/>
            </p:cNvSpPr>
            <p:nvPr/>
          </p:nvSpPr>
          <p:spPr bwMode="auto">
            <a:xfrm>
              <a:off x="2522538" y="3544253"/>
              <a:ext cx="95250" cy="107950"/>
            </a:xfrm>
            <a:custGeom>
              <a:avLst/>
              <a:gdLst>
                <a:gd name="T0" fmla="*/ 153 w 560"/>
                <a:gd name="T1" fmla="*/ 0 h 480"/>
                <a:gd name="T2" fmla="*/ 161 w 560"/>
                <a:gd name="T3" fmla="*/ 1 h 480"/>
                <a:gd name="T4" fmla="*/ 168 w 560"/>
                <a:gd name="T5" fmla="*/ 3 h 480"/>
                <a:gd name="T6" fmla="*/ 172 w 560"/>
                <a:gd name="T7" fmla="*/ 7 h 480"/>
                <a:gd name="T8" fmla="*/ 559 w 560"/>
                <a:gd name="T9" fmla="*/ 458 h 480"/>
                <a:gd name="T10" fmla="*/ 560 w 560"/>
                <a:gd name="T11" fmla="*/ 472 h 480"/>
                <a:gd name="T12" fmla="*/ 542 w 560"/>
                <a:gd name="T13" fmla="*/ 480 h 480"/>
                <a:gd name="T14" fmla="*/ 350 w 560"/>
                <a:gd name="T15" fmla="*/ 480 h 480"/>
                <a:gd name="T16" fmla="*/ 0 w 560"/>
                <a:gd name="T17" fmla="*/ 72 h 480"/>
                <a:gd name="T18" fmla="*/ 146 w 560"/>
                <a:gd name="T19" fmla="*/ 2 h 480"/>
                <a:gd name="T20" fmla="*/ 153 w 560"/>
                <a:gd name="T2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0" h="480">
                  <a:moveTo>
                    <a:pt x="153" y="0"/>
                  </a:moveTo>
                  <a:lnTo>
                    <a:pt x="161" y="1"/>
                  </a:lnTo>
                  <a:lnTo>
                    <a:pt x="168" y="3"/>
                  </a:lnTo>
                  <a:lnTo>
                    <a:pt x="172" y="7"/>
                  </a:lnTo>
                  <a:lnTo>
                    <a:pt x="559" y="458"/>
                  </a:lnTo>
                  <a:lnTo>
                    <a:pt x="560" y="472"/>
                  </a:lnTo>
                  <a:lnTo>
                    <a:pt x="542" y="480"/>
                  </a:lnTo>
                  <a:lnTo>
                    <a:pt x="350" y="480"/>
                  </a:lnTo>
                  <a:lnTo>
                    <a:pt x="0" y="72"/>
                  </a:lnTo>
                  <a:lnTo>
                    <a:pt x="146" y="2"/>
                  </a:lnTo>
                  <a:lnTo>
                    <a:pt x="153" y="0"/>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682" name="Freeform 130">
              <a:extLst>
                <a:ext uri="{FF2B5EF4-FFF2-40B4-BE49-F238E27FC236}">
                  <a16:creationId xmlns:a16="http://schemas.microsoft.com/office/drawing/2014/main" id="{FB68387A-8476-4379-B27F-80B95C17781B}"/>
                </a:ext>
              </a:extLst>
            </p:cNvPr>
            <p:cNvSpPr>
              <a:spLocks noChangeAspect="1"/>
            </p:cNvSpPr>
            <p:nvPr/>
          </p:nvSpPr>
          <p:spPr bwMode="auto">
            <a:xfrm>
              <a:off x="2593975" y="3653791"/>
              <a:ext cx="71438" cy="176213"/>
            </a:xfrm>
            <a:custGeom>
              <a:avLst/>
              <a:gdLst>
                <a:gd name="T0" fmla="*/ 155 w 418"/>
                <a:gd name="T1" fmla="*/ 6 h 781"/>
                <a:gd name="T2" fmla="*/ 157 w 418"/>
                <a:gd name="T3" fmla="*/ 7 h 781"/>
                <a:gd name="T4" fmla="*/ 158 w 418"/>
                <a:gd name="T5" fmla="*/ 9 h 781"/>
                <a:gd name="T6" fmla="*/ 161 w 418"/>
                <a:gd name="T7" fmla="*/ 10 h 781"/>
                <a:gd name="T8" fmla="*/ 162 w 418"/>
                <a:gd name="T9" fmla="*/ 11 h 781"/>
                <a:gd name="T10" fmla="*/ 220 w 418"/>
                <a:gd name="T11" fmla="*/ 87 h 781"/>
                <a:gd name="T12" fmla="*/ 273 w 418"/>
                <a:gd name="T13" fmla="*/ 165 h 781"/>
                <a:gd name="T14" fmla="*/ 317 w 418"/>
                <a:gd name="T15" fmla="*/ 245 h 781"/>
                <a:gd name="T16" fmla="*/ 354 w 418"/>
                <a:gd name="T17" fmla="*/ 327 h 781"/>
                <a:gd name="T18" fmla="*/ 382 w 418"/>
                <a:gd name="T19" fmla="*/ 411 h 781"/>
                <a:gd name="T20" fmla="*/ 403 w 418"/>
                <a:gd name="T21" fmla="*/ 497 h 781"/>
                <a:gd name="T22" fmla="*/ 415 w 418"/>
                <a:gd name="T23" fmla="*/ 583 h 781"/>
                <a:gd name="T24" fmla="*/ 418 w 418"/>
                <a:gd name="T25" fmla="*/ 670 h 781"/>
                <a:gd name="T26" fmla="*/ 415 w 418"/>
                <a:gd name="T27" fmla="*/ 757 h 781"/>
                <a:gd name="T28" fmla="*/ 414 w 418"/>
                <a:gd name="T29" fmla="*/ 762 h 781"/>
                <a:gd name="T30" fmla="*/ 410 w 418"/>
                <a:gd name="T31" fmla="*/ 767 h 781"/>
                <a:gd name="T32" fmla="*/ 407 w 418"/>
                <a:gd name="T33" fmla="*/ 771 h 781"/>
                <a:gd name="T34" fmla="*/ 404 w 418"/>
                <a:gd name="T35" fmla="*/ 773 h 781"/>
                <a:gd name="T36" fmla="*/ 398 w 418"/>
                <a:gd name="T37" fmla="*/ 776 h 781"/>
                <a:gd name="T38" fmla="*/ 392 w 418"/>
                <a:gd name="T39" fmla="*/ 778 h 781"/>
                <a:gd name="T40" fmla="*/ 387 w 418"/>
                <a:gd name="T41" fmla="*/ 781 h 781"/>
                <a:gd name="T42" fmla="*/ 380 w 418"/>
                <a:gd name="T43" fmla="*/ 781 h 781"/>
                <a:gd name="T44" fmla="*/ 0 w 418"/>
                <a:gd name="T45" fmla="*/ 781 h 781"/>
                <a:gd name="T46" fmla="*/ 0 w 418"/>
                <a:gd name="T47" fmla="*/ 0 h 781"/>
                <a:gd name="T48" fmla="*/ 131 w 418"/>
                <a:gd name="T49" fmla="*/ 0 h 781"/>
                <a:gd name="T50" fmla="*/ 135 w 418"/>
                <a:gd name="T51" fmla="*/ 0 h 781"/>
                <a:gd name="T52" fmla="*/ 139 w 418"/>
                <a:gd name="T53" fmla="*/ 0 h 781"/>
                <a:gd name="T54" fmla="*/ 143 w 418"/>
                <a:gd name="T55" fmla="*/ 1 h 781"/>
                <a:gd name="T56" fmla="*/ 146 w 418"/>
                <a:gd name="T57" fmla="*/ 2 h 781"/>
                <a:gd name="T58" fmla="*/ 148 w 418"/>
                <a:gd name="T59" fmla="*/ 2 h 781"/>
                <a:gd name="T60" fmla="*/ 149 w 418"/>
                <a:gd name="T61" fmla="*/ 3 h 781"/>
                <a:gd name="T62" fmla="*/ 152 w 418"/>
                <a:gd name="T63" fmla="*/ 4 h 781"/>
                <a:gd name="T64" fmla="*/ 154 w 418"/>
                <a:gd name="T65" fmla="*/ 5 h 781"/>
                <a:gd name="T66" fmla="*/ 155 w 418"/>
                <a:gd name="T67" fmla="*/ 6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8" h="781">
                  <a:moveTo>
                    <a:pt x="155" y="6"/>
                  </a:moveTo>
                  <a:lnTo>
                    <a:pt x="157" y="7"/>
                  </a:lnTo>
                  <a:lnTo>
                    <a:pt x="158" y="9"/>
                  </a:lnTo>
                  <a:lnTo>
                    <a:pt x="161" y="10"/>
                  </a:lnTo>
                  <a:lnTo>
                    <a:pt x="162" y="11"/>
                  </a:lnTo>
                  <a:lnTo>
                    <a:pt x="220" y="87"/>
                  </a:lnTo>
                  <a:lnTo>
                    <a:pt x="273" y="165"/>
                  </a:lnTo>
                  <a:lnTo>
                    <a:pt x="317" y="245"/>
                  </a:lnTo>
                  <a:lnTo>
                    <a:pt x="354" y="327"/>
                  </a:lnTo>
                  <a:lnTo>
                    <a:pt x="382" y="411"/>
                  </a:lnTo>
                  <a:lnTo>
                    <a:pt x="403" y="497"/>
                  </a:lnTo>
                  <a:lnTo>
                    <a:pt x="415" y="583"/>
                  </a:lnTo>
                  <a:lnTo>
                    <a:pt x="418" y="670"/>
                  </a:lnTo>
                  <a:lnTo>
                    <a:pt x="415" y="757"/>
                  </a:lnTo>
                  <a:lnTo>
                    <a:pt x="414" y="762"/>
                  </a:lnTo>
                  <a:lnTo>
                    <a:pt x="410" y="767"/>
                  </a:lnTo>
                  <a:lnTo>
                    <a:pt x="407" y="771"/>
                  </a:lnTo>
                  <a:lnTo>
                    <a:pt x="404" y="773"/>
                  </a:lnTo>
                  <a:lnTo>
                    <a:pt x="398" y="776"/>
                  </a:lnTo>
                  <a:lnTo>
                    <a:pt x="392" y="778"/>
                  </a:lnTo>
                  <a:lnTo>
                    <a:pt x="387" y="781"/>
                  </a:lnTo>
                  <a:lnTo>
                    <a:pt x="380" y="781"/>
                  </a:lnTo>
                  <a:lnTo>
                    <a:pt x="0" y="781"/>
                  </a:lnTo>
                  <a:lnTo>
                    <a:pt x="0" y="0"/>
                  </a:lnTo>
                  <a:lnTo>
                    <a:pt x="131" y="0"/>
                  </a:lnTo>
                  <a:lnTo>
                    <a:pt x="135" y="0"/>
                  </a:lnTo>
                  <a:lnTo>
                    <a:pt x="139" y="0"/>
                  </a:lnTo>
                  <a:lnTo>
                    <a:pt x="143" y="1"/>
                  </a:lnTo>
                  <a:lnTo>
                    <a:pt x="146" y="2"/>
                  </a:lnTo>
                  <a:lnTo>
                    <a:pt x="148" y="2"/>
                  </a:lnTo>
                  <a:lnTo>
                    <a:pt x="149" y="3"/>
                  </a:lnTo>
                  <a:lnTo>
                    <a:pt x="152" y="4"/>
                  </a:lnTo>
                  <a:lnTo>
                    <a:pt x="154" y="5"/>
                  </a:lnTo>
                  <a:lnTo>
                    <a:pt x="155" y="6"/>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683" name="Freeform 131">
              <a:extLst>
                <a:ext uri="{FF2B5EF4-FFF2-40B4-BE49-F238E27FC236}">
                  <a16:creationId xmlns:a16="http://schemas.microsoft.com/office/drawing/2014/main" id="{A22ADEE6-0634-4A48-804E-AC630CF9FECA}"/>
                </a:ext>
              </a:extLst>
            </p:cNvPr>
            <p:cNvSpPr>
              <a:spLocks noChangeAspect="1"/>
            </p:cNvSpPr>
            <p:nvPr/>
          </p:nvSpPr>
          <p:spPr bwMode="auto">
            <a:xfrm>
              <a:off x="2593975" y="3653791"/>
              <a:ext cx="71438" cy="176213"/>
            </a:xfrm>
            <a:custGeom>
              <a:avLst/>
              <a:gdLst>
                <a:gd name="T0" fmla="*/ 155 w 418"/>
                <a:gd name="T1" fmla="*/ 6 h 781"/>
                <a:gd name="T2" fmla="*/ 157 w 418"/>
                <a:gd name="T3" fmla="*/ 7 h 781"/>
                <a:gd name="T4" fmla="*/ 158 w 418"/>
                <a:gd name="T5" fmla="*/ 9 h 781"/>
                <a:gd name="T6" fmla="*/ 161 w 418"/>
                <a:gd name="T7" fmla="*/ 10 h 781"/>
                <a:gd name="T8" fmla="*/ 162 w 418"/>
                <a:gd name="T9" fmla="*/ 11 h 781"/>
                <a:gd name="T10" fmla="*/ 220 w 418"/>
                <a:gd name="T11" fmla="*/ 87 h 781"/>
                <a:gd name="T12" fmla="*/ 273 w 418"/>
                <a:gd name="T13" fmla="*/ 165 h 781"/>
                <a:gd name="T14" fmla="*/ 317 w 418"/>
                <a:gd name="T15" fmla="*/ 245 h 781"/>
                <a:gd name="T16" fmla="*/ 354 w 418"/>
                <a:gd name="T17" fmla="*/ 327 h 781"/>
                <a:gd name="T18" fmla="*/ 382 w 418"/>
                <a:gd name="T19" fmla="*/ 411 h 781"/>
                <a:gd name="T20" fmla="*/ 403 w 418"/>
                <a:gd name="T21" fmla="*/ 497 h 781"/>
                <a:gd name="T22" fmla="*/ 415 w 418"/>
                <a:gd name="T23" fmla="*/ 583 h 781"/>
                <a:gd name="T24" fmla="*/ 418 w 418"/>
                <a:gd name="T25" fmla="*/ 670 h 781"/>
                <a:gd name="T26" fmla="*/ 415 w 418"/>
                <a:gd name="T27" fmla="*/ 757 h 781"/>
                <a:gd name="T28" fmla="*/ 414 w 418"/>
                <a:gd name="T29" fmla="*/ 762 h 781"/>
                <a:gd name="T30" fmla="*/ 410 w 418"/>
                <a:gd name="T31" fmla="*/ 767 h 781"/>
                <a:gd name="T32" fmla="*/ 407 w 418"/>
                <a:gd name="T33" fmla="*/ 771 h 781"/>
                <a:gd name="T34" fmla="*/ 404 w 418"/>
                <a:gd name="T35" fmla="*/ 773 h 781"/>
                <a:gd name="T36" fmla="*/ 398 w 418"/>
                <a:gd name="T37" fmla="*/ 776 h 781"/>
                <a:gd name="T38" fmla="*/ 392 w 418"/>
                <a:gd name="T39" fmla="*/ 778 h 781"/>
                <a:gd name="T40" fmla="*/ 387 w 418"/>
                <a:gd name="T41" fmla="*/ 781 h 781"/>
                <a:gd name="T42" fmla="*/ 380 w 418"/>
                <a:gd name="T43" fmla="*/ 781 h 781"/>
                <a:gd name="T44" fmla="*/ 0 w 418"/>
                <a:gd name="T45" fmla="*/ 781 h 781"/>
                <a:gd name="T46" fmla="*/ 0 w 418"/>
                <a:gd name="T47" fmla="*/ 0 h 781"/>
                <a:gd name="T48" fmla="*/ 131 w 418"/>
                <a:gd name="T49" fmla="*/ 0 h 781"/>
                <a:gd name="T50" fmla="*/ 135 w 418"/>
                <a:gd name="T51" fmla="*/ 0 h 781"/>
                <a:gd name="T52" fmla="*/ 139 w 418"/>
                <a:gd name="T53" fmla="*/ 0 h 781"/>
                <a:gd name="T54" fmla="*/ 143 w 418"/>
                <a:gd name="T55" fmla="*/ 1 h 781"/>
                <a:gd name="T56" fmla="*/ 146 w 418"/>
                <a:gd name="T57" fmla="*/ 2 h 781"/>
                <a:gd name="T58" fmla="*/ 148 w 418"/>
                <a:gd name="T59" fmla="*/ 2 h 781"/>
                <a:gd name="T60" fmla="*/ 149 w 418"/>
                <a:gd name="T61" fmla="*/ 3 h 781"/>
                <a:gd name="T62" fmla="*/ 152 w 418"/>
                <a:gd name="T63" fmla="*/ 4 h 781"/>
                <a:gd name="T64" fmla="*/ 154 w 418"/>
                <a:gd name="T65" fmla="*/ 5 h 781"/>
                <a:gd name="T66" fmla="*/ 155 w 418"/>
                <a:gd name="T67" fmla="*/ 6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8" h="781">
                  <a:moveTo>
                    <a:pt x="155" y="6"/>
                  </a:moveTo>
                  <a:lnTo>
                    <a:pt x="157" y="7"/>
                  </a:lnTo>
                  <a:lnTo>
                    <a:pt x="158" y="9"/>
                  </a:lnTo>
                  <a:lnTo>
                    <a:pt x="161" y="10"/>
                  </a:lnTo>
                  <a:lnTo>
                    <a:pt x="162" y="11"/>
                  </a:lnTo>
                  <a:lnTo>
                    <a:pt x="220" y="87"/>
                  </a:lnTo>
                  <a:lnTo>
                    <a:pt x="273" y="165"/>
                  </a:lnTo>
                  <a:lnTo>
                    <a:pt x="317" y="245"/>
                  </a:lnTo>
                  <a:lnTo>
                    <a:pt x="354" y="327"/>
                  </a:lnTo>
                  <a:lnTo>
                    <a:pt x="382" y="411"/>
                  </a:lnTo>
                  <a:lnTo>
                    <a:pt x="403" y="497"/>
                  </a:lnTo>
                  <a:lnTo>
                    <a:pt x="415" y="583"/>
                  </a:lnTo>
                  <a:lnTo>
                    <a:pt x="418" y="670"/>
                  </a:lnTo>
                  <a:lnTo>
                    <a:pt x="415" y="757"/>
                  </a:lnTo>
                  <a:lnTo>
                    <a:pt x="414" y="762"/>
                  </a:lnTo>
                  <a:lnTo>
                    <a:pt x="410" y="767"/>
                  </a:lnTo>
                  <a:lnTo>
                    <a:pt x="407" y="771"/>
                  </a:lnTo>
                  <a:lnTo>
                    <a:pt x="404" y="773"/>
                  </a:lnTo>
                  <a:lnTo>
                    <a:pt x="398" y="776"/>
                  </a:lnTo>
                  <a:lnTo>
                    <a:pt x="392" y="778"/>
                  </a:lnTo>
                  <a:lnTo>
                    <a:pt x="387" y="781"/>
                  </a:lnTo>
                  <a:lnTo>
                    <a:pt x="380" y="781"/>
                  </a:lnTo>
                  <a:lnTo>
                    <a:pt x="0" y="781"/>
                  </a:lnTo>
                  <a:lnTo>
                    <a:pt x="0" y="0"/>
                  </a:lnTo>
                  <a:lnTo>
                    <a:pt x="131" y="0"/>
                  </a:lnTo>
                  <a:lnTo>
                    <a:pt x="135" y="0"/>
                  </a:lnTo>
                  <a:lnTo>
                    <a:pt x="139" y="0"/>
                  </a:lnTo>
                  <a:lnTo>
                    <a:pt x="143" y="1"/>
                  </a:lnTo>
                  <a:lnTo>
                    <a:pt x="146" y="2"/>
                  </a:lnTo>
                  <a:lnTo>
                    <a:pt x="148" y="2"/>
                  </a:lnTo>
                  <a:lnTo>
                    <a:pt x="149" y="3"/>
                  </a:lnTo>
                  <a:lnTo>
                    <a:pt x="152" y="4"/>
                  </a:lnTo>
                  <a:lnTo>
                    <a:pt x="154" y="5"/>
                  </a:lnTo>
                  <a:lnTo>
                    <a:pt x="155" y="6"/>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684" name="Freeform 132">
              <a:extLst>
                <a:ext uri="{FF2B5EF4-FFF2-40B4-BE49-F238E27FC236}">
                  <a16:creationId xmlns:a16="http://schemas.microsoft.com/office/drawing/2014/main" id="{4C46F875-7965-4773-B9D1-3AA187C73829}"/>
                </a:ext>
              </a:extLst>
            </p:cNvPr>
            <p:cNvSpPr>
              <a:spLocks noChangeAspect="1"/>
            </p:cNvSpPr>
            <p:nvPr/>
          </p:nvSpPr>
          <p:spPr bwMode="auto">
            <a:xfrm>
              <a:off x="2563813" y="3831591"/>
              <a:ext cx="95250" cy="180975"/>
            </a:xfrm>
            <a:custGeom>
              <a:avLst/>
              <a:gdLst>
                <a:gd name="T0" fmla="*/ 545 w 563"/>
                <a:gd name="T1" fmla="*/ 3 h 802"/>
                <a:gd name="T2" fmla="*/ 557 w 563"/>
                <a:gd name="T3" fmla="*/ 10 h 802"/>
                <a:gd name="T4" fmla="*/ 563 w 563"/>
                <a:gd name="T5" fmla="*/ 21 h 802"/>
                <a:gd name="T6" fmla="*/ 562 w 563"/>
                <a:gd name="T7" fmla="*/ 33 h 802"/>
                <a:gd name="T8" fmla="*/ 241 w 563"/>
                <a:gd name="T9" fmla="*/ 727 h 802"/>
                <a:gd name="T10" fmla="*/ 238 w 563"/>
                <a:gd name="T11" fmla="*/ 732 h 802"/>
                <a:gd name="T12" fmla="*/ 232 w 563"/>
                <a:gd name="T13" fmla="*/ 735 h 802"/>
                <a:gd name="T14" fmla="*/ 226 w 563"/>
                <a:gd name="T15" fmla="*/ 736 h 802"/>
                <a:gd name="T16" fmla="*/ 219 w 563"/>
                <a:gd name="T17" fmla="*/ 735 h 802"/>
                <a:gd name="T18" fmla="*/ 216 w 563"/>
                <a:gd name="T19" fmla="*/ 734 h 802"/>
                <a:gd name="T20" fmla="*/ 211 w 563"/>
                <a:gd name="T21" fmla="*/ 734 h 802"/>
                <a:gd name="T22" fmla="*/ 204 w 563"/>
                <a:gd name="T23" fmla="*/ 735 h 802"/>
                <a:gd name="T24" fmla="*/ 198 w 563"/>
                <a:gd name="T25" fmla="*/ 737 h 802"/>
                <a:gd name="T26" fmla="*/ 113 w 563"/>
                <a:gd name="T27" fmla="*/ 802 h 802"/>
                <a:gd name="T28" fmla="*/ 0 w 563"/>
                <a:gd name="T29" fmla="*/ 718 h 802"/>
                <a:gd name="T30" fmla="*/ 331 w 563"/>
                <a:gd name="T31" fmla="*/ 0 h 802"/>
                <a:gd name="T32" fmla="*/ 441 w 563"/>
                <a:gd name="T33" fmla="*/ 28 h 802"/>
                <a:gd name="T34" fmla="*/ 454 w 563"/>
                <a:gd name="T35" fmla="*/ 0 h 802"/>
                <a:gd name="T36" fmla="*/ 529 w 563"/>
                <a:gd name="T37" fmla="*/ 0 h 802"/>
                <a:gd name="T38" fmla="*/ 545 w 563"/>
                <a:gd name="T39" fmla="*/ 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3" h="802">
                  <a:moveTo>
                    <a:pt x="545" y="3"/>
                  </a:moveTo>
                  <a:lnTo>
                    <a:pt x="557" y="10"/>
                  </a:lnTo>
                  <a:lnTo>
                    <a:pt x="563" y="21"/>
                  </a:lnTo>
                  <a:lnTo>
                    <a:pt x="562" y="33"/>
                  </a:lnTo>
                  <a:lnTo>
                    <a:pt x="241" y="727"/>
                  </a:lnTo>
                  <a:lnTo>
                    <a:pt x="238" y="732"/>
                  </a:lnTo>
                  <a:lnTo>
                    <a:pt x="232" y="735"/>
                  </a:lnTo>
                  <a:lnTo>
                    <a:pt x="226" y="736"/>
                  </a:lnTo>
                  <a:lnTo>
                    <a:pt x="219" y="735"/>
                  </a:lnTo>
                  <a:lnTo>
                    <a:pt x="216" y="734"/>
                  </a:lnTo>
                  <a:lnTo>
                    <a:pt x="211" y="734"/>
                  </a:lnTo>
                  <a:lnTo>
                    <a:pt x="204" y="735"/>
                  </a:lnTo>
                  <a:lnTo>
                    <a:pt x="198" y="737"/>
                  </a:lnTo>
                  <a:lnTo>
                    <a:pt x="113" y="802"/>
                  </a:lnTo>
                  <a:lnTo>
                    <a:pt x="0" y="718"/>
                  </a:lnTo>
                  <a:lnTo>
                    <a:pt x="331" y="0"/>
                  </a:lnTo>
                  <a:lnTo>
                    <a:pt x="441" y="28"/>
                  </a:lnTo>
                  <a:lnTo>
                    <a:pt x="454" y="0"/>
                  </a:lnTo>
                  <a:lnTo>
                    <a:pt x="529" y="0"/>
                  </a:lnTo>
                  <a:lnTo>
                    <a:pt x="545" y="3"/>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685" name="Freeform 133">
              <a:extLst>
                <a:ext uri="{FF2B5EF4-FFF2-40B4-BE49-F238E27FC236}">
                  <a16:creationId xmlns:a16="http://schemas.microsoft.com/office/drawing/2014/main" id="{B5FFC8C5-0027-4FEC-BDE1-62CD6141C02B}"/>
                </a:ext>
              </a:extLst>
            </p:cNvPr>
            <p:cNvSpPr>
              <a:spLocks noChangeAspect="1"/>
            </p:cNvSpPr>
            <p:nvPr/>
          </p:nvSpPr>
          <p:spPr bwMode="auto">
            <a:xfrm>
              <a:off x="2563813" y="3831591"/>
              <a:ext cx="95250" cy="180975"/>
            </a:xfrm>
            <a:custGeom>
              <a:avLst/>
              <a:gdLst>
                <a:gd name="T0" fmla="*/ 545 w 563"/>
                <a:gd name="T1" fmla="*/ 3 h 802"/>
                <a:gd name="T2" fmla="*/ 557 w 563"/>
                <a:gd name="T3" fmla="*/ 10 h 802"/>
                <a:gd name="T4" fmla="*/ 563 w 563"/>
                <a:gd name="T5" fmla="*/ 21 h 802"/>
                <a:gd name="T6" fmla="*/ 562 w 563"/>
                <a:gd name="T7" fmla="*/ 33 h 802"/>
                <a:gd name="T8" fmla="*/ 241 w 563"/>
                <a:gd name="T9" fmla="*/ 727 h 802"/>
                <a:gd name="T10" fmla="*/ 238 w 563"/>
                <a:gd name="T11" fmla="*/ 732 h 802"/>
                <a:gd name="T12" fmla="*/ 232 w 563"/>
                <a:gd name="T13" fmla="*/ 735 h 802"/>
                <a:gd name="T14" fmla="*/ 226 w 563"/>
                <a:gd name="T15" fmla="*/ 736 h 802"/>
                <a:gd name="T16" fmla="*/ 219 w 563"/>
                <a:gd name="T17" fmla="*/ 735 h 802"/>
                <a:gd name="T18" fmla="*/ 216 w 563"/>
                <a:gd name="T19" fmla="*/ 734 h 802"/>
                <a:gd name="T20" fmla="*/ 211 w 563"/>
                <a:gd name="T21" fmla="*/ 734 h 802"/>
                <a:gd name="T22" fmla="*/ 204 w 563"/>
                <a:gd name="T23" fmla="*/ 735 h 802"/>
                <a:gd name="T24" fmla="*/ 198 w 563"/>
                <a:gd name="T25" fmla="*/ 737 h 802"/>
                <a:gd name="T26" fmla="*/ 113 w 563"/>
                <a:gd name="T27" fmla="*/ 802 h 802"/>
                <a:gd name="T28" fmla="*/ 0 w 563"/>
                <a:gd name="T29" fmla="*/ 718 h 802"/>
                <a:gd name="T30" fmla="*/ 331 w 563"/>
                <a:gd name="T31" fmla="*/ 0 h 802"/>
                <a:gd name="T32" fmla="*/ 441 w 563"/>
                <a:gd name="T33" fmla="*/ 28 h 802"/>
                <a:gd name="T34" fmla="*/ 454 w 563"/>
                <a:gd name="T35" fmla="*/ 0 h 802"/>
                <a:gd name="T36" fmla="*/ 529 w 563"/>
                <a:gd name="T37" fmla="*/ 0 h 802"/>
                <a:gd name="T38" fmla="*/ 545 w 563"/>
                <a:gd name="T39" fmla="*/ 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3" h="802">
                  <a:moveTo>
                    <a:pt x="545" y="3"/>
                  </a:moveTo>
                  <a:lnTo>
                    <a:pt x="557" y="10"/>
                  </a:lnTo>
                  <a:lnTo>
                    <a:pt x="563" y="21"/>
                  </a:lnTo>
                  <a:lnTo>
                    <a:pt x="562" y="33"/>
                  </a:lnTo>
                  <a:lnTo>
                    <a:pt x="241" y="727"/>
                  </a:lnTo>
                  <a:lnTo>
                    <a:pt x="238" y="732"/>
                  </a:lnTo>
                  <a:lnTo>
                    <a:pt x="232" y="735"/>
                  </a:lnTo>
                  <a:lnTo>
                    <a:pt x="226" y="736"/>
                  </a:lnTo>
                  <a:lnTo>
                    <a:pt x="219" y="735"/>
                  </a:lnTo>
                  <a:lnTo>
                    <a:pt x="216" y="734"/>
                  </a:lnTo>
                  <a:lnTo>
                    <a:pt x="211" y="734"/>
                  </a:lnTo>
                  <a:lnTo>
                    <a:pt x="204" y="735"/>
                  </a:lnTo>
                  <a:lnTo>
                    <a:pt x="198" y="737"/>
                  </a:lnTo>
                  <a:lnTo>
                    <a:pt x="113" y="802"/>
                  </a:lnTo>
                  <a:lnTo>
                    <a:pt x="0" y="718"/>
                  </a:lnTo>
                  <a:lnTo>
                    <a:pt x="331" y="0"/>
                  </a:lnTo>
                  <a:lnTo>
                    <a:pt x="441" y="28"/>
                  </a:lnTo>
                  <a:lnTo>
                    <a:pt x="454" y="0"/>
                  </a:lnTo>
                  <a:lnTo>
                    <a:pt x="529" y="0"/>
                  </a:lnTo>
                  <a:lnTo>
                    <a:pt x="545" y="3"/>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686" name="Freeform 134">
              <a:extLst>
                <a:ext uri="{FF2B5EF4-FFF2-40B4-BE49-F238E27FC236}">
                  <a16:creationId xmlns:a16="http://schemas.microsoft.com/office/drawing/2014/main" id="{897B3A04-D6AF-4424-9808-EB4C361DF797}"/>
                </a:ext>
              </a:extLst>
            </p:cNvPr>
            <p:cNvSpPr>
              <a:spLocks noChangeAspect="1"/>
            </p:cNvSpPr>
            <p:nvPr/>
          </p:nvSpPr>
          <p:spPr bwMode="auto">
            <a:xfrm>
              <a:off x="2582863" y="3998278"/>
              <a:ext cx="30162" cy="31750"/>
            </a:xfrm>
            <a:custGeom>
              <a:avLst/>
              <a:gdLst>
                <a:gd name="T0" fmla="*/ 101 w 183"/>
                <a:gd name="T1" fmla="*/ 1 h 149"/>
                <a:gd name="T2" fmla="*/ 106 w 183"/>
                <a:gd name="T3" fmla="*/ 4 h 149"/>
                <a:gd name="T4" fmla="*/ 115 w 183"/>
                <a:gd name="T5" fmla="*/ 15 h 149"/>
                <a:gd name="T6" fmla="*/ 181 w 183"/>
                <a:gd name="T7" fmla="*/ 85 h 149"/>
                <a:gd name="T8" fmla="*/ 183 w 183"/>
                <a:gd name="T9" fmla="*/ 88 h 149"/>
                <a:gd name="T10" fmla="*/ 183 w 183"/>
                <a:gd name="T11" fmla="*/ 91 h 149"/>
                <a:gd name="T12" fmla="*/ 181 w 183"/>
                <a:gd name="T13" fmla="*/ 95 h 149"/>
                <a:gd name="T14" fmla="*/ 179 w 183"/>
                <a:gd name="T15" fmla="*/ 97 h 149"/>
                <a:gd name="T16" fmla="*/ 110 w 183"/>
                <a:gd name="T17" fmla="*/ 149 h 149"/>
                <a:gd name="T18" fmla="*/ 0 w 183"/>
                <a:gd name="T19" fmla="*/ 66 h 149"/>
                <a:gd name="T20" fmla="*/ 84 w 183"/>
                <a:gd name="T21" fmla="*/ 3 h 149"/>
                <a:gd name="T22" fmla="*/ 89 w 183"/>
                <a:gd name="T23" fmla="*/ 0 h 149"/>
                <a:gd name="T24" fmla="*/ 95 w 183"/>
                <a:gd name="T25" fmla="*/ 0 h 149"/>
                <a:gd name="T26" fmla="*/ 101 w 183"/>
                <a:gd name="T27" fmla="*/ 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3" h="149">
                  <a:moveTo>
                    <a:pt x="101" y="1"/>
                  </a:moveTo>
                  <a:lnTo>
                    <a:pt x="106" y="4"/>
                  </a:lnTo>
                  <a:lnTo>
                    <a:pt x="115" y="15"/>
                  </a:lnTo>
                  <a:lnTo>
                    <a:pt x="181" y="85"/>
                  </a:lnTo>
                  <a:lnTo>
                    <a:pt x="183" y="88"/>
                  </a:lnTo>
                  <a:lnTo>
                    <a:pt x="183" y="91"/>
                  </a:lnTo>
                  <a:lnTo>
                    <a:pt x="181" y="95"/>
                  </a:lnTo>
                  <a:lnTo>
                    <a:pt x="179" y="97"/>
                  </a:lnTo>
                  <a:lnTo>
                    <a:pt x="110" y="149"/>
                  </a:lnTo>
                  <a:lnTo>
                    <a:pt x="0" y="66"/>
                  </a:lnTo>
                  <a:lnTo>
                    <a:pt x="84" y="3"/>
                  </a:lnTo>
                  <a:lnTo>
                    <a:pt x="89" y="0"/>
                  </a:lnTo>
                  <a:lnTo>
                    <a:pt x="95" y="0"/>
                  </a:lnTo>
                  <a:lnTo>
                    <a:pt x="101" y="1"/>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687" name="Freeform 135">
              <a:extLst>
                <a:ext uri="{FF2B5EF4-FFF2-40B4-BE49-F238E27FC236}">
                  <a16:creationId xmlns:a16="http://schemas.microsoft.com/office/drawing/2014/main" id="{D1687490-8055-4DA3-96C9-6DF8954B58D0}"/>
                </a:ext>
              </a:extLst>
            </p:cNvPr>
            <p:cNvSpPr>
              <a:spLocks noChangeAspect="1"/>
            </p:cNvSpPr>
            <p:nvPr/>
          </p:nvSpPr>
          <p:spPr bwMode="auto">
            <a:xfrm>
              <a:off x="2582863" y="3998278"/>
              <a:ext cx="30162" cy="31750"/>
            </a:xfrm>
            <a:custGeom>
              <a:avLst/>
              <a:gdLst>
                <a:gd name="T0" fmla="*/ 101 w 183"/>
                <a:gd name="T1" fmla="*/ 1 h 149"/>
                <a:gd name="T2" fmla="*/ 106 w 183"/>
                <a:gd name="T3" fmla="*/ 4 h 149"/>
                <a:gd name="T4" fmla="*/ 115 w 183"/>
                <a:gd name="T5" fmla="*/ 15 h 149"/>
                <a:gd name="T6" fmla="*/ 181 w 183"/>
                <a:gd name="T7" fmla="*/ 85 h 149"/>
                <a:gd name="T8" fmla="*/ 183 w 183"/>
                <a:gd name="T9" fmla="*/ 88 h 149"/>
                <a:gd name="T10" fmla="*/ 183 w 183"/>
                <a:gd name="T11" fmla="*/ 91 h 149"/>
                <a:gd name="T12" fmla="*/ 181 w 183"/>
                <a:gd name="T13" fmla="*/ 95 h 149"/>
                <a:gd name="T14" fmla="*/ 179 w 183"/>
                <a:gd name="T15" fmla="*/ 97 h 149"/>
                <a:gd name="T16" fmla="*/ 110 w 183"/>
                <a:gd name="T17" fmla="*/ 149 h 149"/>
                <a:gd name="T18" fmla="*/ 0 w 183"/>
                <a:gd name="T19" fmla="*/ 66 h 149"/>
                <a:gd name="T20" fmla="*/ 84 w 183"/>
                <a:gd name="T21" fmla="*/ 3 h 149"/>
                <a:gd name="T22" fmla="*/ 89 w 183"/>
                <a:gd name="T23" fmla="*/ 0 h 149"/>
                <a:gd name="T24" fmla="*/ 95 w 183"/>
                <a:gd name="T25" fmla="*/ 0 h 149"/>
                <a:gd name="T26" fmla="*/ 101 w 183"/>
                <a:gd name="T27" fmla="*/ 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3" h="149">
                  <a:moveTo>
                    <a:pt x="101" y="1"/>
                  </a:moveTo>
                  <a:lnTo>
                    <a:pt x="106" y="4"/>
                  </a:lnTo>
                  <a:lnTo>
                    <a:pt x="115" y="15"/>
                  </a:lnTo>
                  <a:lnTo>
                    <a:pt x="181" y="85"/>
                  </a:lnTo>
                  <a:lnTo>
                    <a:pt x="183" y="88"/>
                  </a:lnTo>
                  <a:lnTo>
                    <a:pt x="183" y="91"/>
                  </a:lnTo>
                  <a:lnTo>
                    <a:pt x="181" y="95"/>
                  </a:lnTo>
                  <a:lnTo>
                    <a:pt x="179" y="97"/>
                  </a:lnTo>
                  <a:lnTo>
                    <a:pt x="110" y="149"/>
                  </a:lnTo>
                  <a:lnTo>
                    <a:pt x="0" y="66"/>
                  </a:lnTo>
                  <a:lnTo>
                    <a:pt x="84" y="3"/>
                  </a:lnTo>
                  <a:lnTo>
                    <a:pt x="89" y="0"/>
                  </a:lnTo>
                  <a:lnTo>
                    <a:pt x="95" y="0"/>
                  </a:lnTo>
                  <a:lnTo>
                    <a:pt x="101" y="1"/>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688" name="Freeform 136">
              <a:extLst>
                <a:ext uri="{FF2B5EF4-FFF2-40B4-BE49-F238E27FC236}">
                  <a16:creationId xmlns:a16="http://schemas.microsoft.com/office/drawing/2014/main" id="{39BAE574-99E6-484D-BA22-B3815CF018D1}"/>
                </a:ext>
              </a:extLst>
            </p:cNvPr>
            <p:cNvSpPr>
              <a:spLocks noChangeAspect="1"/>
            </p:cNvSpPr>
            <p:nvPr/>
          </p:nvSpPr>
          <p:spPr bwMode="auto">
            <a:xfrm>
              <a:off x="2655889" y="3933191"/>
              <a:ext cx="65087" cy="73025"/>
            </a:xfrm>
            <a:custGeom>
              <a:avLst/>
              <a:gdLst>
                <a:gd name="T0" fmla="*/ 0 w 392"/>
                <a:gd name="T1" fmla="*/ 273 h 321"/>
                <a:gd name="T2" fmla="*/ 0 w 392"/>
                <a:gd name="T3" fmla="*/ 166 h 321"/>
                <a:gd name="T4" fmla="*/ 0 w 392"/>
                <a:gd name="T5" fmla="*/ 156 h 321"/>
                <a:gd name="T6" fmla="*/ 5 w 392"/>
                <a:gd name="T7" fmla="*/ 145 h 321"/>
                <a:gd name="T8" fmla="*/ 14 w 392"/>
                <a:gd name="T9" fmla="*/ 137 h 321"/>
                <a:gd name="T10" fmla="*/ 232 w 392"/>
                <a:gd name="T11" fmla="*/ 6 h 321"/>
                <a:gd name="T12" fmla="*/ 243 w 392"/>
                <a:gd name="T13" fmla="*/ 1 h 321"/>
                <a:gd name="T14" fmla="*/ 257 w 392"/>
                <a:gd name="T15" fmla="*/ 0 h 321"/>
                <a:gd name="T16" fmla="*/ 270 w 392"/>
                <a:gd name="T17" fmla="*/ 3 h 321"/>
                <a:gd name="T18" fmla="*/ 280 w 392"/>
                <a:gd name="T19" fmla="*/ 9 h 321"/>
                <a:gd name="T20" fmla="*/ 392 w 392"/>
                <a:gd name="T21" fmla="*/ 113 h 321"/>
                <a:gd name="T22" fmla="*/ 44 w 392"/>
                <a:gd name="T23" fmla="*/ 321 h 321"/>
                <a:gd name="T24" fmla="*/ 8 w 392"/>
                <a:gd name="T25" fmla="*/ 288 h 321"/>
                <a:gd name="T26" fmla="*/ 6 w 392"/>
                <a:gd name="T27" fmla="*/ 282 h 321"/>
                <a:gd name="T28" fmla="*/ 0 w 392"/>
                <a:gd name="T29" fmla="*/ 27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2" h="321">
                  <a:moveTo>
                    <a:pt x="0" y="273"/>
                  </a:moveTo>
                  <a:lnTo>
                    <a:pt x="0" y="166"/>
                  </a:lnTo>
                  <a:lnTo>
                    <a:pt x="0" y="156"/>
                  </a:lnTo>
                  <a:lnTo>
                    <a:pt x="5" y="145"/>
                  </a:lnTo>
                  <a:lnTo>
                    <a:pt x="14" y="137"/>
                  </a:lnTo>
                  <a:lnTo>
                    <a:pt x="232" y="6"/>
                  </a:lnTo>
                  <a:lnTo>
                    <a:pt x="243" y="1"/>
                  </a:lnTo>
                  <a:lnTo>
                    <a:pt x="257" y="0"/>
                  </a:lnTo>
                  <a:lnTo>
                    <a:pt x="270" y="3"/>
                  </a:lnTo>
                  <a:lnTo>
                    <a:pt x="280" y="9"/>
                  </a:lnTo>
                  <a:lnTo>
                    <a:pt x="392" y="113"/>
                  </a:lnTo>
                  <a:lnTo>
                    <a:pt x="44" y="321"/>
                  </a:lnTo>
                  <a:lnTo>
                    <a:pt x="8" y="288"/>
                  </a:lnTo>
                  <a:lnTo>
                    <a:pt x="6" y="282"/>
                  </a:lnTo>
                  <a:lnTo>
                    <a:pt x="0" y="273"/>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689" name="Freeform 137">
              <a:extLst>
                <a:ext uri="{FF2B5EF4-FFF2-40B4-BE49-F238E27FC236}">
                  <a16:creationId xmlns:a16="http://schemas.microsoft.com/office/drawing/2014/main" id="{2FBBAE65-542A-4E17-AE36-93950EEF4EA9}"/>
                </a:ext>
              </a:extLst>
            </p:cNvPr>
            <p:cNvSpPr>
              <a:spLocks noChangeAspect="1"/>
            </p:cNvSpPr>
            <p:nvPr/>
          </p:nvSpPr>
          <p:spPr bwMode="auto">
            <a:xfrm>
              <a:off x="2655889" y="3933191"/>
              <a:ext cx="65087" cy="73025"/>
            </a:xfrm>
            <a:custGeom>
              <a:avLst/>
              <a:gdLst>
                <a:gd name="T0" fmla="*/ 0 w 392"/>
                <a:gd name="T1" fmla="*/ 273 h 321"/>
                <a:gd name="T2" fmla="*/ 0 w 392"/>
                <a:gd name="T3" fmla="*/ 166 h 321"/>
                <a:gd name="T4" fmla="*/ 0 w 392"/>
                <a:gd name="T5" fmla="*/ 156 h 321"/>
                <a:gd name="T6" fmla="*/ 5 w 392"/>
                <a:gd name="T7" fmla="*/ 145 h 321"/>
                <a:gd name="T8" fmla="*/ 14 w 392"/>
                <a:gd name="T9" fmla="*/ 137 h 321"/>
                <a:gd name="T10" fmla="*/ 232 w 392"/>
                <a:gd name="T11" fmla="*/ 6 h 321"/>
                <a:gd name="T12" fmla="*/ 243 w 392"/>
                <a:gd name="T13" fmla="*/ 1 h 321"/>
                <a:gd name="T14" fmla="*/ 257 w 392"/>
                <a:gd name="T15" fmla="*/ 0 h 321"/>
                <a:gd name="T16" fmla="*/ 270 w 392"/>
                <a:gd name="T17" fmla="*/ 3 h 321"/>
                <a:gd name="T18" fmla="*/ 280 w 392"/>
                <a:gd name="T19" fmla="*/ 9 h 321"/>
                <a:gd name="T20" fmla="*/ 392 w 392"/>
                <a:gd name="T21" fmla="*/ 113 h 321"/>
                <a:gd name="T22" fmla="*/ 44 w 392"/>
                <a:gd name="T23" fmla="*/ 321 h 321"/>
                <a:gd name="T24" fmla="*/ 8 w 392"/>
                <a:gd name="T25" fmla="*/ 288 h 321"/>
                <a:gd name="T26" fmla="*/ 6 w 392"/>
                <a:gd name="T27" fmla="*/ 282 h 321"/>
                <a:gd name="T28" fmla="*/ 0 w 392"/>
                <a:gd name="T29" fmla="*/ 27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2" h="321">
                  <a:moveTo>
                    <a:pt x="0" y="273"/>
                  </a:moveTo>
                  <a:lnTo>
                    <a:pt x="0" y="166"/>
                  </a:lnTo>
                  <a:lnTo>
                    <a:pt x="0" y="156"/>
                  </a:lnTo>
                  <a:lnTo>
                    <a:pt x="5" y="145"/>
                  </a:lnTo>
                  <a:lnTo>
                    <a:pt x="14" y="137"/>
                  </a:lnTo>
                  <a:lnTo>
                    <a:pt x="232" y="6"/>
                  </a:lnTo>
                  <a:lnTo>
                    <a:pt x="243" y="1"/>
                  </a:lnTo>
                  <a:lnTo>
                    <a:pt x="257" y="0"/>
                  </a:lnTo>
                  <a:lnTo>
                    <a:pt x="270" y="3"/>
                  </a:lnTo>
                  <a:lnTo>
                    <a:pt x="280" y="9"/>
                  </a:lnTo>
                  <a:lnTo>
                    <a:pt x="392" y="113"/>
                  </a:lnTo>
                  <a:lnTo>
                    <a:pt x="44" y="321"/>
                  </a:lnTo>
                  <a:lnTo>
                    <a:pt x="8" y="288"/>
                  </a:lnTo>
                  <a:lnTo>
                    <a:pt x="6" y="282"/>
                  </a:lnTo>
                  <a:lnTo>
                    <a:pt x="0" y="273"/>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690" name="Freeform 138">
              <a:extLst>
                <a:ext uri="{FF2B5EF4-FFF2-40B4-BE49-F238E27FC236}">
                  <a16:creationId xmlns:a16="http://schemas.microsoft.com/office/drawing/2014/main" id="{53F01EA9-1B1B-4D49-858A-6C78BE19775C}"/>
                </a:ext>
              </a:extLst>
            </p:cNvPr>
            <p:cNvSpPr>
              <a:spLocks noChangeAspect="1"/>
            </p:cNvSpPr>
            <p:nvPr/>
          </p:nvSpPr>
          <p:spPr bwMode="auto">
            <a:xfrm>
              <a:off x="2700338" y="3926841"/>
              <a:ext cx="188912" cy="30163"/>
            </a:xfrm>
            <a:custGeom>
              <a:avLst/>
              <a:gdLst>
                <a:gd name="T0" fmla="*/ 5 w 1116"/>
                <a:gd name="T1" fmla="*/ 16 h 142"/>
                <a:gd name="T2" fmla="*/ 23 w 1116"/>
                <a:gd name="T3" fmla="*/ 5 h 142"/>
                <a:gd name="T4" fmla="*/ 44 w 1116"/>
                <a:gd name="T5" fmla="*/ 0 h 142"/>
                <a:gd name="T6" fmla="*/ 955 w 1116"/>
                <a:gd name="T7" fmla="*/ 0 h 142"/>
                <a:gd name="T8" fmla="*/ 970 w 1116"/>
                <a:gd name="T9" fmla="*/ 2 h 142"/>
                <a:gd name="T10" fmla="*/ 982 w 1116"/>
                <a:gd name="T11" fmla="*/ 9 h 142"/>
                <a:gd name="T12" fmla="*/ 1113 w 1116"/>
                <a:gd name="T13" fmla="*/ 126 h 142"/>
                <a:gd name="T14" fmla="*/ 1116 w 1116"/>
                <a:gd name="T15" fmla="*/ 131 h 142"/>
                <a:gd name="T16" fmla="*/ 1114 w 1116"/>
                <a:gd name="T17" fmla="*/ 137 h 142"/>
                <a:gd name="T18" fmla="*/ 1110 w 1116"/>
                <a:gd name="T19" fmla="*/ 140 h 142"/>
                <a:gd name="T20" fmla="*/ 1102 w 1116"/>
                <a:gd name="T21" fmla="*/ 142 h 142"/>
                <a:gd name="T22" fmla="*/ 125 w 1116"/>
                <a:gd name="T23" fmla="*/ 142 h 142"/>
                <a:gd name="T24" fmla="*/ 4 w 1116"/>
                <a:gd name="T25" fmla="*/ 31 h 142"/>
                <a:gd name="T26" fmla="*/ 0 w 1116"/>
                <a:gd name="T27" fmla="*/ 23 h 142"/>
                <a:gd name="T28" fmla="*/ 5 w 1116"/>
                <a:gd name="T29"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16" h="142">
                  <a:moveTo>
                    <a:pt x="5" y="16"/>
                  </a:moveTo>
                  <a:lnTo>
                    <a:pt x="23" y="5"/>
                  </a:lnTo>
                  <a:lnTo>
                    <a:pt x="44" y="0"/>
                  </a:lnTo>
                  <a:lnTo>
                    <a:pt x="955" y="0"/>
                  </a:lnTo>
                  <a:lnTo>
                    <a:pt x="970" y="2"/>
                  </a:lnTo>
                  <a:lnTo>
                    <a:pt x="982" y="9"/>
                  </a:lnTo>
                  <a:lnTo>
                    <a:pt x="1113" y="126"/>
                  </a:lnTo>
                  <a:lnTo>
                    <a:pt x="1116" y="131"/>
                  </a:lnTo>
                  <a:lnTo>
                    <a:pt x="1114" y="137"/>
                  </a:lnTo>
                  <a:lnTo>
                    <a:pt x="1110" y="140"/>
                  </a:lnTo>
                  <a:lnTo>
                    <a:pt x="1102" y="142"/>
                  </a:lnTo>
                  <a:lnTo>
                    <a:pt x="125" y="142"/>
                  </a:lnTo>
                  <a:lnTo>
                    <a:pt x="4" y="31"/>
                  </a:lnTo>
                  <a:lnTo>
                    <a:pt x="0" y="23"/>
                  </a:lnTo>
                  <a:lnTo>
                    <a:pt x="5" y="16"/>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691" name="Freeform 139">
              <a:extLst>
                <a:ext uri="{FF2B5EF4-FFF2-40B4-BE49-F238E27FC236}">
                  <a16:creationId xmlns:a16="http://schemas.microsoft.com/office/drawing/2014/main" id="{FF044F97-455E-47D5-A3C7-7C712478E1BC}"/>
                </a:ext>
              </a:extLst>
            </p:cNvPr>
            <p:cNvSpPr>
              <a:spLocks noChangeAspect="1"/>
            </p:cNvSpPr>
            <p:nvPr/>
          </p:nvSpPr>
          <p:spPr bwMode="auto">
            <a:xfrm>
              <a:off x="2700338" y="3926841"/>
              <a:ext cx="188912" cy="30163"/>
            </a:xfrm>
            <a:custGeom>
              <a:avLst/>
              <a:gdLst>
                <a:gd name="T0" fmla="*/ 5 w 1116"/>
                <a:gd name="T1" fmla="*/ 16 h 142"/>
                <a:gd name="T2" fmla="*/ 23 w 1116"/>
                <a:gd name="T3" fmla="*/ 5 h 142"/>
                <a:gd name="T4" fmla="*/ 44 w 1116"/>
                <a:gd name="T5" fmla="*/ 0 h 142"/>
                <a:gd name="T6" fmla="*/ 955 w 1116"/>
                <a:gd name="T7" fmla="*/ 0 h 142"/>
                <a:gd name="T8" fmla="*/ 970 w 1116"/>
                <a:gd name="T9" fmla="*/ 2 h 142"/>
                <a:gd name="T10" fmla="*/ 982 w 1116"/>
                <a:gd name="T11" fmla="*/ 9 h 142"/>
                <a:gd name="T12" fmla="*/ 1113 w 1116"/>
                <a:gd name="T13" fmla="*/ 126 h 142"/>
                <a:gd name="T14" fmla="*/ 1116 w 1116"/>
                <a:gd name="T15" fmla="*/ 131 h 142"/>
                <a:gd name="T16" fmla="*/ 1114 w 1116"/>
                <a:gd name="T17" fmla="*/ 137 h 142"/>
                <a:gd name="T18" fmla="*/ 1110 w 1116"/>
                <a:gd name="T19" fmla="*/ 140 h 142"/>
                <a:gd name="T20" fmla="*/ 1102 w 1116"/>
                <a:gd name="T21" fmla="*/ 142 h 142"/>
                <a:gd name="T22" fmla="*/ 125 w 1116"/>
                <a:gd name="T23" fmla="*/ 142 h 142"/>
                <a:gd name="T24" fmla="*/ 4 w 1116"/>
                <a:gd name="T25" fmla="*/ 31 h 142"/>
                <a:gd name="T26" fmla="*/ 0 w 1116"/>
                <a:gd name="T27" fmla="*/ 23 h 142"/>
                <a:gd name="T28" fmla="*/ 5 w 1116"/>
                <a:gd name="T29"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16" h="142">
                  <a:moveTo>
                    <a:pt x="5" y="16"/>
                  </a:moveTo>
                  <a:lnTo>
                    <a:pt x="23" y="5"/>
                  </a:lnTo>
                  <a:lnTo>
                    <a:pt x="44" y="0"/>
                  </a:lnTo>
                  <a:lnTo>
                    <a:pt x="955" y="0"/>
                  </a:lnTo>
                  <a:lnTo>
                    <a:pt x="970" y="2"/>
                  </a:lnTo>
                  <a:lnTo>
                    <a:pt x="982" y="9"/>
                  </a:lnTo>
                  <a:lnTo>
                    <a:pt x="1113" y="126"/>
                  </a:lnTo>
                  <a:lnTo>
                    <a:pt x="1116" y="131"/>
                  </a:lnTo>
                  <a:lnTo>
                    <a:pt x="1114" y="137"/>
                  </a:lnTo>
                  <a:lnTo>
                    <a:pt x="1110" y="140"/>
                  </a:lnTo>
                  <a:lnTo>
                    <a:pt x="1102" y="142"/>
                  </a:lnTo>
                  <a:lnTo>
                    <a:pt x="125" y="142"/>
                  </a:lnTo>
                  <a:lnTo>
                    <a:pt x="4" y="31"/>
                  </a:lnTo>
                  <a:lnTo>
                    <a:pt x="0" y="23"/>
                  </a:lnTo>
                  <a:lnTo>
                    <a:pt x="5" y="16"/>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692" name="Freeform 140">
              <a:extLst>
                <a:ext uri="{FF2B5EF4-FFF2-40B4-BE49-F238E27FC236}">
                  <a16:creationId xmlns:a16="http://schemas.microsoft.com/office/drawing/2014/main" id="{E441717B-D6AD-4478-8379-5F77B81CE67F}"/>
                </a:ext>
              </a:extLst>
            </p:cNvPr>
            <p:cNvSpPr>
              <a:spLocks noChangeAspect="1"/>
            </p:cNvSpPr>
            <p:nvPr/>
          </p:nvSpPr>
          <p:spPr bwMode="auto">
            <a:xfrm>
              <a:off x="2865438" y="3958590"/>
              <a:ext cx="107950" cy="120650"/>
            </a:xfrm>
            <a:custGeom>
              <a:avLst/>
              <a:gdLst>
                <a:gd name="T0" fmla="*/ 169 w 635"/>
                <a:gd name="T1" fmla="*/ 10 h 535"/>
                <a:gd name="T2" fmla="*/ 626 w 635"/>
                <a:gd name="T3" fmla="*/ 417 h 535"/>
                <a:gd name="T4" fmla="*/ 632 w 635"/>
                <a:gd name="T5" fmla="*/ 424 h 535"/>
                <a:gd name="T6" fmla="*/ 632 w 635"/>
                <a:gd name="T7" fmla="*/ 426 h 535"/>
                <a:gd name="T8" fmla="*/ 635 w 635"/>
                <a:gd name="T9" fmla="*/ 433 h 535"/>
                <a:gd name="T10" fmla="*/ 635 w 635"/>
                <a:gd name="T11" fmla="*/ 472 h 535"/>
                <a:gd name="T12" fmla="*/ 631 w 635"/>
                <a:gd name="T13" fmla="*/ 482 h 535"/>
                <a:gd name="T14" fmla="*/ 622 w 635"/>
                <a:gd name="T15" fmla="*/ 490 h 535"/>
                <a:gd name="T16" fmla="*/ 551 w 635"/>
                <a:gd name="T17" fmla="*/ 535 h 535"/>
                <a:gd name="T18" fmla="*/ 0 w 635"/>
                <a:gd name="T19" fmla="*/ 47 h 535"/>
                <a:gd name="T20" fmla="*/ 66 w 635"/>
                <a:gd name="T21" fmla="*/ 7 h 535"/>
                <a:gd name="T22" fmla="*/ 76 w 635"/>
                <a:gd name="T23" fmla="*/ 1 h 535"/>
                <a:gd name="T24" fmla="*/ 88 w 635"/>
                <a:gd name="T25" fmla="*/ 0 h 535"/>
                <a:gd name="T26" fmla="*/ 142 w 635"/>
                <a:gd name="T27" fmla="*/ 0 h 535"/>
                <a:gd name="T28" fmla="*/ 156 w 635"/>
                <a:gd name="T29" fmla="*/ 2 h 535"/>
                <a:gd name="T30" fmla="*/ 169 w 635"/>
                <a:gd name="T31" fmla="*/ 1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5" h="535">
                  <a:moveTo>
                    <a:pt x="169" y="10"/>
                  </a:moveTo>
                  <a:lnTo>
                    <a:pt x="626" y="417"/>
                  </a:lnTo>
                  <a:lnTo>
                    <a:pt x="632" y="424"/>
                  </a:lnTo>
                  <a:lnTo>
                    <a:pt x="632" y="426"/>
                  </a:lnTo>
                  <a:lnTo>
                    <a:pt x="635" y="433"/>
                  </a:lnTo>
                  <a:lnTo>
                    <a:pt x="635" y="472"/>
                  </a:lnTo>
                  <a:lnTo>
                    <a:pt x="631" y="482"/>
                  </a:lnTo>
                  <a:lnTo>
                    <a:pt x="622" y="490"/>
                  </a:lnTo>
                  <a:lnTo>
                    <a:pt x="551" y="535"/>
                  </a:lnTo>
                  <a:lnTo>
                    <a:pt x="0" y="47"/>
                  </a:lnTo>
                  <a:lnTo>
                    <a:pt x="66" y="7"/>
                  </a:lnTo>
                  <a:lnTo>
                    <a:pt x="76" y="1"/>
                  </a:lnTo>
                  <a:lnTo>
                    <a:pt x="88" y="0"/>
                  </a:lnTo>
                  <a:lnTo>
                    <a:pt x="142" y="0"/>
                  </a:lnTo>
                  <a:lnTo>
                    <a:pt x="156" y="2"/>
                  </a:lnTo>
                  <a:lnTo>
                    <a:pt x="169" y="10"/>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693" name="Freeform 141">
              <a:extLst>
                <a:ext uri="{FF2B5EF4-FFF2-40B4-BE49-F238E27FC236}">
                  <a16:creationId xmlns:a16="http://schemas.microsoft.com/office/drawing/2014/main" id="{E3C516D0-A3DF-49CB-A860-8D31D440EA7B}"/>
                </a:ext>
              </a:extLst>
            </p:cNvPr>
            <p:cNvSpPr>
              <a:spLocks noChangeAspect="1"/>
            </p:cNvSpPr>
            <p:nvPr/>
          </p:nvSpPr>
          <p:spPr bwMode="auto">
            <a:xfrm>
              <a:off x="2865438" y="3958590"/>
              <a:ext cx="107950" cy="120650"/>
            </a:xfrm>
            <a:custGeom>
              <a:avLst/>
              <a:gdLst>
                <a:gd name="T0" fmla="*/ 169 w 635"/>
                <a:gd name="T1" fmla="*/ 10 h 535"/>
                <a:gd name="T2" fmla="*/ 626 w 635"/>
                <a:gd name="T3" fmla="*/ 417 h 535"/>
                <a:gd name="T4" fmla="*/ 632 w 635"/>
                <a:gd name="T5" fmla="*/ 424 h 535"/>
                <a:gd name="T6" fmla="*/ 632 w 635"/>
                <a:gd name="T7" fmla="*/ 426 h 535"/>
                <a:gd name="T8" fmla="*/ 635 w 635"/>
                <a:gd name="T9" fmla="*/ 433 h 535"/>
                <a:gd name="T10" fmla="*/ 635 w 635"/>
                <a:gd name="T11" fmla="*/ 472 h 535"/>
                <a:gd name="T12" fmla="*/ 631 w 635"/>
                <a:gd name="T13" fmla="*/ 482 h 535"/>
                <a:gd name="T14" fmla="*/ 622 w 635"/>
                <a:gd name="T15" fmla="*/ 490 h 535"/>
                <a:gd name="T16" fmla="*/ 551 w 635"/>
                <a:gd name="T17" fmla="*/ 535 h 535"/>
                <a:gd name="T18" fmla="*/ 0 w 635"/>
                <a:gd name="T19" fmla="*/ 47 h 535"/>
                <a:gd name="T20" fmla="*/ 66 w 635"/>
                <a:gd name="T21" fmla="*/ 7 h 535"/>
                <a:gd name="T22" fmla="*/ 76 w 635"/>
                <a:gd name="T23" fmla="*/ 1 h 535"/>
                <a:gd name="T24" fmla="*/ 88 w 635"/>
                <a:gd name="T25" fmla="*/ 0 h 535"/>
                <a:gd name="T26" fmla="*/ 142 w 635"/>
                <a:gd name="T27" fmla="*/ 0 h 535"/>
                <a:gd name="T28" fmla="*/ 156 w 635"/>
                <a:gd name="T29" fmla="*/ 2 h 535"/>
                <a:gd name="T30" fmla="*/ 169 w 635"/>
                <a:gd name="T31" fmla="*/ 1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5" h="535">
                  <a:moveTo>
                    <a:pt x="169" y="10"/>
                  </a:moveTo>
                  <a:lnTo>
                    <a:pt x="626" y="417"/>
                  </a:lnTo>
                  <a:lnTo>
                    <a:pt x="632" y="424"/>
                  </a:lnTo>
                  <a:lnTo>
                    <a:pt x="632" y="426"/>
                  </a:lnTo>
                  <a:lnTo>
                    <a:pt x="635" y="433"/>
                  </a:lnTo>
                  <a:lnTo>
                    <a:pt x="635" y="472"/>
                  </a:lnTo>
                  <a:lnTo>
                    <a:pt x="631" y="482"/>
                  </a:lnTo>
                  <a:lnTo>
                    <a:pt x="622" y="490"/>
                  </a:lnTo>
                  <a:lnTo>
                    <a:pt x="551" y="535"/>
                  </a:lnTo>
                  <a:lnTo>
                    <a:pt x="0" y="47"/>
                  </a:lnTo>
                  <a:lnTo>
                    <a:pt x="66" y="7"/>
                  </a:lnTo>
                  <a:lnTo>
                    <a:pt x="76" y="1"/>
                  </a:lnTo>
                  <a:lnTo>
                    <a:pt x="88" y="0"/>
                  </a:lnTo>
                  <a:lnTo>
                    <a:pt x="142" y="0"/>
                  </a:lnTo>
                  <a:lnTo>
                    <a:pt x="156" y="2"/>
                  </a:lnTo>
                  <a:lnTo>
                    <a:pt x="169" y="10"/>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694" name="Freeform 142">
              <a:extLst>
                <a:ext uri="{FF2B5EF4-FFF2-40B4-BE49-F238E27FC236}">
                  <a16:creationId xmlns:a16="http://schemas.microsoft.com/office/drawing/2014/main" id="{503EDC8C-A78B-4FB1-B8F0-0DF160DCC9C2}"/>
                </a:ext>
              </a:extLst>
            </p:cNvPr>
            <p:cNvSpPr>
              <a:spLocks noChangeAspect="1"/>
            </p:cNvSpPr>
            <p:nvPr/>
          </p:nvSpPr>
          <p:spPr bwMode="auto">
            <a:xfrm>
              <a:off x="2971800" y="4118928"/>
              <a:ext cx="58738" cy="19050"/>
            </a:xfrm>
            <a:custGeom>
              <a:avLst/>
              <a:gdLst>
                <a:gd name="T0" fmla="*/ 4 w 355"/>
                <a:gd name="T1" fmla="*/ 14 h 83"/>
                <a:gd name="T2" fmla="*/ 10 w 355"/>
                <a:gd name="T3" fmla="*/ 7 h 83"/>
                <a:gd name="T4" fmla="*/ 17 w 355"/>
                <a:gd name="T5" fmla="*/ 3 h 83"/>
                <a:gd name="T6" fmla="*/ 26 w 355"/>
                <a:gd name="T7" fmla="*/ 1 h 83"/>
                <a:gd name="T8" fmla="*/ 34 w 355"/>
                <a:gd name="T9" fmla="*/ 0 h 83"/>
                <a:gd name="T10" fmla="*/ 262 w 355"/>
                <a:gd name="T11" fmla="*/ 0 h 83"/>
                <a:gd name="T12" fmla="*/ 268 w 355"/>
                <a:gd name="T13" fmla="*/ 1 h 83"/>
                <a:gd name="T14" fmla="*/ 271 w 355"/>
                <a:gd name="T15" fmla="*/ 3 h 83"/>
                <a:gd name="T16" fmla="*/ 275 w 355"/>
                <a:gd name="T17" fmla="*/ 6 h 83"/>
                <a:gd name="T18" fmla="*/ 276 w 355"/>
                <a:gd name="T19" fmla="*/ 11 h 83"/>
                <a:gd name="T20" fmla="*/ 276 w 355"/>
                <a:gd name="T21" fmla="*/ 46 h 83"/>
                <a:gd name="T22" fmla="*/ 277 w 355"/>
                <a:gd name="T23" fmla="*/ 50 h 83"/>
                <a:gd name="T24" fmla="*/ 280 w 355"/>
                <a:gd name="T25" fmla="*/ 54 h 83"/>
                <a:gd name="T26" fmla="*/ 285 w 355"/>
                <a:gd name="T27" fmla="*/ 56 h 83"/>
                <a:gd name="T28" fmla="*/ 289 w 355"/>
                <a:gd name="T29" fmla="*/ 56 h 83"/>
                <a:gd name="T30" fmla="*/ 341 w 355"/>
                <a:gd name="T31" fmla="*/ 56 h 83"/>
                <a:gd name="T32" fmla="*/ 347 w 355"/>
                <a:gd name="T33" fmla="*/ 57 h 83"/>
                <a:gd name="T34" fmla="*/ 351 w 355"/>
                <a:gd name="T35" fmla="*/ 59 h 83"/>
                <a:gd name="T36" fmla="*/ 355 w 355"/>
                <a:gd name="T37" fmla="*/ 63 h 83"/>
                <a:gd name="T38" fmla="*/ 355 w 355"/>
                <a:gd name="T39" fmla="*/ 66 h 83"/>
                <a:gd name="T40" fmla="*/ 355 w 355"/>
                <a:gd name="T41" fmla="*/ 83 h 83"/>
                <a:gd name="T42" fmla="*/ 54 w 355"/>
                <a:gd name="T43" fmla="*/ 83 h 83"/>
                <a:gd name="T44" fmla="*/ 54 w 355"/>
                <a:gd name="T45" fmla="*/ 58 h 83"/>
                <a:gd name="T46" fmla="*/ 0 w 355"/>
                <a:gd name="T47" fmla="*/ 58 h 83"/>
                <a:gd name="T48" fmla="*/ 0 w 355"/>
                <a:gd name="T49" fmla="*/ 27 h 83"/>
                <a:gd name="T50" fmla="*/ 0 w 355"/>
                <a:gd name="T51" fmla="*/ 26 h 83"/>
                <a:gd name="T52" fmla="*/ 1 w 355"/>
                <a:gd name="T53" fmla="*/ 20 h 83"/>
                <a:gd name="T54" fmla="*/ 4 w 355"/>
                <a:gd name="T55" fmla="*/ 1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5" h="83">
                  <a:moveTo>
                    <a:pt x="4" y="14"/>
                  </a:moveTo>
                  <a:lnTo>
                    <a:pt x="10" y="7"/>
                  </a:lnTo>
                  <a:lnTo>
                    <a:pt x="17" y="3"/>
                  </a:lnTo>
                  <a:lnTo>
                    <a:pt x="26" y="1"/>
                  </a:lnTo>
                  <a:lnTo>
                    <a:pt x="34" y="0"/>
                  </a:lnTo>
                  <a:lnTo>
                    <a:pt x="262" y="0"/>
                  </a:lnTo>
                  <a:lnTo>
                    <a:pt x="268" y="1"/>
                  </a:lnTo>
                  <a:lnTo>
                    <a:pt x="271" y="3"/>
                  </a:lnTo>
                  <a:lnTo>
                    <a:pt x="275" y="6"/>
                  </a:lnTo>
                  <a:lnTo>
                    <a:pt x="276" y="11"/>
                  </a:lnTo>
                  <a:lnTo>
                    <a:pt x="276" y="46"/>
                  </a:lnTo>
                  <a:lnTo>
                    <a:pt x="277" y="50"/>
                  </a:lnTo>
                  <a:lnTo>
                    <a:pt x="280" y="54"/>
                  </a:lnTo>
                  <a:lnTo>
                    <a:pt x="285" y="56"/>
                  </a:lnTo>
                  <a:lnTo>
                    <a:pt x="289" y="56"/>
                  </a:lnTo>
                  <a:lnTo>
                    <a:pt x="341" y="56"/>
                  </a:lnTo>
                  <a:lnTo>
                    <a:pt x="347" y="57"/>
                  </a:lnTo>
                  <a:lnTo>
                    <a:pt x="351" y="59"/>
                  </a:lnTo>
                  <a:lnTo>
                    <a:pt x="355" y="63"/>
                  </a:lnTo>
                  <a:lnTo>
                    <a:pt x="355" y="66"/>
                  </a:lnTo>
                  <a:lnTo>
                    <a:pt x="355" y="83"/>
                  </a:lnTo>
                  <a:lnTo>
                    <a:pt x="54" y="83"/>
                  </a:lnTo>
                  <a:lnTo>
                    <a:pt x="54" y="58"/>
                  </a:lnTo>
                  <a:lnTo>
                    <a:pt x="0" y="58"/>
                  </a:lnTo>
                  <a:lnTo>
                    <a:pt x="0" y="27"/>
                  </a:lnTo>
                  <a:lnTo>
                    <a:pt x="0" y="26"/>
                  </a:lnTo>
                  <a:lnTo>
                    <a:pt x="1" y="20"/>
                  </a:lnTo>
                  <a:lnTo>
                    <a:pt x="4" y="14"/>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695" name="Freeform 143">
              <a:extLst>
                <a:ext uri="{FF2B5EF4-FFF2-40B4-BE49-F238E27FC236}">
                  <a16:creationId xmlns:a16="http://schemas.microsoft.com/office/drawing/2014/main" id="{C3642371-80EC-412A-A7A9-954342E0ED2A}"/>
                </a:ext>
              </a:extLst>
            </p:cNvPr>
            <p:cNvSpPr>
              <a:spLocks noChangeAspect="1"/>
            </p:cNvSpPr>
            <p:nvPr/>
          </p:nvSpPr>
          <p:spPr bwMode="auto">
            <a:xfrm>
              <a:off x="2971800" y="4118928"/>
              <a:ext cx="58738" cy="19050"/>
            </a:xfrm>
            <a:custGeom>
              <a:avLst/>
              <a:gdLst>
                <a:gd name="T0" fmla="*/ 4 w 355"/>
                <a:gd name="T1" fmla="*/ 14 h 83"/>
                <a:gd name="T2" fmla="*/ 10 w 355"/>
                <a:gd name="T3" fmla="*/ 7 h 83"/>
                <a:gd name="T4" fmla="*/ 17 w 355"/>
                <a:gd name="T5" fmla="*/ 3 h 83"/>
                <a:gd name="T6" fmla="*/ 26 w 355"/>
                <a:gd name="T7" fmla="*/ 1 h 83"/>
                <a:gd name="T8" fmla="*/ 34 w 355"/>
                <a:gd name="T9" fmla="*/ 0 h 83"/>
                <a:gd name="T10" fmla="*/ 262 w 355"/>
                <a:gd name="T11" fmla="*/ 0 h 83"/>
                <a:gd name="T12" fmla="*/ 268 w 355"/>
                <a:gd name="T13" fmla="*/ 1 h 83"/>
                <a:gd name="T14" fmla="*/ 271 w 355"/>
                <a:gd name="T15" fmla="*/ 3 h 83"/>
                <a:gd name="T16" fmla="*/ 275 w 355"/>
                <a:gd name="T17" fmla="*/ 6 h 83"/>
                <a:gd name="T18" fmla="*/ 276 w 355"/>
                <a:gd name="T19" fmla="*/ 11 h 83"/>
                <a:gd name="T20" fmla="*/ 276 w 355"/>
                <a:gd name="T21" fmla="*/ 46 h 83"/>
                <a:gd name="T22" fmla="*/ 277 w 355"/>
                <a:gd name="T23" fmla="*/ 50 h 83"/>
                <a:gd name="T24" fmla="*/ 280 w 355"/>
                <a:gd name="T25" fmla="*/ 54 h 83"/>
                <a:gd name="T26" fmla="*/ 285 w 355"/>
                <a:gd name="T27" fmla="*/ 56 h 83"/>
                <a:gd name="T28" fmla="*/ 289 w 355"/>
                <a:gd name="T29" fmla="*/ 56 h 83"/>
                <a:gd name="T30" fmla="*/ 341 w 355"/>
                <a:gd name="T31" fmla="*/ 56 h 83"/>
                <a:gd name="T32" fmla="*/ 347 w 355"/>
                <a:gd name="T33" fmla="*/ 57 h 83"/>
                <a:gd name="T34" fmla="*/ 351 w 355"/>
                <a:gd name="T35" fmla="*/ 59 h 83"/>
                <a:gd name="T36" fmla="*/ 355 w 355"/>
                <a:gd name="T37" fmla="*/ 63 h 83"/>
                <a:gd name="T38" fmla="*/ 355 w 355"/>
                <a:gd name="T39" fmla="*/ 66 h 83"/>
                <a:gd name="T40" fmla="*/ 355 w 355"/>
                <a:gd name="T41" fmla="*/ 83 h 83"/>
                <a:gd name="T42" fmla="*/ 54 w 355"/>
                <a:gd name="T43" fmla="*/ 83 h 83"/>
                <a:gd name="T44" fmla="*/ 54 w 355"/>
                <a:gd name="T45" fmla="*/ 58 h 83"/>
                <a:gd name="T46" fmla="*/ 0 w 355"/>
                <a:gd name="T47" fmla="*/ 58 h 83"/>
                <a:gd name="T48" fmla="*/ 0 w 355"/>
                <a:gd name="T49" fmla="*/ 27 h 83"/>
                <a:gd name="T50" fmla="*/ 0 w 355"/>
                <a:gd name="T51" fmla="*/ 26 h 83"/>
                <a:gd name="T52" fmla="*/ 1 w 355"/>
                <a:gd name="T53" fmla="*/ 20 h 83"/>
                <a:gd name="T54" fmla="*/ 4 w 355"/>
                <a:gd name="T55" fmla="*/ 1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5" h="83">
                  <a:moveTo>
                    <a:pt x="4" y="14"/>
                  </a:moveTo>
                  <a:lnTo>
                    <a:pt x="10" y="7"/>
                  </a:lnTo>
                  <a:lnTo>
                    <a:pt x="17" y="3"/>
                  </a:lnTo>
                  <a:lnTo>
                    <a:pt x="26" y="1"/>
                  </a:lnTo>
                  <a:lnTo>
                    <a:pt x="34" y="0"/>
                  </a:lnTo>
                  <a:lnTo>
                    <a:pt x="262" y="0"/>
                  </a:lnTo>
                  <a:lnTo>
                    <a:pt x="268" y="1"/>
                  </a:lnTo>
                  <a:lnTo>
                    <a:pt x="271" y="3"/>
                  </a:lnTo>
                  <a:lnTo>
                    <a:pt x="275" y="6"/>
                  </a:lnTo>
                  <a:lnTo>
                    <a:pt x="276" y="11"/>
                  </a:lnTo>
                  <a:lnTo>
                    <a:pt x="276" y="46"/>
                  </a:lnTo>
                  <a:lnTo>
                    <a:pt x="277" y="50"/>
                  </a:lnTo>
                  <a:lnTo>
                    <a:pt x="280" y="54"/>
                  </a:lnTo>
                  <a:lnTo>
                    <a:pt x="285" y="56"/>
                  </a:lnTo>
                  <a:lnTo>
                    <a:pt x="289" y="56"/>
                  </a:lnTo>
                  <a:lnTo>
                    <a:pt x="341" y="56"/>
                  </a:lnTo>
                  <a:lnTo>
                    <a:pt x="347" y="57"/>
                  </a:lnTo>
                  <a:lnTo>
                    <a:pt x="351" y="59"/>
                  </a:lnTo>
                  <a:lnTo>
                    <a:pt x="355" y="63"/>
                  </a:lnTo>
                  <a:lnTo>
                    <a:pt x="355" y="66"/>
                  </a:lnTo>
                  <a:lnTo>
                    <a:pt x="355" y="83"/>
                  </a:lnTo>
                  <a:lnTo>
                    <a:pt x="54" y="83"/>
                  </a:lnTo>
                  <a:lnTo>
                    <a:pt x="54" y="58"/>
                  </a:lnTo>
                  <a:lnTo>
                    <a:pt x="0" y="58"/>
                  </a:lnTo>
                  <a:lnTo>
                    <a:pt x="0" y="27"/>
                  </a:lnTo>
                  <a:lnTo>
                    <a:pt x="0" y="26"/>
                  </a:lnTo>
                  <a:lnTo>
                    <a:pt x="1" y="20"/>
                  </a:lnTo>
                  <a:lnTo>
                    <a:pt x="4" y="14"/>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696" name="Freeform 144">
              <a:extLst>
                <a:ext uri="{FF2B5EF4-FFF2-40B4-BE49-F238E27FC236}">
                  <a16:creationId xmlns:a16="http://schemas.microsoft.com/office/drawing/2014/main" id="{097C1018-F5E4-428B-AA48-A93B97F3182A}"/>
                </a:ext>
              </a:extLst>
            </p:cNvPr>
            <p:cNvSpPr>
              <a:spLocks noChangeAspect="1"/>
            </p:cNvSpPr>
            <p:nvPr/>
          </p:nvSpPr>
          <p:spPr bwMode="auto">
            <a:xfrm>
              <a:off x="3022600" y="3858578"/>
              <a:ext cx="77788" cy="271462"/>
            </a:xfrm>
            <a:custGeom>
              <a:avLst/>
              <a:gdLst>
                <a:gd name="T0" fmla="*/ 0 w 463"/>
                <a:gd name="T1" fmla="*/ 1189 h 1204"/>
                <a:gd name="T2" fmla="*/ 6 w 463"/>
                <a:gd name="T3" fmla="*/ 1157 h 1204"/>
                <a:gd name="T4" fmla="*/ 249 w 463"/>
                <a:gd name="T5" fmla="*/ 14 h 1204"/>
                <a:gd name="T6" fmla="*/ 251 w 463"/>
                <a:gd name="T7" fmla="*/ 10 h 1204"/>
                <a:gd name="T8" fmla="*/ 253 w 463"/>
                <a:gd name="T9" fmla="*/ 7 h 1204"/>
                <a:gd name="T10" fmla="*/ 256 w 463"/>
                <a:gd name="T11" fmla="*/ 5 h 1204"/>
                <a:gd name="T12" fmla="*/ 260 w 463"/>
                <a:gd name="T13" fmla="*/ 2 h 1204"/>
                <a:gd name="T14" fmla="*/ 265 w 463"/>
                <a:gd name="T15" fmla="*/ 0 h 1204"/>
                <a:gd name="T16" fmla="*/ 270 w 463"/>
                <a:gd name="T17" fmla="*/ 0 h 1204"/>
                <a:gd name="T18" fmla="*/ 463 w 463"/>
                <a:gd name="T19" fmla="*/ 0 h 1204"/>
                <a:gd name="T20" fmla="*/ 209 w 463"/>
                <a:gd name="T21" fmla="*/ 1204 h 1204"/>
                <a:gd name="T22" fmla="*/ 18 w 463"/>
                <a:gd name="T23" fmla="*/ 1204 h 1204"/>
                <a:gd name="T24" fmla="*/ 15 w 463"/>
                <a:gd name="T25" fmla="*/ 1203 h 1204"/>
                <a:gd name="T26" fmla="*/ 11 w 463"/>
                <a:gd name="T27" fmla="*/ 1202 h 1204"/>
                <a:gd name="T28" fmla="*/ 8 w 463"/>
                <a:gd name="T29" fmla="*/ 1201 h 1204"/>
                <a:gd name="T30" fmla="*/ 4 w 463"/>
                <a:gd name="T31" fmla="*/ 1198 h 1204"/>
                <a:gd name="T32" fmla="*/ 2 w 463"/>
                <a:gd name="T33" fmla="*/ 1196 h 1204"/>
                <a:gd name="T34" fmla="*/ 1 w 463"/>
                <a:gd name="T35" fmla="*/ 1193 h 1204"/>
                <a:gd name="T36" fmla="*/ 0 w 463"/>
                <a:gd name="T37" fmla="*/ 1189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3" h="1204">
                  <a:moveTo>
                    <a:pt x="0" y="1189"/>
                  </a:moveTo>
                  <a:lnTo>
                    <a:pt x="6" y="1157"/>
                  </a:lnTo>
                  <a:lnTo>
                    <a:pt x="249" y="14"/>
                  </a:lnTo>
                  <a:lnTo>
                    <a:pt x="251" y="10"/>
                  </a:lnTo>
                  <a:lnTo>
                    <a:pt x="253" y="7"/>
                  </a:lnTo>
                  <a:lnTo>
                    <a:pt x="256" y="5"/>
                  </a:lnTo>
                  <a:lnTo>
                    <a:pt x="260" y="2"/>
                  </a:lnTo>
                  <a:lnTo>
                    <a:pt x="265" y="0"/>
                  </a:lnTo>
                  <a:lnTo>
                    <a:pt x="270" y="0"/>
                  </a:lnTo>
                  <a:lnTo>
                    <a:pt x="463" y="0"/>
                  </a:lnTo>
                  <a:lnTo>
                    <a:pt x="209" y="1204"/>
                  </a:lnTo>
                  <a:lnTo>
                    <a:pt x="18" y="1204"/>
                  </a:lnTo>
                  <a:lnTo>
                    <a:pt x="15" y="1203"/>
                  </a:lnTo>
                  <a:lnTo>
                    <a:pt x="11" y="1202"/>
                  </a:lnTo>
                  <a:lnTo>
                    <a:pt x="8" y="1201"/>
                  </a:lnTo>
                  <a:lnTo>
                    <a:pt x="4" y="1198"/>
                  </a:lnTo>
                  <a:lnTo>
                    <a:pt x="2" y="1196"/>
                  </a:lnTo>
                  <a:lnTo>
                    <a:pt x="1" y="1193"/>
                  </a:lnTo>
                  <a:lnTo>
                    <a:pt x="0" y="1189"/>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697" name="Freeform 145">
              <a:extLst>
                <a:ext uri="{FF2B5EF4-FFF2-40B4-BE49-F238E27FC236}">
                  <a16:creationId xmlns:a16="http://schemas.microsoft.com/office/drawing/2014/main" id="{560A194B-5210-44FF-AFBA-D53294A02EFC}"/>
                </a:ext>
              </a:extLst>
            </p:cNvPr>
            <p:cNvSpPr>
              <a:spLocks noChangeAspect="1"/>
            </p:cNvSpPr>
            <p:nvPr/>
          </p:nvSpPr>
          <p:spPr bwMode="auto">
            <a:xfrm>
              <a:off x="3022600" y="3858578"/>
              <a:ext cx="77788" cy="271462"/>
            </a:xfrm>
            <a:custGeom>
              <a:avLst/>
              <a:gdLst>
                <a:gd name="T0" fmla="*/ 0 w 463"/>
                <a:gd name="T1" fmla="*/ 1189 h 1204"/>
                <a:gd name="T2" fmla="*/ 6 w 463"/>
                <a:gd name="T3" fmla="*/ 1157 h 1204"/>
                <a:gd name="T4" fmla="*/ 249 w 463"/>
                <a:gd name="T5" fmla="*/ 14 h 1204"/>
                <a:gd name="T6" fmla="*/ 251 w 463"/>
                <a:gd name="T7" fmla="*/ 10 h 1204"/>
                <a:gd name="T8" fmla="*/ 253 w 463"/>
                <a:gd name="T9" fmla="*/ 7 h 1204"/>
                <a:gd name="T10" fmla="*/ 256 w 463"/>
                <a:gd name="T11" fmla="*/ 5 h 1204"/>
                <a:gd name="T12" fmla="*/ 260 w 463"/>
                <a:gd name="T13" fmla="*/ 2 h 1204"/>
                <a:gd name="T14" fmla="*/ 265 w 463"/>
                <a:gd name="T15" fmla="*/ 0 h 1204"/>
                <a:gd name="T16" fmla="*/ 270 w 463"/>
                <a:gd name="T17" fmla="*/ 0 h 1204"/>
                <a:gd name="T18" fmla="*/ 463 w 463"/>
                <a:gd name="T19" fmla="*/ 0 h 1204"/>
                <a:gd name="T20" fmla="*/ 209 w 463"/>
                <a:gd name="T21" fmla="*/ 1204 h 1204"/>
                <a:gd name="T22" fmla="*/ 18 w 463"/>
                <a:gd name="T23" fmla="*/ 1204 h 1204"/>
                <a:gd name="T24" fmla="*/ 15 w 463"/>
                <a:gd name="T25" fmla="*/ 1203 h 1204"/>
                <a:gd name="T26" fmla="*/ 11 w 463"/>
                <a:gd name="T27" fmla="*/ 1202 h 1204"/>
                <a:gd name="T28" fmla="*/ 8 w 463"/>
                <a:gd name="T29" fmla="*/ 1201 h 1204"/>
                <a:gd name="T30" fmla="*/ 4 w 463"/>
                <a:gd name="T31" fmla="*/ 1198 h 1204"/>
                <a:gd name="T32" fmla="*/ 2 w 463"/>
                <a:gd name="T33" fmla="*/ 1196 h 1204"/>
                <a:gd name="T34" fmla="*/ 1 w 463"/>
                <a:gd name="T35" fmla="*/ 1193 h 1204"/>
                <a:gd name="T36" fmla="*/ 0 w 463"/>
                <a:gd name="T37" fmla="*/ 1189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3" h="1204">
                  <a:moveTo>
                    <a:pt x="0" y="1189"/>
                  </a:moveTo>
                  <a:lnTo>
                    <a:pt x="6" y="1157"/>
                  </a:lnTo>
                  <a:lnTo>
                    <a:pt x="249" y="14"/>
                  </a:lnTo>
                  <a:lnTo>
                    <a:pt x="251" y="10"/>
                  </a:lnTo>
                  <a:lnTo>
                    <a:pt x="253" y="7"/>
                  </a:lnTo>
                  <a:lnTo>
                    <a:pt x="256" y="5"/>
                  </a:lnTo>
                  <a:lnTo>
                    <a:pt x="260" y="2"/>
                  </a:lnTo>
                  <a:lnTo>
                    <a:pt x="265" y="0"/>
                  </a:lnTo>
                  <a:lnTo>
                    <a:pt x="270" y="0"/>
                  </a:lnTo>
                  <a:lnTo>
                    <a:pt x="463" y="0"/>
                  </a:lnTo>
                  <a:lnTo>
                    <a:pt x="209" y="1204"/>
                  </a:lnTo>
                  <a:lnTo>
                    <a:pt x="18" y="1204"/>
                  </a:lnTo>
                  <a:lnTo>
                    <a:pt x="15" y="1203"/>
                  </a:lnTo>
                  <a:lnTo>
                    <a:pt x="11" y="1202"/>
                  </a:lnTo>
                  <a:lnTo>
                    <a:pt x="8" y="1201"/>
                  </a:lnTo>
                  <a:lnTo>
                    <a:pt x="4" y="1198"/>
                  </a:lnTo>
                  <a:lnTo>
                    <a:pt x="2" y="1196"/>
                  </a:lnTo>
                  <a:lnTo>
                    <a:pt x="1" y="1193"/>
                  </a:lnTo>
                  <a:lnTo>
                    <a:pt x="0" y="118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698" name="Freeform 146">
              <a:extLst>
                <a:ext uri="{FF2B5EF4-FFF2-40B4-BE49-F238E27FC236}">
                  <a16:creationId xmlns:a16="http://schemas.microsoft.com/office/drawing/2014/main" id="{47C3F216-D2F8-49AF-AFE8-15DAE795EC10}"/>
                </a:ext>
              </a:extLst>
            </p:cNvPr>
            <p:cNvSpPr>
              <a:spLocks noChangeAspect="1"/>
            </p:cNvSpPr>
            <p:nvPr/>
          </p:nvSpPr>
          <p:spPr bwMode="auto">
            <a:xfrm>
              <a:off x="3065463" y="3699828"/>
              <a:ext cx="107950" cy="157162"/>
            </a:xfrm>
            <a:custGeom>
              <a:avLst/>
              <a:gdLst>
                <a:gd name="T0" fmla="*/ 13 w 640"/>
                <a:gd name="T1" fmla="*/ 706 h 706"/>
                <a:gd name="T2" fmla="*/ 3 w 640"/>
                <a:gd name="T3" fmla="*/ 702 h 706"/>
                <a:gd name="T4" fmla="*/ 0 w 640"/>
                <a:gd name="T5" fmla="*/ 693 h 706"/>
                <a:gd name="T6" fmla="*/ 43 w 640"/>
                <a:gd name="T7" fmla="*/ 588 h 706"/>
                <a:gd name="T8" fmla="*/ 97 w 640"/>
                <a:gd name="T9" fmla="*/ 484 h 706"/>
                <a:gd name="T10" fmla="*/ 108 w 640"/>
                <a:gd name="T11" fmla="*/ 467 h 706"/>
                <a:gd name="T12" fmla="*/ 159 w 640"/>
                <a:gd name="T13" fmla="*/ 384 h 706"/>
                <a:gd name="T14" fmla="*/ 183 w 640"/>
                <a:gd name="T15" fmla="*/ 354 h 706"/>
                <a:gd name="T16" fmla="*/ 232 w 640"/>
                <a:gd name="T17" fmla="*/ 288 h 706"/>
                <a:gd name="T18" fmla="*/ 262 w 640"/>
                <a:gd name="T19" fmla="*/ 253 h 706"/>
                <a:gd name="T20" fmla="*/ 405 w 640"/>
                <a:gd name="T21" fmla="*/ 78 h 706"/>
                <a:gd name="T22" fmla="*/ 465 w 640"/>
                <a:gd name="T23" fmla="*/ 5 h 706"/>
                <a:gd name="T24" fmla="*/ 474 w 640"/>
                <a:gd name="T25" fmla="*/ 0 h 706"/>
                <a:gd name="T26" fmla="*/ 486 w 640"/>
                <a:gd name="T27" fmla="*/ 2 h 706"/>
                <a:gd name="T28" fmla="*/ 640 w 640"/>
                <a:gd name="T29" fmla="*/ 83 h 706"/>
                <a:gd name="T30" fmla="*/ 607 w 640"/>
                <a:gd name="T31" fmla="*/ 138 h 706"/>
                <a:gd name="T32" fmla="*/ 497 w 640"/>
                <a:gd name="T33" fmla="*/ 323 h 706"/>
                <a:gd name="T34" fmla="*/ 432 w 640"/>
                <a:gd name="T35" fmla="*/ 434 h 706"/>
                <a:gd name="T36" fmla="*/ 411 w 640"/>
                <a:gd name="T37" fmla="*/ 467 h 706"/>
                <a:gd name="T38" fmla="*/ 388 w 640"/>
                <a:gd name="T39" fmla="*/ 507 h 706"/>
                <a:gd name="T40" fmla="*/ 316 w 640"/>
                <a:gd name="T41" fmla="*/ 628 h 706"/>
                <a:gd name="T42" fmla="*/ 268 w 640"/>
                <a:gd name="T43" fmla="*/ 706 h 706"/>
                <a:gd name="T44" fmla="*/ 227 w 640"/>
                <a:gd name="T45" fmla="*/ 706 h 706"/>
                <a:gd name="T46" fmla="*/ 13 w 640"/>
                <a:gd name="T47" fmla="*/ 706 h 706"/>
                <a:gd name="T48" fmla="*/ 3 w 640"/>
                <a:gd name="T49" fmla="*/ 702 h 706"/>
                <a:gd name="T50" fmla="*/ 13 w 640"/>
                <a:gd name="T51"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0" h="706">
                  <a:moveTo>
                    <a:pt x="13" y="706"/>
                  </a:moveTo>
                  <a:lnTo>
                    <a:pt x="3" y="702"/>
                  </a:lnTo>
                  <a:lnTo>
                    <a:pt x="0" y="693"/>
                  </a:lnTo>
                  <a:lnTo>
                    <a:pt x="43" y="588"/>
                  </a:lnTo>
                  <a:lnTo>
                    <a:pt x="97" y="484"/>
                  </a:lnTo>
                  <a:lnTo>
                    <a:pt x="108" y="467"/>
                  </a:lnTo>
                  <a:lnTo>
                    <a:pt x="159" y="384"/>
                  </a:lnTo>
                  <a:lnTo>
                    <a:pt x="183" y="354"/>
                  </a:lnTo>
                  <a:lnTo>
                    <a:pt x="232" y="288"/>
                  </a:lnTo>
                  <a:lnTo>
                    <a:pt x="262" y="253"/>
                  </a:lnTo>
                  <a:lnTo>
                    <a:pt x="405" y="78"/>
                  </a:lnTo>
                  <a:lnTo>
                    <a:pt x="465" y="5"/>
                  </a:lnTo>
                  <a:lnTo>
                    <a:pt x="474" y="0"/>
                  </a:lnTo>
                  <a:lnTo>
                    <a:pt x="486" y="2"/>
                  </a:lnTo>
                  <a:lnTo>
                    <a:pt x="640" y="83"/>
                  </a:lnTo>
                  <a:lnTo>
                    <a:pt x="607" y="138"/>
                  </a:lnTo>
                  <a:lnTo>
                    <a:pt x="497" y="323"/>
                  </a:lnTo>
                  <a:lnTo>
                    <a:pt x="432" y="434"/>
                  </a:lnTo>
                  <a:lnTo>
                    <a:pt x="411" y="467"/>
                  </a:lnTo>
                  <a:lnTo>
                    <a:pt x="388" y="507"/>
                  </a:lnTo>
                  <a:lnTo>
                    <a:pt x="316" y="628"/>
                  </a:lnTo>
                  <a:lnTo>
                    <a:pt x="268" y="706"/>
                  </a:lnTo>
                  <a:lnTo>
                    <a:pt x="227" y="706"/>
                  </a:lnTo>
                  <a:lnTo>
                    <a:pt x="13" y="706"/>
                  </a:lnTo>
                  <a:lnTo>
                    <a:pt x="3" y="702"/>
                  </a:lnTo>
                  <a:lnTo>
                    <a:pt x="13" y="706"/>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699" name="Freeform 147">
              <a:extLst>
                <a:ext uri="{FF2B5EF4-FFF2-40B4-BE49-F238E27FC236}">
                  <a16:creationId xmlns:a16="http://schemas.microsoft.com/office/drawing/2014/main" id="{46F331C5-3CF7-488B-AC82-3E2DF97D0B7C}"/>
                </a:ext>
              </a:extLst>
            </p:cNvPr>
            <p:cNvSpPr>
              <a:spLocks noChangeAspect="1"/>
            </p:cNvSpPr>
            <p:nvPr/>
          </p:nvSpPr>
          <p:spPr bwMode="auto">
            <a:xfrm>
              <a:off x="3065463" y="3699828"/>
              <a:ext cx="107950" cy="157162"/>
            </a:xfrm>
            <a:custGeom>
              <a:avLst/>
              <a:gdLst>
                <a:gd name="T0" fmla="*/ 13 w 640"/>
                <a:gd name="T1" fmla="*/ 706 h 706"/>
                <a:gd name="T2" fmla="*/ 3 w 640"/>
                <a:gd name="T3" fmla="*/ 702 h 706"/>
                <a:gd name="T4" fmla="*/ 0 w 640"/>
                <a:gd name="T5" fmla="*/ 693 h 706"/>
                <a:gd name="T6" fmla="*/ 43 w 640"/>
                <a:gd name="T7" fmla="*/ 588 h 706"/>
                <a:gd name="T8" fmla="*/ 97 w 640"/>
                <a:gd name="T9" fmla="*/ 484 h 706"/>
                <a:gd name="T10" fmla="*/ 108 w 640"/>
                <a:gd name="T11" fmla="*/ 467 h 706"/>
                <a:gd name="T12" fmla="*/ 159 w 640"/>
                <a:gd name="T13" fmla="*/ 384 h 706"/>
                <a:gd name="T14" fmla="*/ 183 w 640"/>
                <a:gd name="T15" fmla="*/ 354 h 706"/>
                <a:gd name="T16" fmla="*/ 232 w 640"/>
                <a:gd name="T17" fmla="*/ 288 h 706"/>
                <a:gd name="T18" fmla="*/ 262 w 640"/>
                <a:gd name="T19" fmla="*/ 253 h 706"/>
                <a:gd name="T20" fmla="*/ 405 w 640"/>
                <a:gd name="T21" fmla="*/ 78 h 706"/>
                <a:gd name="T22" fmla="*/ 465 w 640"/>
                <a:gd name="T23" fmla="*/ 5 h 706"/>
                <a:gd name="T24" fmla="*/ 474 w 640"/>
                <a:gd name="T25" fmla="*/ 0 h 706"/>
                <a:gd name="T26" fmla="*/ 486 w 640"/>
                <a:gd name="T27" fmla="*/ 2 h 706"/>
                <a:gd name="T28" fmla="*/ 640 w 640"/>
                <a:gd name="T29" fmla="*/ 83 h 706"/>
                <a:gd name="T30" fmla="*/ 607 w 640"/>
                <a:gd name="T31" fmla="*/ 138 h 706"/>
                <a:gd name="T32" fmla="*/ 497 w 640"/>
                <a:gd name="T33" fmla="*/ 323 h 706"/>
                <a:gd name="T34" fmla="*/ 432 w 640"/>
                <a:gd name="T35" fmla="*/ 434 h 706"/>
                <a:gd name="T36" fmla="*/ 411 w 640"/>
                <a:gd name="T37" fmla="*/ 467 h 706"/>
                <a:gd name="T38" fmla="*/ 388 w 640"/>
                <a:gd name="T39" fmla="*/ 507 h 706"/>
                <a:gd name="T40" fmla="*/ 316 w 640"/>
                <a:gd name="T41" fmla="*/ 628 h 706"/>
                <a:gd name="T42" fmla="*/ 268 w 640"/>
                <a:gd name="T43" fmla="*/ 706 h 706"/>
                <a:gd name="T44" fmla="*/ 227 w 640"/>
                <a:gd name="T45" fmla="*/ 706 h 706"/>
                <a:gd name="T46" fmla="*/ 13 w 640"/>
                <a:gd name="T47" fmla="*/ 706 h 706"/>
                <a:gd name="T48" fmla="*/ 3 w 640"/>
                <a:gd name="T49" fmla="*/ 702 h 706"/>
                <a:gd name="T50" fmla="*/ 13 w 640"/>
                <a:gd name="T51"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0" h="706">
                  <a:moveTo>
                    <a:pt x="13" y="706"/>
                  </a:moveTo>
                  <a:lnTo>
                    <a:pt x="3" y="702"/>
                  </a:lnTo>
                  <a:lnTo>
                    <a:pt x="0" y="693"/>
                  </a:lnTo>
                  <a:lnTo>
                    <a:pt x="43" y="588"/>
                  </a:lnTo>
                  <a:lnTo>
                    <a:pt x="97" y="484"/>
                  </a:lnTo>
                  <a:lnTo>
                    <a:pt x="108" y="467"/>
                  </a:lnTo>
                  <a:lnTo>
                    <a:pt x="159" y="384"/>
                  </a:lnTo>
                  <a:lnTo>
                    <a:pt x="183" y="354"/>
                  </a:lnTo>
                  <a:lnTo>
                    <a:pt x="232" y="288"/>
                  </a:lnTo>
                  <a:lnTo>
                    <a:pt x="262" y="253"/>
                  </a:lnTo>
                  <a:lnTo>
                    <a:pt x="405" y="78"/>
                  </a:lnTo>
                  <a:lnTo>
                    <a:pt x="465" y="5"/>
                  </a:lnTo>
                  <a:lnTo>
                    <a:pt x="474" y="0"/>
                  </a:lnTo>
                  <a:lnTo>
                    <a:pt x="486" y="2"/>
                  </a:lnTo>
                  <a:lnTo>
                    <a:pt x="640" y="83"/>
                  </a:lnTo>
                  <a:lnTo>
                    <a:pt x="607" y="138"/>
                  </a:lnTo>
                  <a:lnTo>
                    <a:pt x="497" y="323"/>
                  </a:lnTo>
                  <a:lnTo>
                    <a:pt x="432" y="434"/>
                  </a:lnTo>
                  <a:lnTo>
                    <a:pt x="411" y="467"/>
                  </a:lnTo>
                  <a:lnTo>
                    <a:pt x="388" y="507"/>
                  </a:lnTo>
                  <a:lnTo>
                    <a:pt x="316" y="628"/>
                  </a:lnTo>
                  <a:lnTo>
                    <a:pt x="268" y="706"/>
                  </a:lnTo>
                  <a:lnTo>
                    <a:pt x="227" y="706"/>
                  </a:lnTo>
                  <a:lnTo>
                    <a:pt x="13" y="706"/>
                  </a:lnTo>
                  <a:lnTo>
                    <a:pt x="3" y="702"/>
                  </a:lnTo>
                  <a:lnTo>
                    <a:pt x="13" y="706"/>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700" name="Freeform 148">
              <a:extLst>
                <a:ext uri="{FF2B5EF4-FFF2-40B4-BE49-F238E27FC236}">
                  <a16:creationId xmlns:a16="http://schemas.microsoft.com/office/drawing/2014/main" id="{D5EB977F-1EED-4BFD-A319-09FF4C14A735}"/>
                </a:ext>
              </a:extLst>
            </p:cNvPr>
            <p:cNvSpPr>
              <a:spLocks noChangeAspect="1"/>
            </p:cNvSpPr>
            <p:nvPr/>
          </p:nvSpPr>
          <p:spPr bwMode="auto">
            <a:xfrm>
              <a:off x="3146425" y="3550603"/>
              <a:ext cx="127000" cy="188912"/>
            </a:xfrm>
            <a:custGeom>
              <a:avLst/>
              <a:gdLst>
                <a:gd name="T0" fmla="*/ 6 w 755"/>
                <a:gd name="T1" fmla="*/ 657 h 844"/>
                <a:gd name="T2" fmla="*/ 0 w 755"/>
                <a:gd name="T3" fmla="*/ 651 h 844"/>
                <a:gd name="T4" fmla="*/ 2 w 755"/>
                <a:gd name="T5" fmla="*/ 644 h 844"/>
                <a:gd name="T6" fmla="*/ 603 w 755"/>
                <a:gd name="T7" fmla="*/ 4 h 844"/>
                <a:gd name="T8" fmla="*/ 615 w 755"/>
                <a:gd name="T9" fmla="*/ 0 h 844"/>
                <a:gd name="T10" fmla="*/ 681 w 755"/>
                <a:gd name="T11" fmla="*/ 0 h 844"/>
                <a:gd name="T12" fmla="*/ 692 w 755"/>
                <a:gd name="T13" fmla="*/ 4 h 844"/>
                <a:gd name="T14" fmla="*/ 693 w 755"/>
                <a:gd name="T15" fmla="*/ 13 h 844"/>
                <a:gd name="T16" fmla="*/ 675 w 755"/>
                <a:gd name="T17" fmla="*/ 51 h 844"/>
                <a:gd name="T18" fmla="*/ 676 w 755"/>
                <a:gd name="T19" fmla="*/ 62 h 844"/>
                <a:gd name="T20" fmla="*/ 688 w 755"/>
                <a:gd name="T21" fmla="*/ 69 h 844"/>
                <a:gd name="T22" fmla="*/ 755 w 755"/>
                <a:gd name="T23" fmla="*/ 88 h 844"/>
                <a:gd name="T24" fmla="*/ 384 w 755"/>
                <a:gd name="T25" fmla="*/ 844 h 844"/>
                <a:gd name="T26" fmla="*/ 307 w 755"/>
                <a:gd name="T27" fmla="*/ 820 h 844"/>
                <a:gd name="T28" fmla="*/ 6 w 755"/>
                <a:gd name="T29" fmla="*/ 657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5" h="844">
                  <a:moveTo>
                    <a:pt x="6" y="657"/>
                  </a:moveTo>
                  <a:lnTo>
                    <a:pt x="0" y="651"/>
                  </a:lnTo>
                  <a:lnTo>
                    <a:pt x="2" y="644"/>
                  </a:lnTo>
                  <a:lnTo>
                    <a:pt x="603" y="4"/>
                  </a:lnTo>
                  <a:lnTo>
                    <a:pt x="615" y="0"/>
                  </a:lnTo>
                  <a:lnTo>
                    <a:pt x="681" y="0"/>
                  </a:lnTo>
                  <a:lnTo>
                    <a:pt x="692" y="4"/>
                  </a:lnTo>
                  <a:lnTo>
                    <a:pt x="693" y="13"/>
                  </a:lnTo>
                  <a:lnTo>
                    <a:pt x="675" y="51"/>
                  </a:lnTo>
                  <a:lnTo>
                    <a:pt x="676" y="62"/>
                  </a:lnTo>
                  <a:lnTo>
                    <a:pt x="688" y="69"/>
                  </a:lnTo>
                  <a:lnTo>
                    <a:pt x="755" y="88"/>
                  </a:lnTo>
                  <a:lnTo>
                    <a:pt x="384" y="844"/>
                  </a:lnTo>
                  <a:lnTo>
                    <a:pt x="307" y="820"/>
                  </a:lnTo>
                  <a:lnTo>
                    <a:pt x="6" y="657"/>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701" name="Freeform 149">
              <a:extLst>
                <a:ext uri="{FF2B5EF4-FFF2-40B4-BE49-F238E27FC236}">
                  <a16:creationId xmlns:a16="http://schemas.microsoft.com/office/drawing/2014/main" id="{A5114D73-9B32-4643-904E-9E08236F6755}"/>
                </a:ext>
              </a:extLst>
            </p:cNvPr>
            <p:cNvSpPr>
              <a:spLocks noChangeAspect="1"/>
            </p:cNvSpPr>
            <p:nvPr/>
          </p:nvSpPr>
          <p:spPr bwMode="auto">
            <a:xfrm>
              <a:off x="3146425" y="3550603"/>
              <a:ext cx="127000" cy="188912"/>
            </a:xfrm>
            <a:custGeom>
              <a:avLst/>
              <a:gdLst>
                <a:gd name="T0" fmla="*/ 6 w 755"/>
                <a:gd name="T1" fmla="*/ 657 h 844"/>
                <a:gd name="T2" fmla="*/ 0 w 755"/>
                <a:gd name="T3" fmla="*/ 651 h 844"/>
                <a:gd name="T4" fmla="*/ 2 w 755"/>
                <a:gd name="T5" fmla="*/ 644 h 844"/>
                <a:gd name="T6" fmla="*/ 603 w 755"/>
                <a:gd name="T7" fmla="*/ 4 h 844"/>
                <a:gd name="T8" fmla="*/ 615 w 755"/>
                <a:gd name="T9" fmla="*/ 0 h 844"/>
                <a:gd name="T10" fmla="*/ 681 w 755"/>
                <a:gd name="T11" fmla="*/ 0 h 844"/>
                <a:gd name="T12" fmla="*/ 692 w 755"/>
                <a:gd name="T13" fmla="*/ 4 h 844"/>
                <a:gd name="T14" fmla="*/ 693 w 755"/>
                <a:gd name="T15" fmla="*/ 13 h 844"/>
                <a:gd name="T16" fmla="*/ 675 w 755"/>
                <a:gd name="T17" fmla="*/ 51 h 844"/>
                <a:gd name="T18" fmla="*/ 676 w 755"/>
                <a:gd name="T19" fmla="*/ 62 h 844"/>
                <a:gd name="T20" fmla="*/ 688 w 755"/>
                <a:gd name="T21" fmla="*/ 69 h 844"/>
                <a:gd name="T22" fmla="*/ 755 w 755"/>
                <a:gd name="T23" fmla="*/ 88 h 844"/>
                <a:gd name="T24" fmla="*/ 384 w 755"/>
                <a:gd name="T25" fmla="*/ 844 h 844"/>
                <a:gd name="T26" fmla="*/ 307 w 755"/>
                <a:gd name="T27" fmla="*/ 820 h 844"/>
                <a:gd name="T28" fmla="*/ 6 w 755"/>
                <a:gd name="T29" fmla="*/ 657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5" h="844">
                  <a:moveTo>
                    <a:pt x="6" y="657"/>
                  </a:moveTo>
                  <a:lnTo>
                    <a:pt x="0" y="651"/>
                  </a:lnTo>
                  <a:lnTo>
                    <a:pt x="2" y="644"/>
                  </a:lnTo>
                  <a:lnTo>
                    <a:pt x="603" y="4"/>
                  </a:lnTo>
                  <a:lnTo>
                    <a:pt x="615" y="0"/>
                  </a:lnTo>
                  <a:lnTo>
                    <a:pt x="681" y="0"/>
                  </a:lnTo>
                  <a:lnTo>
                    <a:pt x="692" y="4"/>
                  </a:lnTo>
                  <a:lnTo>
                    <a:pt x="693" y="13"/>
                  </a:lnTo>
                  <a:lnTo>
                    <a:pt x="675" y="51"/>
                  </a:lnTo>
                  <a:lnTo>
                    <a:pt x="676" y="62"/>
                  </a:lnTo>
                  <a:lnTo>
                    <a:pt x="688" y="69"/>
                  </a:lnTo>
                  <a:lnTo>
                    <a:pt x="755" y="88"/>
                  </a:lnTo>
                  <a:lnTo>
                    <a:pt x="384" y="844"/>
                  </a:lnTo>
                  <a:lnTo>
                    <a:pt x="307" y="820"/>
                  </a:lnTo>
                  <a:lnTo>
                    <a:pt x="6" y="657"/>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702" name="Freeform 150">
              <a:extLst>
                <a:ext uri="{FF2B5EF4-FFF2-40B4-BE49-F238E27FC236}">
                  <a16:creationId xmlns:a16="http://schemas.microsoft.com/office/drawing/2014/main" id="{1DE88973-9A0A-4EFB-843E-67897A16FB73}"/>
                </a:ext>
              </a:extLst>
            </p:cNvPr>
            <p:cNvSpPr>
              <a:spLocks noChangeAspect="1"/>
            </p:cNvSpPr>
            <p:nvPr/>
          </p:nvSpPr>
          <p:spPr bwMode="auto">
            <a:xfrm>
              <a:off x="3262313" y="3550604"/>
              <a:ext cx="152400" cy="39687"/>
            </a:xfrm>
            <a:custGeom>
              <a:avLst/>
              <a:gdLst>
                <a:gd name="T0" fmla="*/ 29 w 895"/>
                <a:gd name="T1" fmla="*/ 0 h 178"/>
                <a:gd name="T2" fmla="*/ 635 w 895"/>
                <a:gd name="T3" fmla="*/ 0 h 178"/>
                <a:gd name="T4" fmla="*/ 861 w 895"/>
                <a:gd name="T5" fmla="*/ 0 h 178"/>
                <a:gd name="T6" fmla="*/ 879 w 895"/>
                <a:gd name="T7" fmla="*/ 3 h 178"/>
                <a:gd name="T8" fmla="*/ 892 w 895"/>
                <a:gd name="T9" fmla="*/ 13 h 178"/>
                <a:gd name="T10" fmla="*/ 895 w 895"/>
                <a:gd name="T11" fmla="*/ 26 h 178"/>
                <a:gd name="T12" fmla="*/ 891 w 895"/>
                <a:gd name="T13" fmla="*/ 40 h 178"/>
                <a:gd name="T14" fmla="*/ 769 w 895"/>
                <a:gd name="T15" fmla="*/ 178 h 178"/>
                <a:gd name="T16" fmla="*/ 217 w 895"/>
                <a:gd name="T17" fmla="*/ 178 h 178"/>
                <a:gd name="T18" fmla="*/ 217 w 895"/>
                <a:gd name="T19" fmla="*/ 143 h 178"/>
                <a:gd name="T20" fmla="*/ 212 w 895"/>
                <a:gd name="T21" fmla="*/ 118 h 178"/>
                <a:gd name="T22" fmla="*/ 197 w 895"/>
                <a:gd name="T23" fmla="*/ 95 h 178"/>
                <a:gd name="T24" fmla="*/ 171 w 895"/>
                <a:gd name="T25" fmla="*/ 75 h 178"/>
                <a:gd name="T26" fmla="*/ 139 w 895"/>
                <a:gd name="T27" fmla="*/ 65 h 178"/>
                <a:gd name="T28" fmla="*/ 107 w 895"/>
                <a:gd name="T29" fmla="*/ 61 h 178"/>
                <a:gd name="T30" fmla="*/ 19 w 895"/>
                <a:gd name="T31" fmla="*/ 61 h 178"/>
                <a:gd name="T32" fmla="*/ 0 w 895"/>
                <a:gd name="T33" fmla="*/ 42 h 178"/>
                <a:gd name="T34" fmla="*/ 15 w 895"/>
                <a:gd name="T35" fmla="*/ 7 h 178"/>
                <a:gd name="T36" fmla="*/ 21 w 895"/>
                <a:gd name="T37" fmla="*/ 2 h 178"/>
                <a:gd name="T38" fmla="*/ 29 w 895"/>
                <a:gd name="T3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5" h="178">
                  <a:moveTo>
                    <a:pt x="29" y="0"/>
                  </a:moveTo>
                  <a:lnTo>
                    <a:pt x="635" y="0"/>
                  </a:lnTo>
                  <a:lnTo>
                    <a:pt x="861" y="0"/>
                  </a:lnTo>
                  <a:lnTo>
                    <a:pt x="879" y="3"/>
                  </a:lnTo>
                  <a:lnTo>
                    <a:pt x="892" y="13"/>
                  </a:lnTo>
                  <a:lnTo>
                    <a:pt x="895" y="26"/>
                  </a:lnTo>
                  <a:lnTo>
                    <a:pt x="891" y="40"/>
                  </a:lnTo>
                  <a:lnTo>
                    <a:pt x="769" y="178"/>
                  </a:lnTo>
                  <a:lnTo>
                    <a:pt x="217" y="178"/>
                  </a:lnTo>
                  <a:lnTo>
                    <a:pt x="217" y="143"/>
                  </a:lnTo>
                  <a:lnTo>
                    <a:pt x="212" y="118"/>
                  </a:lnTo>
                  <a:lnTo>
                    <a:pt x="197" y="95"/>
                  </a:lnTo>
                  <a:lnTo>
                    <a:pt x="171" y="75"/>
                  </a:lnTo>
                  <a:lnTo>
                    <a:pt x="139" y="65"/>
                  </a:lnTo>
                  <a:lnTo>
                    <a:pt x="107" y="61"/>
                  </a:lnTo>
                  <a:lnTo>
                    <a:pt x="19" y="61"/>
                  </a:lnTo>
                  <a:lnTo>
                    <a:pt x="0" y="42"/>
                  </a:lnTo>
                  <a:lnTo>
                    <a:pt x="15" y="7"/>
                  </a:lnTo>
                  <a:lnTo>
                    <a:pt x="21" y="2"/>
                  </a:lnTo>
                  <a:lnTo>
                    <a:pt x="29" y="0"/>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703" name="Freeform 151">
              <a:extLst>
                <a:ext uri="{FF2B5EF4-FFF2-40B4-BE49-F238E27FC236}">
                  <a16:creationId xmlns:a16="http://schemas.microsoft.com/office/drawing/2014/main" id="{B4FD6E91-2A27-47DE-BE34-B20E77F6F1EB}"/>
                </a:ext>
              </a:extLst>
            </p:cNvPr>
            <p:cNvSpPr>
              <a:spLocks noChangeAspect="1"/>
            </p:cNvSpPr>
            <p:nvPr/>
          </p:nvSpPr>
          <p:spPr bwMode="auto">
            <a:xfrm>
              <a:off x="3262313" y="3550604"/>
              <a:ext cx="152400" cy="39687"/>
            </a:xfrm>
            <a:custGeom>
              <a:avLst/>
              <a:gdLst>
                <a:gd name="T0" fmla="*/ 29 w 895"/>
                <a:gd name="T1" fmla="*/ 0 h 178"/>
                <a:gd name="T2" fmla="*/ 635 w 895"/>
                <a:gd name="T3" fmla="*/ 0 h 178"/>
                <a:gd name="T4" fmla="*/ 861 w 895"/>
                <a:gd name="T5" fmla="*/ 0 h 178"/>
                <a:gd name="T6" fmla="*/ 879 w 895"/>
                <a:gd name="T7" fmla="*/ 3 h 178"/>
                <a:gd name="T8" fmla="*/ 892 w 895"/>
                <a:gd name="T9" fmla="*/ 13 h 178"/>
                <a:gd name="T10" fmla="*/ 895 w 895"/>
                <a:gd name="T11" fmla="*/ 26 h 178"/>
                <a:gd name="T12" fmla="*/ 891 w 895"/>
                <a:gd name="T13" fmla="*/ 40 h 178"/>
                <a:gd name="T14" fmla="*/ 769 w 895"/>
                <a:gd name="T15" fmla="*/ 178 h 178"/>
                <a:gd name="T16" fmla="*/ 217 w 895"/>
                <a:gd name="T17" fmla="*/ 178 h 178"/>
                <a:gd name="T18" fmla="*/ 217 w 895"/>
                <a:gd name="T19" fmla="*/ 143 h 178"/>
                <a:gd name="T20" fmla="*/ 212 w 895"/>
                <a:gd name="T21" fmla="*/ 118 h 178"/>
                <a:gd name="T22" fmla="*/ 197 w 895"/>
                <a:gd name="T23" fmla="*/ 95 h 178"/>
                <a:gd name="T24" fmla="*/ 171 w 895"/>
                <a:gd name="T25" fmla="*/ 75 h 178"/>
                <a:gd name="T26" fmla="*/ 139 w 895"/>
                <a:gd name="T27" fmla="*/ 65 h 178"/>
                <a:gd name="T28" fmla="*/ 107 w 895"/>
                <a:gd name="T29" fmla="*/ 61 h 178"/>
                <a:gd name="T30" fmla="*/ 19 w 895"/>
                <a:gd name="T31" fmla="*/ 61 h 178"/>
                <a:gd name="T32" fmla="*/ 0 w 895"/>
                <a:gd name="T33" fmla="*/ 42 h 178"/>
                <a:gd name="T34" fmla="*/ 15 w 895"/>
                <a:gd name="T35" fmla="*/ 7 h 178"/>
                <a:gd name="T36" fmla="*/ 21 w 895"/>
                <a:gd name="T37" fmla="*/ 2 h 178"/>
                <a:gd name="T38" fmla="*/ 29 w 895"/>
                <a:gd name="T3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5" h="178">
                  <a:moveTo>
                    <a:pt x="29" y="0"/>
                  </a:moveTo>
                  <a:lnTo>
                    <a:pt x="635" y="0"/>
                  </a:lnTo>
                  <a:lnTo>
                    <a:pt x="861" y="0"/>
                  </a:lnTo>
                  <a:lnTo>
                    <a:pt x="879" y="3"/>
                  </a:lnTo>
                  <a:lnTo>
                    <a:pt x="892" y="13"/>
                  </a:lnTo>
                  <a:lnTo>
                    <a:pt x="895" y="26"/>
                  </a:lnTo>
                  <a:lnTo>
                    <a:pt x="891" y="40"/>
                  </a:lnTo>
                  <a:lnTo>
                    <a:pt x="769" y="178"/>
                  </a:lnTo>
                  <a:lnTo>
                    <a:pt x="217" y="178"/>
                  </a:lnTo>
                  <a:lnTo>
                    <a:pt x="217" y="143"/>
                  </a:lnTo>
                  <a:lnTo>
                    <a:pt x="212" y="118"/>
                  </a:lnTo>
                  <a:lnTo>
                    <a:pt x="197" y="95"/>
                  </a:lnTo>
                  <a:lnTo>
                    <a:pt x="171" y="75"/>
                  </a:lnTo>
                  <a:lnTo>
                    <a:pt x="139" y="65"/>
                  </a:lnTo>
                  <a:lnTo>
                    <a:pt x="107" y="61"/>
                  </a:lnTo>
                  <a:lnTo>
                    <a:pt x="19" y="61"/>
                  </a:lnTo>
                  <a:lnTo>
                    <a:pt x="0" y="42"/>
                  </a:lnTo>
                  <a:lnTo>
                    <a:pt x="15" y="7"/>
                  </a:lnTo>
                  <a:lnTo>
                    <a:pt x="21" y="2"/>
                  </a:lnTo>
                  <a:lnTo>
                    <a:pt x="29" y="0"/>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704" name="Freeform 152">
              <a:extLst>
                <a:ext uri="{FF2B5EF4-FFF2-40B4-BE49-F238E27FC236}">
                  <a16:creationId xmlns:a16="http://schemas.microsoft.com/office/drawing/2014/main" id="{61B85CD7-8AEF-447D-BE8B-8FC9F5FCCE17}"/>
                </a:ext>
              </a:extLst>
            </p:cNvPr>
            <p:cNvSpPr>
              <a:spLocks noChangeAspect="1"/>
            </p:cNvSpPr>
            <p:nvPr/>
          </p:nvSpPr>
          <p:spPr bwMode="auto">
            <a:xfrm>
              <a:off x="2701925" y="1339216"/>
              <a:ext cx="211138" cy="119063"/>
            </a:xfrm>
            <a:custGeom>
              <a:avLst/>
              <a:gdLst>
                <a:gd name="T0" fmla="*/ 1229 w 1250"/>
                <a:gd name="T1" fmla="*/ 57 h 526"/>
                <a:gd name="T2" fmla="*/ 107 w 1250"/>
                <a:gd name="T3" fmla="*/ 525 h 526"/>
                <a:gd name="T4" fmla="*/ 99 w 1250"/>
                <a:gd name="T5" fmla="*/ 526 h 526"/>
                <a:gd name="T6" fmla="*/ 92 w 1250"/>
                <a:gd name="T7" fmla="*/ 524 h 526"/>
                <a:gd name="T8" fmla="*/ 0 w 1250"/>
                <a:gd name="T9" fmla="*/ 473 h 526"/>
                <a:gd name="T10" fmla="*/ 54 w 1250"/>
                <a:gd name="T11" fmla="*/ 419 h 526"/>
                <a:gd name="T12" fmla="*/ 10 w 1250"/>
                <a:gd name="T13" fmla="*/ 395 h 526"/>
                <a:gd name="T14" fmla="*/ 316 w 1250"/>
                <a:gd name="T15" fmla="*/ 93 h 526"/>
                <a:gd name="T16" fmla="*/ 592 w 1250"/>
                <a:gd name="T17" fmla="*/ 93 h 526"/>
                <a:gd name="T18" fmla="*/ 1205 w 1250"/>
                <a:gd name="T19" fmla="*/ 0 h 526"/>
                <a:gd name="T20" fmla="*/ 1219 w 1250"/>
                <a:gd name="T21" fmla="*/ 1 h 526"/>
                <a:gd name="T22" fmla="*/ 1232 w 1250"/>
                <a:gd name="T23" fmla="*/ 5 h 526"/>
                <a:gd name="T24" fmla="*/ 1242 w 1250"/>
                <a:gd name="T25" fmla="*/ 13 h 526"/>
                <a:gd name="T26" fmla="*/ 1248 w 1250"/>
                <a:gd name="T27" fmla="*/ 21 h 526"/>
                <a:gd name="T28" fmla="*/ 1250 w 1250"/>
                <a:gd name="T29" fmla="*/ 32 h 526"/>
                <a:gd name="T30" fmla="*/ 1247 w 1250"/>
                <a:gd name="T31" fmla="*/ 42 h 526"/>
                <a:gd name="T32" fmla="*/ 1239 w 1250"/>
                <a:gd name="T33" fmla="*/ 51 h 526"/>
                <a:gd name="T34" fmla="*/ 1229 w 1250"/>
                <a:gd name="T35" fmla="*/ 57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50" h="526">
                  <a:moveTo>
                    <a:pt x="1229" y="57"/>
                  </a:moveTo>
                  <a:lnTo>
                    <a:pt x="107" y="525"/>
                  </a:lnTo>
                  <a:lnTo>
                    <a:pt x="99" y="526"/>
                  </a:lnTo>
                  <a:lnTo>
                    <a:pt x="92" y="524"/>
                  </a:lnTo>
                  <a:lnTo>
                    <a:pt x="0" y="473"/>
                  </a:lnTo>
                  <a:lnTo>
                    <a:pt x="54" y="419"/>
                  </a:lnTo>
                  <a:lnTo>
                    <a:pt x="10" y="395"/>
                  </a:lnTo>
                  <a:lnTo>
                    <a:pt x="316" y="93"/>
                  </a:lnTo>
                  <a:lnTo>
                    <a:pt x="592" y="93"/>
                  </a:lnTo>
                  <a:lnTo>
                    <a:pt x="1205" y="0"/>
                  </a:lnTo>
                  <a:lnTo>
                    <a:pt x="1219" y="1"/>
                  </a:lnTo>
                  <a:lnTo>
                    <a:pt x="1232" y="5"/>
                  </a:lnTo>
                  <a:lnTo>
                    <a:pt x="1242" y="13"/>
                  </a:lnTo>
                  <a:lnTo>
                    <a:pt x="1248" y="21"/>
                  </a:lnTo>
                  <a:lnTo>
                    <a:pt x="1250" y="32"/>
                  </a:lnTo>
                  <a:lnTo>
                    <a:pt x="1247" y="42"/>
                  </a:lnTo>
                  <a:lnTo>
                    <a:pt x="1239" y="51"/>
                  </a:lnTo>
                  <a:lnTo>
                    <a:pt x="1229" y="57"/>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705" name="Freeform 153">
              <a:extLst>
                <a:ext uri="{FF2B5EF4-FFF2-40B4-BE49-F238E27FC236}">
                  <a16:creationId xmlns:a16="http://schemas.microsoft.com/office/drawing/2014/main" id="{33C8E6EB-059A-4410-8125-2E6D5EA863DA}"/>
                </a:ext>
              </a:extLst>
            </p:cNvPr>
            <p:cNvSpPr>
              <a:spLocks noChangeAspect="1"/>
            </p:cNvSpPr>
            <p:nvPr/>
          </p:nvSpPr>
          <p:spPr bwMode="auto">
            <a:xfrm>
              <a:off x="2701925" y="1339216"/>
              <a:ext cx="211138" cy="119063"/>
            </a:xfrm>
            <a:custGeom>
              <a:avLst/>
              <a:gdLst>
                <a:gd name="T0" fmla="*/ 1229 w 1250"/>
                <a:gd name="T1" fmla="*/ 57 h 526"/>
                <a:gd name="T2" fmla="*/ 107 w 1250"/>
                <a:gd name="T3" fmla="*/ 525 h 526"/>
                <a:gd name="T4" fmla="*/ 99 w 1250"/>
                <a:gd name="T5" fmla="*/ 526 h 526"/>
                <a:gd name="T6" fmla="*/ 92 w 1250"/>
                <a:gd name="T7" fmla="*/ 524 h 526"/>
                <a:gd name="T8" fmla="*/ 0 w 1250"/>
                <a:gd name="T9" fmla="*/ 473 h 526"/>
                <a:gd name="T10" fmla="*/ 54 w 1250"/>
                <a:gd name="T11" fmla="*/ 419 h 526"/>
                <a:gd name="T12" fmla="*/ 10 w 1250"/>
                <a:gd name="T13" fmla="*/ 395 h 526"/>
                <a:gd name="T14" fmla="*/ 316 w 1250"/>
                <a:gd name="T15" fmla="*/ 93 h 526"/>
                <a:gd name="T16" fmla="*/ 592 w 1250"/>
                <a:gd name="T17" fmla="*/ 93 h 526"/>
                <a:gd name="T18" fmla="*/ 1205 w 1250"/>
                <a:gd name="T19" fmla="*/ 0 h 526"/>
                <a:gd name="T20" fmla="*/ 1219 w 1250"/>
                <a:gd name="T21" fmla="*/ 1 h 526"/>
                <a:gd name="T22" fmla="*/ 1232 w 1250"/>
                <a:gd name="T23" fmla="*/ 5 h 526"/>
                <a:gd name="T24" fmla="*/ 1242 w 1250"/>
                <a:gd name="T25" fmla="*/ 13 h 526"/>
                <a:gd name="T26" fmla="*/ 1248 w 1250"/>
                <a:gd name="T27" fmla="*/ 21 h 526"/>
                <a:gd name="T28" fmla="*/ 1250 w 1250"/>
                <a:gd name="T29" fmla="*/ 32 h 526"/>
                <a:gd name="T30" fmla="*/ 1247 w 1250"/>
                <a:gd name="T31" fmla="*/ 42 h 526"/>
                <a:gd name="T32" fmla="*/ 1239 w 1250"/>
                <a:gd name="T33" fmla="*/ 51 h 526"/>
                <a:gd name="T34" fmla="*/ 1229 w 1250"/>
                <a:gd name="T35" fmla="*/ 57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50" h="526">
                  <a:moveTo>
                    <a:pt x="1229" y="57"/>
                  </a:moveTo>
                  <a:lnTo>
                    <a:pt x="107" y="525"/>
                  </a:lnTo>
                  <a:lnTo>
                    <a:pt x="99" y="526"/>
                  </a:lnTo>
                  <a:lnTo>
                    <a:pt x="92" y="524"/>
                  </a:lnTo>
                  <a:lnTo>
                    <a:pt x="0" y="473"/>
                  </a:lnTo>
                  <a:lnTo>
                    <a:pt x="54" y="419"/>
                  </a:lnTo>
                  <a:lnTo>
                    <a:pt x="10" y="395"/>
                  </a:lnTo>
                  <a:lnTo>
                    <a:pt x="316" y="93"/>
                  </a:lnTo>
                  <a:lnTo>
                    <a:pt x="592" y="93"/>
                  </a:lnTo>
                  <a:lnTo>
                    <a:pt x="1205" y="0"/>
                  </a:lnTo>
                  <a:lnTo>
                    <a:pt x="1219" y="1"/>
                  </a:lnTo>
                  <a:lnTo>
                    <a:pt x="1232" y="5"/>
                  </a:lnTo>
                  <a:lnTo>
                    <a:pt x="1242" y="13"/>
                  </a:lnTo>
                  <a:lnTo>
                    <a:pt x="1248" y="21"/>
                  </a:lnTo>
                  <a:lnTo>
                    <a:pt x="1250" y="32"/>
                  </a:lnTo>
                  <a:lnTo>
                    <a:pt x="1247" y="42"/>
                  </a:lnTo>
                  <a:lnTo>
                    <a:pt x="1239" y="51"/>
                  </a:lnTo>
                  <a:lnTo>
                    <a:pt x="1229" y="57"/>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706" name="Freeform 154">
              <a:extLst>
                <a:ext uri="{FF2B5EF4-FFF2-40B4-BE49-F238E27FC236}">
                  <a16:creationId xmlns:a16="http://schemas.microsoft.com/office/drawing/2014/main" id="{B9489182-D344-43BF-A4CC-169CC6939AC4}"/>
                </a:ext>
              </a:extLst>
            </p:cNvPr>
            <p:cNvSpPr>
              <a:spLocks noChangeAspect="1"/>
            </p:cNvSpPr>
            <p:nvPr/>
          </p:nvSpPr>
          <p:spPr bwMode="auto">
            <a:xfrm>
              <a:off x="2630489" y="1440815"/>
              <a:ext cx="84137" cy="90488"/>
            </a:xfrm>
            <a:custGeom>
              <a:avLst/>
              <a:gdLst>
                <a:gd name="T0" fmla="*/ 497 w 504"/>
                <a:gd name="T1" fmla="*/ 106 h 403"/>
                <a:gd name="T2" fmla="*/ 208 w 504"/>
                <a:gd name="T3" fmla="*/ 393 h 403"/>
                <a:gd name="T4" fmla="*/ 199 w 504"/>
                <a:gd name="T5" fmla="*/ 399 h 403"/>
                <a:gd name="T6" fmla="*/ 188 w 504"/>
                <a:gd name="T7" fmla="*/ 402 h 403"/>
                <a:gd name="T8" fmla="*/ 175 w 504"/>
                <a:gd name="T9" fmla="*/ 403 h 403"/>
                <a:gd name="T10" fmla="*/ 0 w 504"/>
                <a:gd name="T11" fmla="*/ 361 h 403"/>
                <a:gd name="T12" fmla="*/ 365 w 504"/>
                <a:gd name="T13" fmla="*/ 0 h 403"/>
                <a:gd name="T14" fmla="*/ 490 w 504"/>
                <a:gd name="T15" fmla="*/ 71 h 403"/>
                <a:gd name="T16" fmla="*/ 498 w 504"/>
                <a:gd name="T17" fmla="*/ 77 h 403"/>
                <a:gd name="T18" fmla="*/ 503 w 504"/>
                <a:gd name="T19" fmla="*/ 84 h 403"/>
                <a:gd name="T20" fmla="*/ 504 w 504"/>
                <a:gd name="T21" fmla="*/ 91 h 403"/>
                <a:gd name="T22" fmla="*/ 502 w 504"/>
                <a:gd name="T23" fmla="*/ 99 h 403"/>
                <a:gd name="T24" fmla="*/ 497 w 504"/>
                <a:gd name="T25" fmla="*/ 106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403">
                  <a:moveTo>
                    <a:pt x="497" y="106"/>
                  </a:moveTo>
                  <a:lnTo>
                    <a:pt x="208" y="393"/>
                  </a:lnTo>
                  <a:lnTo>
                    <a:pt x="199" y="399"/>
                  </a:lnTo>
                  <a:lnTo>
                    <a:pt x="188" y="402"/>
                  </a:lnTo>
                  <a:lnTo>
                    <a:pt x="175" y="403"/>
                  </a:lnTo>
                  <a:lnTo>
                    <a:pt x="0" y="361"/>
                  </a:lnTo>
                  <a:lnTo>
                    <a:pt x="365" y="0"/>
                  </a:lnTo>
                  <a:lnTo>
                    <a:pt x="490" y="71"/>
                  </a:lnTo>
                  <a:lnTo>
                    <a:pt x="498" y="77"/>
                  </a:lnTo>
                  <a:lnTo>
                    <a:pt x="503" y="84"/>
                  </a:lnTo>
                  <a:lnTo>
                    <a:pt x="504" y="91"/>
                  </a:lnTo>
                  <a:lnTo>
                    <a:pt x="502" y="99"/>
                  </a:lnTo>
                  <a:lnTo>
                    <a:pt x="497" y="106"/>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707" name="Freeform 155">
              <a:extLst>
                <a:ext uri="{FF2B5EF4-FFF2-40B4-BE49-F238E27FC236}">
                  <a16:creationId xmlns:a16="http://schemas.microsoft.com/office/drawing/2014/main" id="{F03CE47E-FADB-434F-89AF-0CA1EAEDE05C}"/>
                </a:ext>
              </a:extLst>
            </p:cNvPr>
            <p:cNvSpPr>
              <a:spLocks noChangeAspect="1"/>
            </p:cNvSpPr>
            <p:nvPr/>
          </p:nvSpPr>
          <p:spPr bwMode="auto">
            <a:xfrm>
              <a:off x="2630489" y="1440815"/>
              <a:ext cx="84137" cy="90488"/>
            </a:xfrm>
            <a:custGeom>
              <a:avLst/>
              <a:gdLst>
                <a:gd name="T0" fmla="*/ 497 w 504"/>
                <a:gd name="T1" fmla="*/ 106 h 403"/>
                <a:gd name="T2" fmla="*/ 208 w 504"/>
                <a:gd name="T3" fmla="*/ 393 h 403"/>
                <a:gd name="T4" fmla="*/ 199 w 504"/>
                <a:gd name="T5" fmla="*/ 399 h 403"/>
                <a:gd name="T6" fmla="*/ 188 w 504"/>
                <a:gd name="T7" fmla="*/ 402 h 403"/>
                <a:gd name="T8" fmla="*/ 175 w 504"/>
                <a:gd name="T9" fmla="*/ 403 h 403"/>
                <a:gd name="T10" fmla="*/ 0 w 504"/>
                <a:gd name="T11" fmla="*/ 361 h 403"/>
                <a:gd name="T12" fmla="*/ 365 w 504"/>
                <a:gd name="T13" fmla="*/ 0 h 403"/>
                <a:gd name="T14" fmla="*/ 490 w 504"/>
                <a:gd name="T15" fmla="*/ 71 h 403"/>
                <a:gd name="T16" fmla="*/ 498 w 504"/>
                <a:gd name="T17" fmla="*/ 77 h 403"/>
                <a:gd name="T18" fmla="*/ 503 w 504"/>
                <a:gd name="T19" fmla="*/ 84 h 403"/>
                <a:gd name="T20" fmla="*/ 504 w 504"/>
                <a:gd name="T21" fmla="*/ 91 h 403"/>
                <a:gd name="T22" fmla="*/ 502 w 504"/>
                <a:gd name="T23" fmla="*/ 99 h 403"/>
                <a:gd name="T24" fmla="*/ 497 w 504"/>
                <a:gd name="T25" fmla="*/ 106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403">
                  <a:moveTo>
                    <a:pt x="497" y="106"/>
                  </a:moveTo>
                  <a:lnTo>
                    <a:pt x="208" y="393"/>
                  </a:lnTo>
                  <a:lnTo>
                    <a:pt x="199" y="399"/>
                  </a:lnTo>
                  <a:lnTo>
                    <a:pt x="188" y="402"/>
                  </a:lnTo>
                  <a:lnTo>
                    <a:pt x="175" y="403"/>
                  </a:lnTo>
                  <a:lnTo>
                    <a:pt x="0" y="361"/>
                  </a:lnTo>
                  <a:lnTo>
                    <a:pt x="365" y="0"/>
                  </a:lnTo>
                  <a:lnTo>
                    <a:pt x="490" y="71"/>
                  </a:lnTo>
                  <a:lnTo>
                    <a:pt x="498" y="77"/>
                  </a:lnTo>
                  <a:lnTo>
                    <a:pt x="503" y="84"/>
                  </a:lnTo>
                  <a:lnTo>
                    <a:pt x="504" y="91"/>
                  </a:lnTo>
                  <a:lnTo>
                    <a:pt x="502" y="99"/>
                  </a:lnTo>
                  <a:lnTo>
                    <a:pt x="497" y="106"/>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708" name="Freeform 156">
              <a:extLst>
                <a:ext uri="{FF2B5EF4-FFF2-40B4-BE49-F238E27FC236}">
                  <a16:creationId xmlns:a16="http://schemas.microsoft.com/office/drawing/2014/main" id="{83CEA7B6-2504-410E-BA2B-64EDBB9AF6E8}"/>
                </a:ext>
              </a:extLst>
            </p:cNvPr>
            <p:cNvSpPr>
              <a:spLocks noChangeAspect="1"/>
            </p:cNvSpPr>
            <p:nvPr/>
          </p:nvSpPr>
          <p:spPr bwMode="auto">
            <a:xfrm>
              <a:off x="2574925" y="1523365"/>
              <a:ext cx="84138" cy="82550"/>
            </a:xfrm>
            <a:custGeom>
              <a:avLst/>
              <a:gdLst>
                <a:gd name="T0" fmla="*/ 498 w 505"/>
                <a:gd name="T1" fmla="*/ 68 h 363"/>
                <a:gd name="T2" fmla="*/ 221 w 505"/>
                <a:gd name="T3" fmla="*/ 342 h 363"/>
                <a:gd name="T4" fmla="*/ 209 w 505"/>
                <a:gd name="T5" fmla="*/ 353 h 363"/>
                <a:gd name="T6" fmla="*/ 202 w 505"/>
                <a:gd name="T7" fmla="*/ 358 h 363"/>
                <a:gd name="T8" fmla="*/ 193 w 505"/>
                <a:gd name="T9" fmla="*/ 362 h 363"/>
                <a:gd name="T10" fmla="*/ 184 w 505"/>
                <a:gd name="T11" fmla="*/ 363 h 363"/>
                <a:gd name="T12" fmla="*/ 174 w 505"/>
                <a:gd name="T13" fmla="*/ 363 h 363"/>
                <a:gd name="T14" fmla="*/ 165 w 505"/>
                <a:gd name="T15" fmla="*/ 361 h 363"/>
                <a:gd name="T16" fmla="*/ 0 w 505"/>
                <a:gd name="T17" fmla="*/ 323 h 363"/>
                <a:gd name="T18" fmla="*/ 327 w 505"/>
                <a:gd name="T19" fmla="*/ 0 h 363"/>
                <a:gd name="T20" fmla="*/ 486 w 505"/>
                <a:gd name="T21" fmla="*/ 30 h 363"/>
                <a:gd name="T22" fmla="*/ 496 w 505"/>
                <a:gd name="T23" fmla="*/ 35 h 363"/>
                <a:gd name="T24" fmla="*/ 503 w 505"/>
                <a:gd name="T25" fmla="*/ 42 h 363"/>
                <a:gd name="T26" fmla="*/ 505 w 505"/>
                <a:gd name="T27" fmla="*/ 51 h 363"/>
                <a:gd name="T28" fmla="*/ 504 w 505"/>
                <a:gd name="T29" fmla="*/ 61 h 363"/>
                <a:gd name="T30" fmla="*/ 498 w 505"/>
                <a:gd name="T31" fmla="*/ 68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63">
                  <a:moveTo>
                    <a:pt x="498" y="68"/>
                  </a:moveTo>
                  <a:lnTo>
                    <a:pt x="221" y="342"/>
                  </a:lnTo>
                  <a:lnTo>
                    <a:pt x="209" y="353"/>
                  </a:lnTo>
                  <a:lnTo>
                    <a:pt x="202" y="358"/>
                  </a:lnTo>
                  <a:lnTo>
                    <a:pt x="193" y="362"/>
                  </a:lnTo>
                  <a:lnTo>
                    <a:pt x="184" y="363"/>
                  </a:lnTo>
                  <a:lnTo>
                    <a:pt x="174" y="363"/>
                  </a:lnTo>
                  <a:lnTo>
                    <a:pt x="165" y="361"/>
                  </a:lnTo>
                  <a:lnTo>
                    <a:pt x="0" y="323"/>
                  </a:lnTo>
                  <a:lnTo>
                    <a:pt x="327" y="0"/>
                  </a:lnTo>
                  <a:lnTo>
                    <a:pt x="486" y="30"/>
                  </a:lnTo>
                  <a:lnTo>
                    <a:pt x="496" y="35"/>
                  </a:lnTo>
                  <a:lnTo>
                    <a:pt x="503" y="42"/>
                  </a:lnTo>
                  <a:lnTo>
                    <a:pt x="505" y="51"/>
                  </a:lnTo>
                  <a:lnTo>
                    <a:pt x="504" y="61"/>
                  </a:lnTo>
                  <a:lnTo>
                    <a:pt x="498" y="68"/>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709" name="Freeform 157">
              <a:extLst>
                <a:ext uri="{FF2B5EF4-FFF2-40B4-BE49-F238E27FC236}">
                  <a16:creationId xmlns:a16="http://schemas.microsoft.com/office/drawing/2014/main" id="{377F8C5F-F2DC-4B54-8B5C-AFC00A83D179}"/>
                </a:ext>
              </a:extLst>
            </p:cNvPr>
            <p:cNvSpPr>
              <a:spLocks noChangeAspect="1"/>
            </p:cNvSpPr>
            <p:nvPr/>
          </p:nvSpPr>
          <p:spPr bwMode="auto">
            <a:xfrm>
              <a:off x="2574925" y="1523365"/>
              <a:ext cx="84138" cy="82550"/>
            </a:xfrm>
            <a:custGeom>
              <a:avLst/>
              <a:gdLst>
                <a:gd name="T0" fmla="*/ 498 w 505"/>
                <a:gd name="T1" fmla="*/ 68 h 363"/>
                <a:gd name="T2" fmla="*/ 221 w 505"/>
                <a:gd name="T3" fmla="*/ 342 h 363"/>
                <a:gd name="T4" fmla="*/ 209 w 505"/>
                <a:gd name="T5" fmla="*/ 353 h 363"/>
                <a:gd name="T6" fmla="*/ 202 w 505"/>
                <a:gd name="T7" fmla="*/ 358 h 363"/>
                <a:gd name="T8" fmla="*/ 193 w 505"/>
                <a:gd name="T9" fmla="*/ 362 h 363"/>
                <a:gd name="T10" fmla="*/ 184 w 505"/>
                <a:gd name="T11" fmla="*/ 363 h 363"/>
                <a:gd name="T12" fmla="*/ 174 w 505"/>
                <a:gd name="T13" fmla="*/ 363 h 363"/>
                <a:gd name="T14" fmla="*/ 165 w 505"/>
                <a:gd name="T15" fmla="*/ 361 h 363"/>
                <a:gd name="T16" fmla="*/ 0 w 505"/>
                <a:gd name="T17" fmla="*/ 323 h 363"/>
                <a:gd name="T18" fmla="*/ 327 w 505"/>
                <a:gd name="T19" fmla="*/ 0 h 363"/>
                <a:gd name="T20" fmla="*/ 486 w 505"/>
                <a:gd name="T21" fmla="*/ 30 h 363"/>
                <a:gd name="T22" fmla="*/ 496 w 505"/>
                <a:gd name="T23" fmla="*/ 35 h 363"/>
                <a:gd name="T24" fmla="*/ 503 w 505"/>
                <a:gd name="T25" fmla="*/ 42 h 363"/>
                <a:gd name="T26" fmla="*/ 505 w 505"/>
                <a:gd name="T27" fmla="*/ 51 h 363"/>
                <a:gd name="T28" fmla="*/ 504 w 505"/>
                <a:gd name="T29" fmla="*/ 61 h 363"/>
                <a:gd name="T30" fmla="*/ 498 w 505"/>
                <a:gd name="T31" fmla="*/ 68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63">
                  <a:moveTo>
                    <a:pt x="498" y="68"/>
                  </a:moveTo>
                  <a:lnTo>
                    <a:pt x="221" y="342"/>
                  </a:lnTo>
                  <a:lnTo>
                    <a:pt x="209" y="353"/>
                  </a:lnTo>
                  <a:lnTo>
                    <a:pt x="202" y="358"/>
                  </a:lnTo>
                  <a:lnTo>
                    <a:pt x="193" y="362"/>
                  </a:lnTo>
                  <a:lnTo>
                    <a:pt x="184" y="363"/>
                  </a:lnTo>
                  <a:lnTo>
                    <a:pt x="174" y="363"/>
                  </a:lnTo>
                  <a:lnTo>
                    <a:pt x="165" y="361"/>
                  </a:lnTo>
                  <a:lnTo>
                    <a:pt x="0" y="323"/>
                  </a:lnTo>
                  <a:lnTo>
                    <a:pt x="327" y="0"/>
                  </a:lnTo>
                  <a:lnTo>
                    <a:pt x="486" y="30"/>
                  </a:lnTo>
                  <a:lnTo>
                    <a:pt x="496" y="35"/>
                  </a:lnTo>
                  <a:lnTo>
                    <a:pt x="503" y="42"/>
                  </a:lnTo>
                  <a:lnTo>
                    <a:pt x="505" y="51"/>
                  </a:lnTo>
                  <a:lnTo>
                    <a:pt x="504" y="61"/>
                  </a:lnTo>
                  <a:lnTo>
                    <a:pt x="498" y="68"/>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710" name="Freeform 158">
              <a:extLst>
                <a:ext uri="{FF2B5EF4-FFF2-40B4-BE49-F238E27FC236}">
                  <a16:creationId xmlns:a16="http://schemas.microsoft.com/office/drawing/2014/main" id="{D99B9DE1-5663-4750-9C1F-823971218386}"/>
                </a:ext>
              </a:extLst>
            </p:cNvPr>
            <p:cNvSpPr>
              <a:spLocks noChangeAspect="1"/>
            </p:cNvSpPr>
            <p:nvPr/>
          </p:nvSpPr>
          <p:spPr bwMode="auto">
            <a:xfrm>
              <a:off x="2522538" y="1596390"/>
              <a:ext cx="82550" cy="95250"/>
            </a:xfrm>
            <a:custGeom>
              <a:avLst/>
              <a:gdLst>
                <a:gd name="T0" fmla="*/ 484 w 486"/>
                <a:gd name="T1" fmla="*/ 73 h 429"/>
                <a:gd name="T2" fmla="*/ 284 w 486"/>
                <a:gd name="T3" fmla="*/ 415 h 429"/>
                <a:gd name="T4" fmla="*/ 284 w 486"/>
                <a:gd name="T5" fmla="*/ 416 h 429"/>
                <a:gd name="T6" fmla="*/ 281 w 486"/>
                <a:gd name="T7" fmla="*/ 420 h 429"/>
                <a:gd name="T8" fmla="*/ 277 w 486"/>
                <a:gd name="T9" fmla="*/ 423 h 429"/>
                <a:gd name="T10" fmla="*/ 273 w 486"/>
                <a:gd name="T11" fmla="*/ 425 h 429"/>
                <a:gd name="T12" fmla="*/ 268 w 486"/>
                <a:gd name="T13" fmla="*/ 427 h 429"/>
                <a:gd name="T14" fmla="*/ 262 w 486"/>
                <a:gd name="T15" fmla="*/ 429 h 429"/>
                <a:gd name="T16" fmla="*/ 257 w 486"/>
                <a:gd name="T17" fmla="*/ 429 h 429"/>
                <a:gd name="T18" fmla="*/ 252 w 486"/>
                <a:gd name="T19" fmla="*/ 429 h 429"/>
                <a:gd name="T20" fmla="*/ 246 w 486"/>
                <a:gd name="T21" fmla="*/ 429 h 429"/>
                <a:gd name="T22" fmla="*/ 241 w 486"/>
                <a:gd name="T23" fmla="*/ 428 h 429"/>
                <a:gd name="T24" fmla="*/ 236 w 486"/>
                <a:gd name="T25" fmla="*/ 426 h 429"/>
                <a:gd name="T26" fmla="*/ 233 w 486"/>
                <a:gd name="T27" fmla="*/ 425 h 429"/>
                <a:gd name="T28" fmla="*/ 0 w 486"/>
                <a:gd name="T29" fmla="*/ 294 h 429"/>
                <a:gd name="T30" fmla="*/ 297 w 486"/>
                <a:gd name="T31" fmla="*/ 0 h 429"/>
                <a:gd name="T32" fmla="*/ 462 w 486"/>
                <a:gd name="T33" fmla="*/ 38 h 429"/>
                <a:gd name="T34" fmla="*/ 464 w 486"/>
                <a:gd name="T35" fmla="*/ 39 h 429"/>
                <a:gd name="T36" fmla="*/ 469 w 486"/>
                <a:gd name="T37" fmla="*/ 41 h 429"/>
                <a:gd name="T38" fmla="*/ 475 w 486"/>
                <a:gd name="T39" fmla="*/ 43 h 429"/>
                <a:gd name="T40" fmla="*/ 478 w 486"/>
                <a:gd name="T41" fmla="*/ 46 h 429"/>
                <a:gd name="T42" fmla="*/ 481 w 486"/>
                <a:gd name="T43" fmla="*/ 49 h 429"/>
                <a:gd name="T44" fmla="*/ 484 w 486"/>
                <a:gd name="T45" fmla="*/ 54 h 429"/>
                <a:gd name="T46" fmla="*/ 485 w 486"/>
                <a:gd name="T47" fmla="*/ 58 h 429"/>
                <a:gd name="T48" fmla="*/ 486 w 486"/>
                <a:gd name="T49" fmla="*/ 62 h 429"/>
                <a:gd name="T50" fmla="*/ 485 w 486"/>
                <a:gd name="T51" fmla="*/ 67 h 429"/>
                <a:gd name="T52" fmla="*/ 484 w 486"/>
                <a:gd name="T53" fmla="*/ 71 h 429"/>
                <a:gd name="T54" fmla="*/ 484 w 486"/>
                <a:gd name="T55" fmla="*/ 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6" h="429">
                  <a:moveTo>
                    <a:pt x="484" y="73"/>
                  </a:moveTo>
                  <a:lnTo>
                    <a:pt x="284" y="415"/>
                  </a:lnTo>
                  <a:lnTo>
                    <a:pt x="284" y="416"/>
                  </a:lnTo>
                  <a:lnTo>
                    <a:pt x="281" y="420"/>
                  </a:lnTo>
                  <a:lnTo>
                    <a:pt x="277" y="423"/>
                  </a:lnTo>
                  <a:lnTo>
                    <a:pt x="273" y="425"/>
                  </a:lnTo>
                  <a:lnTo>
                    <a:pt x="268" y="427"/>
                  </a:lnTo>
                  <a:lnTo>
                    <a:pt x="262" y="429"/>
                  </a:lnTo>
                  <a:lnTo>
                    <a:pt x="257" y="429"/>
                  </a:lnTo>
                  <a:lnTo>
                    <a:pt x="252" y="429"/>
                  </a:lnTo>
                  <a:lnTo>
                    <a:pt x="246" y="429"/>
                  </a:lnTo>
                  <a:lnTo>
                    <a:pt x="241" y="428"/>
                  </a:lnTo>
                  <a:lnTo>
                    <a:pt x="236" y="426"/>
                  </a:lnTo>
                  <a:lnTo>
                    <a:pt x="233" y="425"/>
                  </a:lnTo>
                  <a:lnTo>
                    <a:pt x="0" y="294"/>
                  </a:lnTo>
                  <a:lnTo>
                    <a:pt x="297" y="0"/>
                  </a:lnTo>
                  <a:lnTo>
                    <a:pt x="462" y="38"/>
                  </a:lnTo>
                  <a:lnTo>
                    <a:pt x="464" y="39"/>
                  </a:lnTo>
                  <a:lnTo>
                    <a:pt x="469" y="41"/>
                  </a:lnTo>
                  <a:lnTo>
                    <a:pt x="475" y="43"/>
                  </a:lnTo>
                  <a:lnTo>
                    <a:pt x="478" y="46"/>
                  </a:lnTo>
                  <a:lnTo>
                    <a:pt x="481" y="49"/>
                  </a:lnTo>
                  <a:lnTo>
                    <a:pt x="484" y="54"/>
                  </a:lnTo>
                  <a:lnTo>
                    <a:pt x="485" y="58"/>
                  </a:lnTo>
                  <a:lnTo>
                    <a:pt x="486" y="62"/>
                  </a:lnTo>
                  <a:lnTo>
                    <a:pt x="485" y="67"/>
                  </a:lnTo>
                  <a:lnTo>
                    <a:pt x="484" y="71"/>
                  </a:lnTo>
                  <a:lnTo>
                    <a:pt x="484" y="73"/>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711" name="Freeform 159">
              <a:extLst>
                <a:ext uri="{FF2B5EF4-FFF2-40B4-BE49-F238E27FC236}">
                  <a16:creationId xmlns:a16="http://schemas.microsoft.com/office/drawing/2014/main" id="{977FB032-DFE3-4995-819A-2F3E04D30374}"/>
                </a:ext>
              </a:extLst>
            </p:cNvPr>
            <p:cNvSpPr>
              <a:spLocks noChangeAspect="1"/>
            </p:cNvSpPr>
            <p:nvPr/>
          </p:nvSpPr>
          <p:spPr bwMode="auto">
            <a:xfrm>
              <a:off x="2522538" y="1596390"/>
              <a:ext cx="82550" cy="95250"/>
            </a:xfrm>
            <a:custGeom>
              <a:avLst/>
              <a:gdLst>
                <a:gd name="T0" fmla="*/ 484 w 486"/>
                <a:gd name="T1" fmla="*/ 73 h 429"/>
                <a:gd name="T2" fmla="*/ 284 w 486"/>
                <a:gd name="T3" fmla="*/ 415 h 429"/>
                <a:gd name="T4" fmla="*/ 284 w 486"/>
                <a:gd name="T5" fmla="*/ 416 h 429"/>
                <a:gd name="T6" fmla="*/ 281 w 486"/>
                <a:gd name="T7" fmla="*/ 420 h 429"/>
                <a:gd name="T8" fmla="*/ 277 w 486"/>
                <a:gd name="T9" fmla="*/ 423 h 429"/>
                <a:gd name="T10" fmla="*/ 273 w 486"/>
                <a:gd name="T11" fmla="*/ 425 h 429"/>
                <a:gd name="T12" fmla="*/ 268 w 486"/>
                <a:gd name="T13" fmla="*/ 427 h 429"/>
                <a:gd name="T14" fmla="*/ 262 w 486"/>
                <a:gd name="T15" fmla="*/ 429 h 429"/>
                <a:gd name="T16" fmla="*/ 257 w 486"/>
                <a:gd name="T17" fmla="*/ 429 h 429"/>
                <a:gd name="T18" fmla="*/ 252 w 486"/>
                <a:gd name="T19" fmla="*/ 429 h 429"/>
                <a:gd name="T20" fmla="*/ 246 w 486"/>
                <a:gd name="T21" fmla="*/ 429 h 429"/>
                <a:gd name="T22" fmla="*/ 241 w 486"/>
                <a:gd name="T23" fmla="*/ 428 h 429"/>
                <a:gd name="T24" fmla="*/ 236 w 486"/>
                <a:gd name="T25" fmla="*/ 426 h 429"/>
                <a:gd name="T26" fmla="*/ 233 w 486"/>
                <a:gd name="T27" fmla="*/ 425 h 429"/>
                <a:gd name="T28" fmla="*/ 0 w 486"/>
                <a:gd name="T29" fmla="*/ 294 h 429"/>
                <a:gd name="T30" fmla="*/ 297 w 486"/>
                <a:gd name="T31" fmla="*/ 0 h 429"/>
                <a:gd name="T32" fmla="*/ 462 w 486"/>
                <a:gd name="T33" fmla="*/ 38 h 429"/>
                <a:gd name="T34" fmla="*/ 464 w 486"/>
                <a:gd name="T35" fmla="*/ 39 h 429"/>
                <a:gd name="T36" fmla="*/ 469 w 486"/>
                <a:gd name="T37" fmla="*/ 41 h 429"/>
                <a:gd name="T38" fmla="*/ 475 w 486"/>
                <a:gd name="T39" fmla="*/ 43 h 429"/>
                <a:gd name="T40" fmla="*/ 478 w 486"/>
                <a:gd name="T41" fmla="*/ 46 h 429"/>
                <a:gd name="T42" fmla="*/ 481 w 486"/>
                <a:gd name="T43" fmla="*/ 49 h 429"/>
                <a:gd name="T44" fmla="*/ 484 w 486"/>
                <a:gd name="T45" fmla="*/ 54 h 429"/>
                <a:gd name="T46" fmla="*/ 485 w 486"/>
                <a:gd name="T47" fmla="*/ 58 h 429"/>
                <a:gd name="T48" fmla="*/ 486 w 486"/>
                <a:gd name="T49" fmla="*/ 62 h 429"/>
                <a:gd name="T50" fmla="*/ 485 w 486"/>
                <a:gd name="T51" fmla="*/ 67 h 429"/>
                <a:gd name="T52" fmla="*/ 484 w 486"/>
                <a:gd name="T53" fmla="*/ 71 h 429"/>
                <a:gd name="T54" fmla="*/ 484 w 486"/>
                <a:gd name="T55" fmla="*/ 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6" h="429">
                  <a:moveTo>
                    <a:pt x="484" y="73"/>
                  </a:moveTo>
                  <a:lnTo>
                    <a:pt x="284" y="415"/>
                  </a:lnTo>
                  <a:lnTo>
                    <a:pt x="284" y="416"/>
                  </a:lnTo>
                  <a:lnTo>
                    <a:pt x="281" y="420"/>
                  </a:lnTo>
                  <a:lnTo>
                    <a:pt x="277" y="423"/>
                  </a:lnTo>
                  <a:lnTo>
                    <a:pt x="273" y="425"/>
                  </a:lnTo>
                  <a:lnTo>
                    <a:pt x="268" y="427"/>
                  </a:lnTo>
                  <a:lnTo>
                    <a:pt x="262" y="429"/>
                  </a:lnTo>
                  <a:lnTo>
                    <a:pt x="257" y="429"/>
                  </a:lnTo>
                  <a:lnTo>
                    <a:pt x="252" y="429"/>
                  </a:lnTo>
                  <a:lnTo>
                    <a:pt x="246" y="429"/>
                  </a:lnTo>
                  <a:lnTo>
                    <a:pt x="241" y="428"/>
                  </a:lnTo>
                  <a:lnTo>
                    <a:pt x="236" y="426"/>
                  </a:lnTo>
                  <a:lnTo>
                    <a:pt x="233" y="425"/>
                  </a:lnTo>
                  <a:lnTo>
                    <a:pt x="0" y="294"/>
                  </a:lnTo>
                  <a:lnTo>
                    <a:pt x="297" y="0"/>
                  </a:lnTo>
                  <a:lnTo>
                    <a:pt x="462" y="38"/>
                  </a:lnTo>
                  <a:lnTo>
                    <a:pt x="464" y="39"/>
                  </a:lnTo>
                  <a:lnTo>
                    <a:pt x="469" y="41"/>
                  </a:lnTo>
                  <a:lnTo>
                    <a:pt x="475" y="43"/>
                  </a:lnTo>
                  <a:lnTo>
                    <a:pt x="478" y="46"/>
                  </a:lnTo>
                  <a:lnTo>
                    <a:pt x="481" y="49"/>
                  </a:lnTo>
                  <a:lnTo>
                    <a:pt x="484" y="54"/>
                  </a:lnTo>
                  <a:lnTo>
                    <a:pt x="485" y="58"/>
                  </a:lnTo>
                  <a:lnTo>
                    <a:pt x="486" y="62"/>
                  </a:lnTo>
                  <a:lnTo>
                    <a:pt x="485" y="67"/>
                  </a:lnTo>
                  <a:lnTo>
                    <a:pt x="484" y="71"/>
                  </a:lnTo>
                  <a:lnTo>
                    <a:pt x="484" y="73"/>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712" name="Freeform 160">
              <a:extLst>
                <a:ext uri="{FF2B5EF4-FFF2-40B4-BE49-F238E27FC236}">
                  <a16:creationId xmlns:a16="http://schemas.microsoft.com/office/drawing/2014/main" id="{B640411B-78D0-476F-A033-A786648C643D}"/>
                </a:ext>
              </a:extLst>
            </p:cNvPr>
            <p:cNvSpPr>
              <a:spLocks noChangeAspect="1"/>
            </p:cNvSpPr>
            <p:nvPr/>
          </p:nvSpPr>
          <p:spPr bwMode="auto">
            <a:xfrm>
              <a:off x="2470150" y="1663066"/>
              <a:ext cx="96838" cy="130175"/>
            </a:xfrm>
            <a:custGeom>
              <a:avLst/>
              <a:gdLst>
                <a:gd name="T0" fmla="*/ 572 w 573"/>
                <a:gd name="T1" fmla="*/ 169 h 579"/>
                <a:gd name="T2" fmla="*/ 413 w 573"/>
                <a:gd name="T3" fmla="*/ 478 h 579"/>
                <a:gd name="T4" fmla="*/ 409 w 573"/>
                <a:gd name="T5" fmla="*/ 485 h 579"/>
                <a:gd name="T6" fmla="*/ 407 w 573"/>
                <a:gd name="T7" fmla="*/ 489 h 579"/>
                <a:gd name="T8" fmla="*/ 401 w 573"/>
                <a:gd name="T9" fmla="*/ 495 h 579"/>
                <a:gd name="T10" fmla="*/ 398 w 573"/>
                <a:gd name="T11" fmla="*/ 498 h 579"/>
                <a:gd name="T12" fmla="*/ 327 w 573"/>
                <a:gd name="T13" fmla="*/ 569 h 579"/>
                <a:gd name="T14" fmla="*/ 324 w 573"/>
                <a:gd name="T15" fmla="*/ 571 h 579"/>
                <a:gd name="T16" fmla="*/ 321 w 573"/>
                <a:gd name="T17" fmla="*/ 573 h 579"/>
                <a:gd name="T18" fmla="*/ 315 w 573"/>
                <a:gd name="T19" fmla="*/ 576 h 579"/>
                <a:gd name="T20" fmla="*/ 311 w 573"/>
                <a:gd name="T21" fmla="*/ 577 h 579"/>
                <a:gd name="T22" fmla="*/ 305 w 573"/>
                <a:gd name="T23" fmla="*/ 579 h 579"/>
                <a:gd name="T24" fmla="*/ 300 w 573"/>
                <a:gd name="T25" fmla="*/ 579 h 579"/>
                <a:gd name="T26" fmla="*/ 293 w 573"/>
                <a:gd name="T27" fmla="*/ 579 h 579"/>
                <a:gd name="T28" fmla="*/ 288 w 573"/>
                <a:gd name="T29" fmla="*/ 578 h 579"/>
                <a:gd name="T30" fmla="*/ 283 w 573"/>
                <a:gd name="T31" fmla="*/ 576 h 579"/>
                <a:gd name="T32" fmla="*/ 278 w 573"/>
                <a:gd name="T33" fmla="*/ 574 h 579"/>
                <a:gd name="T34" fmla="*/ 278 w 573"/>
                <a:gd name="T35" fmla="*/ 574 h 579"/>
                <a:gd name="T36" fmla="*/ 0 w 573"/>
                <a:gd name="T37" fmla="*/ 418 h 579"/>
                <a:gd name="T38" fmla="*/ 152 w 573"/>
                <a:gd name="T39" fmla="*/ 267 h 579"/>
                <a:gd name="T40" fmla="*/ 81 w 573"/>
                <a:gd name="T41" fmla="*/ 226 h 579"/>
                <a:gd name="T42" fmla="*/ 312 w 573"/>
                <a:gd name="T43" fmla="*/ 0 h 579"/>
                <a:gd name="T44" fmla="*/ 560 w 573"/>
                <a:gd name="T45" fmla="*/ 139 h 579"/>
                <a:gd name="T46" fmla="*/ 562 w 573"/>
                <a:gd name="T47" fmla="*/ 140 h 579"/>
                <a:gd name="T48" fmla="*/ 565 w 573"/>
                <a:gd name="T49" fmla="*/ 143 h 579"/>
                <a:gd name="T50" fmla="*/ 569 w 573"/>
                <a:gd name="T51" fmla="*/ 146 h 579"/>
                <a:gd name="T52" fmla="*/ 572 w 573"/>
                <a:gd name="T53" fmla="*/ 150 h 579"/>
                <a:gd name="T54" fmla="*/ 573 w 573"/>
                <a:gd name="T55" fmla="*/ 155 h 579"/>
                <a:gd name="T56" fmla="*/ 573 w 573"/>
                <a:gd name="T57" fmla="*/ 159 h 579"/>
                <a:gd name="T58" fmla="*/ 573 w 573"/>
                <a:gd name="T59" fmla="*/ 163 h 579"/>
                <a:gd name="T60" fmla="*/ 572 w 573"/>
                <a:gd name="T61" fmla="*/ 167 h 579"/>
                <a:gd name="T62" fmla="*/ 572 w 573"/>
                <a:gd name="T63" fmla="*/ 169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3" h="579">
                  <a:moveTo>
                    <a:pt x="572" y="169"/>
                  </a:moveTo>
                  <a:lnTo>
                    <a:pt x="413" y="478"/>
                  </a:lnTo>
                  <a:lnTo>
                    <a:pt x="409" y="485"/>
                  </a:lnTo>
                  <a:lnTo>
                    <a:pt x="407" y="489"/>
                  </a:lnTo>
                  <a:lnTo>
                    <a:pt x="401" y="495"/>
                  </a:lnTo>
                  <a:lnTo>
                    <a:pt x="398" y="498"/>
                  </a:lnTo>
                  <a:lnTo>
                    <a:pt x="327" y="569"/>
                  </a:lnTo>
                  <a:lnTo>
                    <a:pt x="324" y="571"/>
                  </a:lnTo>
                  <a:lnTo>
                    <a:pt x="321" y="573"/>
                  </a:lnTo>
                  <a:lnTo>
                    <a:pt x="315" y="576"/>
                  </a:lnTo>
                  <a:lnTo>
                    <a:pt x="311" y="577"/>
                  </a:lnTo>
                  <a:lnTo>
                    <a:pt x="305" y="579"/>
                  </a:lnTo>
                  <a:lnTo>
                    <a:pt x="300" y="579"/>
                  </a:lnTo>
                  <a:lnTo>
                    <a:pt x="293" y="579"/>
                  </a:lnTo>
                  <a:lnTo>
                    <a:pt x="288" y="578"/>
                  </a:lnTo>
                  <a:lnTo>
                    <a:pt x="283" y="576"/>
                  </a:lnTo>
                  <a:lnTo>
                    <a:pt x="278" y="574"/>
                  </a:lnTo>
                  <a:lnTo>
                    <a:pt x="278" y="574"/>
                  </a:lnTo>
                  <a:lnTo>
                    <a:pt x="0" y="418"/>
                  </a:lnTo>
                  <a:lnTo>
                    <a:pt x="152" y="267"/>
                  </a:lnTo>
                  <a:lnTo>
                    <a:pt x="81" y="226"/>
                  </a:lnTo>
                  <a:lnTo>
                    <a:pt x="312" y="0"/>
                  </a:lnTo>
                  <a:lnTo>
                    <a:pt x="560" y="139"/>
                  </a:lnTo>
                  <a:lnTo>
                    <a:pt x="562" y="140"/>
                  </a:lnTo>
                  <a:lnTo>
                    <a:pt x="565" y="143"/>
                  </a:lnTo>
                  <a:lnTo>
                    <a:pt x="569" y="146"/>
                  </a:lnTo>
                  <a:lnTo>
                    <a:pt x="572" y="150"/>
                  </a:lnTo>
                  <a:lnTo>
                    <a:pt x="573" y="155"/>
                  </a:lnTo>
                  <a:lnTo>
                    <a:pt x="573" y="159"/>
                  </a:lnTo>
                  <a:lnTo>
                    <a:pt x="573" y="163"/>
                  </a:lnTo>
                  <a:lnTo>
                    <a:pt x="572" y="167"/>
                  </a:lnTo>
                  <a:lnTo>
                    <a:pt x="572" y="169"/>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713" name="Freeform 161">
              <a:extLst>
                <a:ext uri="{FF2B5EF4-FFF2-40B4-BE49-F238E27FC236}">
                  <a16:creationId xmlns:a16="http://schemas.microsoft.com/office/drawing/2014/main" id="{42FBC004-36A7-4654-8B24-2C12181649E1}"/>
                </a:ext>
              </a:extLst>
            </p:cNvPr>
            <p:cNvSpPr>
              <a:spLocks noChangeAspect="1"/>
            </p:cNvSpPr>
            <p:nvPr/>
          </p:nvSpPr>
          <p:spPr bwMode="auto">
            <a:xfrm>
              <a:off x="2470150" y="1663066"/>
              <a:ext cx="96838" cy="130175"/>
            </a:xfrm>
            <a:custGeom>
              <a:avLst/>
              <a:gdLst>
                <a:gd name="T0" fmla="*/ 572 w 573"/>
                <a:gd name="T1" fmla="*/ 169 h 579"/>
                <a:gd name="T2" fmla="*/ 413 w 573"/>
                <a:gd name="T3" fmla="*/ 478 h 579"/>
                <a:gd name="T4" fmla="*/ 409 w 573"/>
                <a:gd name="T5" fmla="*/ 485 h 579"/>
                <a:gd name="T6" fmla="*/ 407 w 573"/>
                <a:gd name="T7" fmla="*/ 489 h 579"/>
                <a:gd name="T8" fmla="*/ 401 w 573"/>
                <a:gd name="T9" fmla="*/ 495 h 579"/>
                <a:gd name="T10" fmla="*/ 398 w 573"/>
                <a:gd name="T11" fmla="*/ 498 h 579"/>
                <a:gd name="T12" fmla="*/ 327 w 573"/>
                <a:gd name="T13" fmla="*/ 569 h 579"/>
                <a:gd name="T14" fmla="*/ 324 w 573"/>
                <a:gd name="T15" fmla="*/ 571 h 579"/>
                <a:gd name="T16" fmla="*/ 321 w 573"/>
                <a:gd name="T17" fmla="*/ 573 h 579"/>
                <a:gd name="T18" fmla="*/ 315 w 573"/>
                <a:gd name="T19" fmla="*/ 576 h 579"/>
                <a:gd name="T20" fmla="*/ 311 w 573"/>
                <a:gd name="T21" fmla="*/ 577 h 579"/>
                <a:gd name="T22" fmla="*/ 305 w 573"/>
                <a:gd name="T23" fmla="*/ 579 h 579"/>
                <a:gd name="T24" fmla="*/ 300 w 573"/>
                <a:gd name="T25" fmla="*/ 579 h 579"/>
                <a:gd name="T26" fmla="*/ 293 w 573"/>
                <a:gd name="T27" fmla="*/ 579 h 579"/>
                <a:gd name="T28" fmla="*/ 288 w 573"/>
                <a:gd name="T29" fmla="*/ 578 h 579"/>
                <a:gd name="T30" fmla="*/ 283 w 573"/>
                <a:gd name="T31" fmla="*/ 576 h 579"/>
                <a:gd name="T32" fmla="*/ 278 w 573"/>
                <a:gd name="T33" fmla="*/ 574 h 579"/>
                <a:gd name="T34" fmla="*/ 278 w 573"/>
                <a:gd name="T35" fmla="*/ 574 h 579"/>
                <a:gd name="T36" fmla="*/ 0 w 573"/>
                <a:gd name="T37" fmla="*/ 418 h 579"/>
                <a:gd name="T38" fmla="*/ 152 w 573"/>
                <a:gd name="T39" fmla="*/ 267 h 579"/>
                <a:gd name="T40" fmla="*/ 81 w 573"/>
                <a:gd name="T41" fmla="*/ 226 h 579"/>
                <a:gd name="T42" fmla="*/ 312 w 573"/>
                <a:gd name="T43" fmla="*/ 0 h 579"/>
                <a:gd name="T44" fmla="*/ 560 w 573"/>
                <a:gd name="T45" fmla="*/ 139 h 579"/>
                <a:gd name="T46" fmla="*/ 562 w 573"/>
                <a:gd name="T47" fmla="*/ 140 h 579"/>
                <a:gd name="T48" fmla="*/ 565 w 573"/>
                <a:gd name="T49" fmla="*/ 143 h 579"/>
                <a:gd name="T50" fmla="*/ 569 w 573"/>
                <a:gd name="T51" fmla="*/ 146 h 579"/>
                <a:gd name="T52" fmla="*/ 572 w 573"/>
                <a:gd name="T53" fmla="*/ 150 h 579"/>
                <a:gd name="T54" fmla="*/ 573 w 573"/>
                <a:gd name="T55" fmla="*/ 155 h 579"/>
                <a:gd name="T56" fmla="*/ 573 w 573"/>
                <a:gd name="T57" fmla="*/ 159 h 579"/>
                <a:gd name="T58" fmla="*/ 573 w 573"/>
                <a:gd name="T59" fmla="*/ 163 h 579"/>
                <a:gd name="T60" fmla="*/ 572 w 573"/>
                <a:gd name="T61" fmla="*/ 167 h 579"/>
                <a:gd name="T62" fmla="*/ 572 w 573"/>
                <a:gd name="T63" fmla="*/ 169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3" h="579">
                  <a:moveTo>
                    <a:pt x="572" y="169"/>
                  </a:moveTo>
                  <a:lnTo>
                    <a:pt x="413" y="478"/>
                  </a:lnTo>
                  <a:lnTo>
                    <a:pt x="409" y="485"/>
                  </a:lnTo>
                  <a:lnTo>
                    <a:pt x="407" y="489"/>
                  </a:lnTo>
                  <a:lnTo>
                    <a:pt x="401" y="495"/>
                  </a:lnTo>
                  <a:lnTo>
                    <a:pt x="398" y="498"/>
                  </a:lnTo>
                  <a:lnTo>
                    <a:pt x="327" y="569"/>
                  </a:lnTo>
                  <a:lnTo>
                    <a:pt x="324" y="571"/>
                  </a:lnTo>
                  <a:lnTo>
                    <a:pt x="321" y="573"/>
                  </a:lnTo>
                  <a:lnTo>
                    <a:pt x="315" y="576"/>
                  </a:lnTo>
                  <a:lnTo>
                    <a:pt x="311" y="577"/>
                  </a:lnTo>
                  <a:lnTo>
                    <a:pt x="305" y="579"/>
                  </a:lnTo>
                  <a:lnTo>
                    <a:pt x="300" y="579"/>
                  </a:lnTo>
                  <a:lnTo>
                    <a:pt x="293" y="579"/>
                  </a:lnTo>
                  <a:lnTo>
                    <a:pt x="288" y="578"/>
                  </a:lnTo>
                  <a:lnTo>
                    <a:pt x="283" y="576"/>
                  </a:lnTo>
                  <a:lnTo>
                    <a:pt x="278" y="574"/>
                  </a:lnTo>
                  <a:lnTo>
                    <a:pt x="278" y="574"/>
                  </a:lnTo>
                  <a:lnTo>
                    <a:pt x="0" y="418"/>
                  </a:lnTo>
                  <a:lnTo>
                    <a:pt x="152" y="267"/>
                  </a:lnTo>
                  <a:lnTo>
                    <a:pt x="81" y="226"/>
                  </a:lnTo>
                  <a:lnTo>
                    <a:pt x="312" y="0"/>
                  </a:lnTo>
                  <a:lnTo>
                    <a:pt x="560" y="139"/>
                  </a:lnTo>
                  <a:lnTo>
                    <a:pt x="562" y="140"/>
                  </a:lnTo>
                  <a:lnTo>
                    <a:pt x="565" y="143"/>
                  </a:lnTo>
                  <a:lnTo>
                    <a:pt x="569" y="146"/>
                  </a:lnTo>
                  <a:lnTo>
                    <a:pt x="572" y="150"/>
                  </a:lnTo>
                  <a:lnTo>
                    <a:pt x="573" y="155"/>
                  </a:lnTo>
                  <a:lnTo>
                    <a:pt x="573" y="159"/>
                  </a:lnTo>
                  <a:lnTo>
                    <a:pt x="573" y="163"/>
                  </a:lnTo>
                  <a:lnTo>
                    <a:pt x="572" y="167"/>
                  </a:lnTo>
                  <a:lnTo>
                    <a:pt x="572" y="16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714" name="Freeform 162">
              <a:extLst>
                <a:ext uri="{FF2B5EF4-FFF2-40B4-BE49-F238E27FC236}">
                  <a16:creationId xmlns:a16="http://schemas.microsoft.com/office/drawing/2014/main" id="{07B9DACE-F8CB-4F16-B5C2-E23BD336F707}"/>
                </a:ext>
              </a:extLst>
            </p:cNvPr>
            <p:cNvSpPr>
              <a:spLocks noChangeAspect="1"/>
            </p:cNvSpPr>
            <p:nvPr/>
          </p:nvSpPr>
          <p:spPr bwMode="auto">
            <a:xfrm>
              <a:off x="3344864" y="1604329"/>
              <a:ext cx="142875" cy="104775"/>
            </a:xfrm>
            <a:custGeom>
              <a:avLst/>
              <a:gdLst>
                <a:gd name="T0" fmla="*/ 415 w 851"/>
                <a:gd name="T1" fmla="*/ 465 h 465"/>
                <a:gd name="T2" fmla="*/ 11 w 851"/>
                <a:gd name="T3" fmla="*/ 196 h 465"/>
                <a:gd name="T4" fmla="*/ 3 w 851"/>
                <a:gd name="T5" fmla="*/ 188 h 465"/>
                <a:gd name="T6" fmla="*/ 0 w 851"/>
                <a:gd name="T7" fmla="*/ 179 h 465"/>
                <a:gd name="T8" fmla="*/ 1 w 851"/>
                <a:gd name="T9" fmla="*/ 170 h 465"/>
                <a:gd name="T10" fmla="*/ 6 w 851"/>
                <a:gd name="T11" fmla="*/ 162 h 465"/>
                <a:gd name="T12" fmla="*/ 15 w 851"/>
                <a:gd name="T13" fmla="*/ 156 h 465"/>
                <a:gd name="T14" fmla="*/ 300 w 851"/>
                <a:gd name="T15" fmla="*/ 4 h 465"/>
                <a:gd name="T16" fmla="*/ 307 w 851"/>
                <a:gd name="T17" fmla="*/ 1 h 465"/>
                <a:gd name="T18" fmla="*/ 317 w 851"/>
                <a:gd name="T19" fmla="*/ 0 h 465"/>
                <a:gd name="T20" fmla="*/ 326 w 851"/>
                <a:gd name="T21" fmla="*/ 0 h 465"/>
                <a:gd name="T22" fmla="*/ 335 w 851"/>
                <a:gd name="T23" fmla="*/ 2 h 465"/>
                <a:gd name="T24" fmla="*/ 342 w 851"/>
                <a:gd name="T25" fmla="*/ 6 h 465"/>
                <a:gd name="T26" fmla="*/ 851 w 851"/>
                <a:gd name="T27" fmla="*/ 346 h 465"/>
                <a:gd name="T28" fmla="*/ 851 w 851"/>
                <a:gd name="T29" fmla="*/ 465 h 465"/>
                <a:gd name="T30" fmla="*/ 415 w 851"/>
                <a:gd name="T31" fmla="*/ 465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1" h="465">
                  <a:moveTo>
                    <a:pt x="415" y="465"/>
                  </a:moveTo>
                  <a:lnTo>
                    <a:pt x="11" y="196"/>
                  </a:lnTo>
                  <a:lnTo>
                    <a:pt x="3" y="188"/>
                  </a:lnTo>
                  <a:lnTo>
                    <a:pt x="0" y="179"/>
                  </a:lnTo>
                  <a:lnTo>
                    <a:pt x="1" y="170"/>
                  </a:lnTo>
                  <a:lnTo>
                    <a:pt x="6" y="162"/>
                  </a:lnTo>
                  <a:lnTo>
                    <a:pt x="15" y="156"/>
                  </a:lnTo>
                  <a:lnTo>
                    <a:pt x="300" y="4"/>
                  </a:lnTo>
                  <a:lnTo>
                    <a:pt x="307" y="1"/>
                  </a:lnTo>
                  <a:lnTo>
                    <a:pt x="317" y="0"/>
                  </a:lnTo>
                  <a:lnTo>
                    <a:pt x="326" y="0"/>
                  </a:lnTo>
                  <a:lnTo>
                    <a:pt x="335" y="2"/>
                  </a:lnTo>
                  <a:lnTo>
                    <a:pt x="342" y="6"/>
                  </a:lnTo>
                  <a:lnTo>
                    <a:pt x="851" y="346"/>
                  </a:lnTo>
                  <a:lnTo>
                    <a:pt x="851" y="465"/>
                  </a:lnTo>
                  <a:lnTo>
                    <a:pt x="415" y="465"/>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715" name="Freeform 163">
              <a:extLst>
                <a:ext uri="{FF2B5EF4-FFF2-40B4-BE49-F238E27FC236}">
                  <a16:creationId xmlns:a16="http://schemas.microsoft.com/office/drawing/2014/main" id="{1B98D0E4-98F9-4329-8912-1734E6282652}"/>
                </a:ext>
              </a:extLst>
            </p:cNvPr>
            <p:cNvSpPr>
              <a:spLocks noChangeAspect="1"/>
            </p:cNvSpPr>
            <p:nvPr/>
          </p:nvSpPr>
          <p:spPr bwMode="auto">
            <a:xfrm>
              <a:off x="3344864" y="1604329"/>
              <a:ext cx="142875" cy="104775"/>
            </a:xfrm>
            <a:custGeom>
              <a:avLst/>
              <a:gdLst>
                <a:gd name="T0" fmla="*/ 415 w 851"/>
                <a:gd name="T1" fmla="*/ 465 h 465"/>
                <a:gd name="T2" fmla="*/ 11 w 851"/>
                <a:gd name="T3" fmla="*/ 196 h 465"/>
                <a:gd name="T4" fmla="*/ 3 w 851"/>
                <a:gd name="T5" fmla="*/ 188 h 465"/>
                <a:gd name="T6" fmla="*/ 0 w 851"/>
                <a:gd name="T7" fmla="*/ 179 h 465"/>
                <a:gd name="T8" fmla="*/ 1 w 851"/>
                <a:gd name="T9" fmla="*/ 170 h 465"/>
                <a:gd name="T10" fmla="*/ 6 w 851"/>
                <a:gd name="T11" fmla="*/ 162 h 465"/>
                <a:gd name="T12" fmla="*/ 15 w 851"/>
                <a:gd name="T13" fmla="*/ 156 h 465"/>
                <a:gd name="T14" fmla="*/ 300 w 851"/>
                <a:gd name="T15" fmla="*/ 4 h 465"/>
                <a:gd name="T16" fmla="*/ 307 w 851"/>
                <a:gd name="T17" fmla="*/ 1 h 465"/>
                <a:gd name="T18" fmla="*/ 317 w 851"/>
                <a:gd name="T19" fmla="*/ 0 h 465"/>
                <a:gd name="T20" fmla="*/ 326 w 851"/>
                <a:gd name="T21" fmla="*/ 0 h 465"/>
                <a:gd name="T22" fmla="*/ 335 w 851"/>
                <a:gd name="T23" fmla="*/ 2 h 465"/>
                <a:gd name="T24" fmla="*/ 342 w 851"/>
                <a:gd name="T25" fmla="*/ 6 h 465"/>
                <a:gd name="T26" fmla="*/ 851 w 851"/>
                <a:gd name="T27" fmla="*/ 346 h 465"/>
                <a:gd name="T28" fmla="*/ 851 w 851"/>
                <a:gd name="T29" fmla="*/ 465 h 465"/>
                <a:gd name="T30" fmla="*/ 415 w 851"/>
                <a:gd name="T31" fmla="*/ 465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1" h="465">
                  <a:moveTo>
                    <a:pt x="415" y="465"/>
                  </a:moveTo>
                  <a:lnTo>
                    <a:pt x="11" y="196"/>
                  </a:lnTo>
                  <a:lnTo>
                    <a:pt x="3" y="188"/>
                  </a:lnTo>
                  <a:lnTo>
                    <a:pt x="0" y="179"/>
                  </a:lnTo>
                  <a:lnTo>
                    <a:pt x="1" y="170"/>
                  </a:lnTo>
                  <a:lnTo>
                    <a:pt x="6" y="162"/>
                  </a:lnTo>
                  <a:lnTo>
                    <a:pt x="15" y="156"/>
                  </a:lnTo>
                  <a:lnTo>
                    <a:pt x="300" y="4"/>
                  </a:lnTo>
                  <a:lnTo>
                    <a:pt x="307" y="1"/>
                  </a:lnTo>
                  <a:lnTo>
                    <a:pt x="317" y="0"/>
                  </a:lnTo>
                  <a:lnTo>
                    <a:pt x="326" y="0"/>
                  </a:lnTo>
                  <a:lnTo>
                    <a:pt x="335" y="2"/>
                  </a:lnTo>
                  <a:lnTo>
                    <a:pt x="342" y="6"/>
                  </a:lnTo>
                  <a:lnTo>
                    <a:pt x="851" y="346"/>
                  </a:lnTo>
                  <a:lnTo>
                    <a:pt x="851" y="465"/>
                  </a:lnTo>
                  <a:lnTo>
                    <a:pt x="415" y="465"/>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716" name="Freeform 164">
              <a:extLst>
                <a:ext uri="{FF2B5EF4-FFF2-40B4-BE49-F238E27FC236}">
                  <a16:creationId xmlns:a16="http://schemas.microsoft.com/office/drawing/2014/main" id="{572D1B7F-E1D6-47C0-9A95-1EA52B34CAB0}"/>
                </a:ext>
              </a:extLst>
            </p:cNvPr>
            <p:cNvSpPr>
              <a:spLocks noChangeAspect="1"/>
            </p:cNvSpPr>
            <p:nvPr/>
          </p:nvSpPr>
          <p:spPr bwMode="auto">
            <a:xfrm>
              <a:off x="3222625" y="1455104"/>
              <a:ext cx="165100" cy="173037"/>
            </a:xfrm>
            <a:custGeom>
              <a:avLst/>
              <a:gdLst>
                <a:gd name="T0" fmla="*/ 640 w 981"/>
                <a:gd name="T1" fmla="*/ 768 h 778"/>
                <a:gd name="T2" fmla="*/ 5 w 981"/>
                <a:gd name="T3" fmla="*/ 121 h 778"/>
                <a:gd name="T4" fmla="*/ 0 w 981"/>
                <a:gd name="T5" fmla="*/ 112 h 778"/>
                <a:gd name="T6" fmla="*/ 0 w 981"/>
                <a:gd name="T7" fmla="*/ 102 h 778"/>
                <a:gd name="T8" fmla="*/ 4 w 981"/>
                <a:gd name="T9" fmla="*/ 92 h 778"/>
                <a:gd name="T10" fmla="*/ 13 w 981"/>
                <a:gd name="T11" fmla="*/ 85 h 778"/>
                <a:gd name="T12" fmla="*/ 63 w 981"/>
                <a:gd name="T13" fmla="*/ 59 h 778"/>
                <a:gd name="T14" fmla="*/ 184 w 981"/>
                <a:gd name="T15" fmla="*/ 92 h 778"/>
                <a:gd name="T16" fmla="*/ 188 w 981"/>
                <a:gd name="T17" fmla="*/ 92 h 778"/>
                <a:gd name="T18" fmla="*/ 192 w 981"/>
                <a:gd name="T19" fmla="*/ 92 h 778"/>
                <a:gd name="T20" fmla="*/ 198 w 981"/>
                <a:gd name="T21" fmla="*/ 93 h 778"/>
                <a:gd name="T22" fmla="*/ 203 w 981"/>
                <a:gd name="T23" fmla="*/ 92 h 778"/>
                <a:gd name="T24" fmla="*/ 209 w 981"/>
                <a:gd name="T25" fmla="*/ 91 h 778"/>
                <a:gd name="T26" fmla="*/ 215 w 981"/>
                <a:gd name="T27" fmla="*/ 89 h 778"/>
                <a:gd name="T28" fmla="*/ 219 w 981"/>
                <a:gd name="T29" fmla="*/ 87 h 778"/>
                <a:gd name="T30" fmla="*/ 222 w 981"/>
                <a:gd name="T31" fmla="*/ 84 h 778"/>
                <a:gd name="T32" fmla="*/ 226 w 981"/>
                <a:gd name="T33" fmla="*/ 80 h 778"/>
                <a:gd name="T34" fmla="*/ 228 w 981"/>
                <a:gd name="T35" fmla="*/ 77 h 778"/>
                <a:gd name="T36" fmla="*/ 266 w 981"/>
                <a:gd name="T37" fmla="*/ 0 h 778"/>
                <a:gd name="T38" fmla="*/ 442 w 981"/>
                <a:gd name="T39" fmla="*/ 47 h 778"/>
                <a:gd name="T40" fmla="*/ 974 w 981"/>
                <a:gd name="T41" fmla="*/ 591 h 778"/>
                <a:gd name="T42" fmla="*/ 980 w 981"/>
                <a:gd name="T43" fmla="*/ 601 h 778"/>
                <a:gd name="T44" fmla="*/ 981 w 981"/>
                <a:gd name="T45" fmla="*/ 611 h 778"/>
                <a:gd name="T46" fmla="*/ 975 w 981"/>
                <a:gd name="T47" fmla="*/ 620 h 778"/>
                <a:gd name="T48" fmla="*/ 966 w 981"/>
                <a:gd name="T49" fmla="*/ 627 h 778"/>
                <a:gd name="T50" fmla="*/ 687 w 981"/>
                <a:gd name="T51" fmla="*/ 774 h 778"/>
                <a:gd name="T52" fmla="*/ 675 w 981"/>
                <a:gd name="T53" fmla="*/ 778 h 778"/>
                <a:gd name="T54" fmla="*/ 661 w 981"/>
                <a:gd name="T55" fmla="*/ 778 h 778"/>
                <a:gd name="T56" fmla="*/ 649 w 981"/>
                <a:gd name="T57" fmla="*/ 775 h 778"/>
                <a:gd name="T58" fmla="*/ 640 w 981"/>
                <a:gd name="T59" fmla="*/ 768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1" h="778">
                  <a:moveTo>
                    <a:pt x="640" y="768"/>
                  </a:moveTo>
                  <a:lnTo>
                    <a:pt x="5" y="121"/>
                  </a:lnTo>
                  <a:lnTo>
                    <a:pt x="0" y="112"/>
                  </a:lnTo>
                  <a:lnTo>
                    <a:pt x="0" y="102"/>
                  </a:lnTo>
                  <a:lnTo>
                    <a:pt x="4" y="92"/>
                  </a:lnTo>
                  <a:lnTo>
                    <a:pt x="13" y="85"/>
                  </a:lnTo>
                  <a:lnTo>
                    <a:pt x="63" y="59"/>
                  </a:lnTo>
                  <a:lnTo>
                    <a:pt x="184" y="92"/>
                  </a:lnTo>
                  <a:lnTo>
                    <a:pt x="188" y="92"/>
                  </a:lnTo>
                  <a:lnTo>
                    <a:pt x="192" y="92"/>
                  </a:lnTo>
                  <a:lnTo>
                    <a:pt x="198" y="93"/>
                  </a:lnTo>
                  <a:lnTo>
                    <a:pt x="203" y="92"/>
                  </a:lnTo>
                  <a:lnTo>
                    <a:pt x="209" y="91"/>
                  </a:lnTo>
                  <a:lnTo>
                    <a:pt x="215" y="89"/>
                  </a:lnTo>
                  <a:lnTo>
                    <a:pt x="219" y="87"/>
                  </a:lnTo>
                  <a:lnTo>
                    <a:pt x="222" y="84"/>
                  </a:lnTo>
                  <a:lnTo>
                    <a:pt x="226" y="80"/>
                  </a:lnTo>
                  <a:lnTo>
                    <a:pt x="228" y="77"/>
                  </a:lnTo>
                  <a:lnTo>
                    <a:pt x="266" y="0"/>
                  </a:lnTo>
                  <a:lnTo>
                    <a:pt x="442" y="47"/>
                  </a:lnTo>
                  <a:lnTo>
                    <a:pt x="974" y="591"/>
                  </a:lnTo>
                  <a:lnTo>
                    <a:pt x="980" y="601"/>
                  </a:lnTo>
                  <a:lnTo>
                    <a:pt x="981" y="611"/>
                  </a:lnTo>
                  <a:lnTo>
                    <a:pt x="975" y="620"/>
                  </a:lnTo>
                  <a:lnTo>
                    <a:pt x="966" y="627"/>
                  </a:lnTo>
                  <a:lnTo>
                    <a:pt x="687" y="774"/>
                  </a:lnTo>
                  <a:lnTo>
                    <a:pt x="675" y="778"/>
                  </a:lnTo>
                  <a:lnTo>
                    <a:pt x="661" y="778"/>
                  </a:lnTo>
                  <a:lnTo>
                    <a:pt x="649" y="775"/>
                  </a:lnTo>
                  <a:lnTo>
                    <a:pt x="640" y="768"/>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717" name="Freeform 165">
              <a:extLst>
                <a:ext uri="{FF2B5EF4-FFF2-40B4-BE49-F238E27FC236}">
                  <a16:creationId xmlns:a16="http://schemas.microsoft.com/office/drawing/2014/main" id="{6742B528-1A37-4DEE-93FF-3CE9BEF9D533}"/>
                </a:ext>
              </a:extLst>
            </p:cNvPr>
            <p:cNvSpPr>
              <a:spLocks noChangeAspect="1"/>
            </p:cNvSpPr>
            <p:nvPr/>
          </p:nvSpPr>
          <p:spPr bwMode="auto">
            <a:xfrm>
              <a:off x="3222625" y="1455104"/>
              <a:ext cx="165100" cy="173037"/>
            </a:xfrm>
            <a:custGeom>
              <a:avLst/>
              <a:gdLst>
                <a:gd name="T0" fmla="*/ 640 w 981"/>
                <a:gd name="T1" fmla="*/ 768 h 778"/>
                <a:gd name="T2" fmla="*/ 5 w 981"/>
                <a:gd name="T3" fmla="*/ 121 h 778"/>
                <a:gd name="T4" fmla="*/ 0 w 981"/>
                <a:gd name="T5" fmla="*/ 112 h 778"/>
                <a:gd name="T6" fmla="*/ 0 w 981"/>
                <a:gd name="T7" fmla="*/ 102 h 778"/>
                <a:gd name="T8" fmla="*/ 4 w 981"/>
                <a:gd name="T9" fmla="*/ 92 h 778"/>
                <a:gd name="T10" fmla="*/ 13 w 981"/>
                <a:gd name="T11" fmla="*/ 85 h 778"/>
                <a:gd name="T12" fmla="*/ 63 w 981"/>
                <a:gd name="T13" fmla="*/ 59 h 778"/>
                <a:gd name="T14" fmla="*/ 184 w 981"/>
                <a:gd name="T15" fmla="*/ 92 h 778"/>
                <a:gd name="T16" fmla="*/ 188 w 981"/>
                <a:gd name="T17" fmla="*/ 92 h 778"/>
                <a:gd name="T18" fmla="*/ 192 w 981"/>
                <a:gd name="T19" fmla="*/ 92 h 778"/>
                <a:gd name="T20" fmla="*/ 198 w 981"/>
                <a:gd name="T21" fmla="*/ 93 h 778"/>
                <a:gd name="T22" fmla="*/ 203 w 981"/>
                <a:gd name="T23" fmla="*/ 92 h 778"/>
                <a:gd name="T24" fmla="*/ 209 w 981"/>
                <a:gd name="T25" fmla="*/ 91 h 778"/>
                <a:gd name="T26" fmla="*/ 215 w 981"/>
                <a:gd name="T27" fmla="*/ 89 h 778"/>
                <a:gd name="T28" fmla="*/ 219 w 981"/>
                <a:gd name="T29" fmla="*/ 87 h 778"/>
                <a:gd name="T30" fmla="*/ 222 w 981"/>
                <a:gd name="T31" fmla="*/ 84 h 778"/>
                <a:gd name="T32" fmla="*/ 226 w 981"/>
                <a:gd name="T33" fmla="*/ 80 h 778"/>
                <a:gd name="T34" fmla="*/ 228 w 981"/>
                <a:gd name="T35" fmla="*/ 77 h 778"/>
                <a:gd name="T36" fmla="*/ 266 w 981"/>
                <a:gd name="T37" fmla="*/ 0 h 778"/>
                <a:gd name="T38" fmla="*/ 442 w 981"/>
                <a:gd name="T39" fmla="*/ 47 h 778"/>
                <a:gd name="T40" fmla="*/ 974 w 981"/>
                <a:gd name="T41" fmla="*/ 591 h 778"/>
                <a:gd name="T42" fmla="*/ 980 w 981"/>
                <a:gd name="T43" fmla="*/ 601 h 778"/>
                <a:gd name="T44" fmla="*/ 981 w 981"/>
                <a:gd name="T45" fmla="*/ 611 h 778"/>
                <a:gd name="T46" fmla="*/ 975 w 981"/>
                <a:gd name="T47" fmla="*/ 620 h 778"/>
                <a:gd name="T48" fmla="*/ 966 w 981"/>
                <a:gd name="T49" fmla="*/ 627 h 778"/>
                <a:gd name="T50" fmla="*/ 687 w 981"/>
                <a:gd name="T51" fmla="*/ 774 h 778"/>
                <a:gd name="T52" fmla="*/ 675 w 981"/>
                <a:gd name="T53" fmla="*/ 778 h 778"/>
                <a:gd name="T54" fmla="*/ 661 w 981"/>
                <a:gd name="T55" fmla="*/ 778 h 778"/>
                <a:gd name="T56" fmla="*/ 649 w 981"/>
                <a:gd name="T57" fmla="*/ 775 h 778"/>
                <a:gd name="T58" fmla="*/ 640 w 981"/>
                <a:gd name="T59" fmla="*/ 768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1" h="778">
                  <a:moveTo>
                    <a:pt x="640" y="768"/>
                  </a:moveTo>
                  <a:lnTo>
                    <a:pt x="5" y="121"/>
                  </a:lnTo>
                  <a:lnTo>
                    <a:pt x="0" y="112"/>
                  </a:lnTo>
                  <a:lnTo>
                    <a:pt x="0" y="102"/>
                  </a:lnTo>
                  <a:lnTo>
                    <a:pt x="4" y="92"/>
                  </a:lnTo>
                  <a:lnTo>
                    <a:pt x="13" y="85"/>
                  </a:lnTo>
                  <a:lnTo>
                    <a:pt x="63" y="59"/>
                  </a:lnTo>
                  <a:lnTo>
                    <a:pt x="184" y="92"/>
                  </a:lnTo>
                  <a:lnTo>
                    <a:pt x="188" y="92"/>
                  </a:lnTo>
                  <a:lnTo>
                    <a:pt x="192" y="92"/>
                  </a:lnTo>
                  <a:lnTo>
                    <a:pt x="198" y="93"/>
                  </a:lnTo>
                  <a:lnTo>
                    <a:pt x="203" y="92"/>
                  </a:lnTo>
                  <a:lnTo>
                    <a:pt x="209" y="91"/>
                  </a:lnTo>
                  <a:lnTo>
                    <a:pt x="215" y="89"/>
                  </a:lnTo>
                  <a:lnTo>
                    <a:pt x="219" y="87"/>
                  </a:lnTo>
                  <a:lnTo>
                    <a:pt x="222" y="84"/>
                  </a:lnTo>
                  <a:lnTo>
                    <a:pt x="226" y="80"/>
                  </a:lnTo>
                  <a:lnTo>
                    <a:pt x="228" y="77"/>
                  </a:lnTo>
                  <a:lnTo>
                    <a:pt x="266" y="0"/>
                  </a:lnTo>
                  <a:lnTo>
                    <a:pt x="442" y="47"/>
                  </a:lnTo>
                  <a:lnTo>
                    <a:pt x="974" y="591"/>
                  </a:lnTo>
                  <a:lnTo>
                    <a:pt x="980" y="601"/>
                  </a:lnTo>
                  <a:lnTo>
                    <a:pt x="981" y="611"/>
                  </a:lnTo>
                  <a:lnTo>
                    <a:pt x="975" y="620"/>
                  </a:lnTo>
                  <a:lnTo>
                    <a:pt x="966" y="627"/>
                  </a:lnTo>
                  <a:lnTo>
                    <a:pt x="687" y="774"/>
                  </a:lnTo>
                  <a:lnTo>
                    <a:pt x="675" y="778"/>
                  </a:lnTo>
                  <a:lnTo>
                    <a:pt x="661" y="778"/>
                  </a:lnTo>
                  <a:lnTo>
                    <a:pt x="649" y="775"/>
                  </a:lnTo>
                  <a:lnTo>
                    <a:pt x="640" y="768"/>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718" name="Freeform 166">
              <a:extLst>
                <a:ext uri="{FF2B5EF4-FFF2-40B4-BE49-F238E27FC236}">
                  <a16:creationId xmlns:a16="http://schemas.microsoft.com/office/drawing/2014/main" id="{E9452F50-33D5-42D4-B7C2-8500349A0412}"/>
                </a:ext>
              </a:extLst>
            </p:cNvPr>
            <p:cNvSpPr>
              <a:spLocks noChangeAspect="1"/>
            </p:cNvSpPr>
            <p:nvPr/>
          </p:nvSpPr>
          <p:spPr bwMode="auto">
            <a:xfrm>
              <a:off x="3168650" y="1413829"/>
              <a:ext cx="96838" cy="58737"/>
            </a:xfrm>
            <a:custGeom>
              <a:avLst/>
              <a:gdLst>
                <a:gd name="T0" fmla="*/ 479 w 573"/>
                <a:gd name="T1" fmla="*/ 259 h 260"/>
                <a:gd name="T2" fmla="*/ 22 w 573"/>
                <a:gd name="T3" fmla="*/ 135 h 260"/>
                <a:gd name="T4" fmla="*/ 13 w 573"/>
                <a:gd name="T5" fmla="*/ 131 h 260"/>
                <a:gd name="T6" fmla="*/ 5 w 573"/>
                <a:gd name="T7" fmla="*/ 125 h 260"/>
                <a:gd name="T8" fmla="*/ 1 w 573"/>
                <a:gd name="T9" fmla="*/ 118 h 260"/>
                <a:gd name="T10" fmla="*/ 0 w 573"/>
                <a:gd name="T11" fmla="*/ 111 h 260"/>
                <a:gd name="T12" fmla="*/ 2 w 573"/>
                <a:gd name="T13" fmla="*/ 103 h 260"/>
                <a:gd name="T14" fmla="*/ 52 w 573"/>
                <a:gd name="T15" fmla="*/ 0 h 260"/>
                <a:gd name="T16" fmla="*/ 573 w 573"/>
                <a:gd name="T17" fmla="*/ 141 h 260"/>
                <a:gd name="T18" fmla="*/ 523 w 573"/>
                <a:gd name="T19" fmla="*/ 244 h 260"/>
                <a:gd name="T20" fmla="*/ 518 w 573"/>
                <a:gd name="T21" fmla="*/ 251 h 260"/>
                <a:gd name="T22" fmla="*/ 509 w 573"/>
                <a:gd name="T23" fmla="*/ 256 h 260"/>
                <a:gd name="T24" fmla="*/ 500 w 573"/>
                <a:gd name="T25" fmla="*/ 259 h 260"/>
                <a:gd name="T26" fmla="*/ 490 w 573"/>
                <a:gd name="T27" fmla="*/ 260 h 260"/>
                <a:gd name="T28" fmla="*/ 479 w 573"/>
                <a:gd name="T29" fmla="*/ 25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3" h="260">
                  <a:moveTo>
                    <a:pt x="479" y="259"/>
                  </a:moveTo>
                  <a:lnTo>
                    <a:pt x="22" y="135"/>
                  </a:lnTo>
                  <a:lnTo>
                    <a:pt x="13" y="131"/>
                  </a:lnTo>
                  <a:lnTo>
                    <a:pt x="5" y="125"/>
                  </a:lnTo>
                  <a:lnTo>
                    <a:pt x="1" y="118"/>
                  </a:lnTo>
                  <a:lnTo>
                    <a:pt x="0" y="111"/>
                  </a:lnTo>
                  <a:lnTo>
                    <a:pt x="2" y="103"/>
                  </a:lnTo>
                  <a:lnTo>
                    <a:pt x="52" y="0"/>
                  </a:lnTo>
                  <a:lnTo>
                    <a:pt x="573" y="141"/>
                  </a:lnTo>
                  <a:lnTo>
                    <a:pt x="523" y="244"/>
                  </a:lnTo>
                  <a:lnTo>
                    <a:pt x="518" y="251"/>
                  </a:lnTo>
                  <a:lnTo>
                    <a:pt x="509" y="256"/>
                  </a:lnTo>
                  <a:lnTo>
                    <a:pt x="500" y="259"/>
                  </a:lnTo>
                  <a:lnTo>
                    <a:pt x="490" y="260"/>
                  </a:lnTo>
                  <a:lnTo>
                    <a:pt x="479" y="259"/>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719" name="Freeform 167">
              <a:extLst>
                <a:ext uri="{FF2B5EF4-FFF2-40B4-BE49-F238E27FC236}">
                  <a16:creationId xmlns:a16="http://schemas.microsoft.com/office/drawing/2014/main" id="{9836C871-1CC2-45E1-9BE2-888E0C860A6C}"/>
                </a:ext>
              </a:extLst>
            </p:cNvPr>
            <p:cNvSpPr>
              <a:spLocks noChangeAspect="1"/>
            </p:cNvSpPr>
            <p:nvPr/>
          </p:nvSpPr>
          <p:spPr bwMode="auto">
            <a:xfrm>
              <a:off x="3168650" y="1413829"/>
              <a:ext cx="96838" cy="58737"/>
            </a:xfrm>
            <a:custGeom>
              <a:avLst/>
              <a:gdLst>
                <a:gd name="T0" fmla="*/ 479 w 573"/>
                <a:gd name="T1" fmla="*/ 259 h 260"/>
                <a:gd name="T2" fmla="*/ 22 w 573"/>
                <a:gd name="T3" fmla="*/ 135 h 260"/>
                <a:gd name="T4" fmla="*/ 13 w 573"/>
                <a:gd name="T5" fmla="*/ 131 h 260"/>
                <a:gd name="T6" fmla="*/ 5 w 573"/>
                <a:gd name="T7" fmla="*/ 125 h 260"/>
                <a:gd name="T8" fmla="*/ 1 w 573"/>
                <a:gd name="T9" fmla="*/ 118 h 260"/>
                <a:gd name="T10" fmla="*/ 0 w 573"/>
                <a:gd name="T11" fmla="*/ 111 h 260"/>
                <a:gd name="T12" fmla="*/ 2 w 573"/>
                <a:gd name="T13" fmla="*/ 103 h 260"/>
                <a:gd name="T14" fmla="*/ 52 w 573"/>
                <a:gd name="T15" fmla="*/ 0 h 260"/>
                <a:gd name="T16" fmla="*/ 573 w 573"/>
                <a:gd name="T17" fmla="*/ 141 h 260"/>
                <a:gd name="T18" fmla="*/ 523 w 573"/>
                <a:gd name="T19" fmla="*/ 244 h 260"/>
                <a:gd name="T20" fmla="*/ 518 w 573"/>
                <a:gd name="T21" fmla="*/ 251 h 260"/>
                <a:gd name="T22" fmla="*/ 509 w 573"/>
                <a:gd name="T23" fmla="*/ 256 h 260"/>
                <a:gd name="T24" fmla="*/ 500 w 573"/>
                <a:gd name="T25" fmla="*/ 259 h 260"/>
                <a:gd name="T26" fmla="*/ 490 w 573"/>
                <a:gd name="T27" fmla="*/ 260 h 260"/>
                <a:gd name="T28" fmla="*/ 479 w 573"/>
                <a:gd name="T29" fmla="*/ 25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3" h="260">
                  <a:moveTo>
                    <a:pt x="479" y="259"/>
                  </a:moveTo>
                  <a:lnTo>
                    <a:pt x="22" y="135"/>
                  </a:lnTo>
                  <a:lnTo>
                    <a:pt x="13" y="131"/>
                  </a:lnTo>
                  <a:lnTo>
                    <a:pt x="5" y="125"/>
                  </a:lnTo>
                  <a:lnTo>
                    <a:pt x="1" y="118"/>
                  </a:lnTo>
                  <a:lnTo>
                    <a:pt x="0" y="111"/>
                  </a:lnTo>
                  <a:lnTo>
                    <a:pt x="2" y="103"/>
                  </a:lnTo>
                  <a:lnTo>
                    <a:pt x="52" y="0"/>
                  </a:lnTo>
                  <a:lnTo>
                    <a:pt x="573" y="141"/>
                  </a:lnTo>
                  <a:lnTo>
                    <a:pt x="523" y="244"/>
                  </a:lnTo>
                  <a:lnTo>
                    <a:pt x="518" y="251"/>
                  </a:lnTo>
                  <a:lnTo>
                    <a:pt x="509" y="256"/>
                  </a:lnTo>
                  <a:lnTo>
                    <a:pt x="500" y="259"/>
                  </a:lnTo>
                  <a:lnTo>
                    <a:pt x="490" y="260"/>
                  </a:lnTo>
                  <a:lnTo>
                    <a:pt x="479" y="25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720" name="Freeform 168">
              <a:extLst>
                <a:ext uri="{FF2B5EF4-FFF2-40B4-BE49-F238E27FC236}">
                  <a16:creationId xmlns:a16="http://schemas.microsoft.com/office/drawing/2014/main" id="{F409077A-6255-4DCA-AD0C-6870AAF4DF69}"/>
                </a:ext>
              </a:extLst>
            </p:cNvPr>
            <p:cNvSpPr>
              <a:spLocks noChangeAspect="1"/>
            </p:cNvSpPr>
            <p:nvPr/>
          </p:nvSpPr>
          <p:spPr bwMode="auto">
            <a:xfrm>
              <a:off x="3079750" y="1382078"/>
              <a:ext cx="96838" cy="57150"/>
            </a:xfrm>
            <a:custGeom>
              <a:avLst/>
              <a:gdLst>
                <a:gd name="T0" fmla="*/ 478 w 572"/>
                <a:gd name="T1" fmla="*/ 259 h 260"/>
                <a:gd name="T2" fmla="*/ 23 w 572"/>
                <a:gd name="T3" fmla="*/ 135 h 260"/>
                <a:gd name="T4" fmla="*/ 11 w 572"/>
                <a:gd name="T5" fmla="*/ 130 h 260"/>
                <a:gd name="T6" fmla="*/ 3 w 572"/>
                <a:gd name="T7" fmla="*/ 122 h 260"/>
                <a:gd name="T8" fmla="*/ 0 w 572"/>
                <a:gd name="T9" fmla="*/ 113 h 260"/>
                <a:gd name="T10" fmla="*/ 2 w 572"/>
                <a:gd name="T11" fmla="*/ 102 h 260"/>
                <a:gd name="T12" fmla="*/ 52 w 572"/>
                <a:gd name="T13" fmla="*/ 0 h 260"/>
                <a:gd name="T14" fmla="*/ 572 w 572"/>
                <a:gd name="T15" fmla="*/ 140 h 260"/>
                <a:gd name="T16" fmla="*/ 522 w 572"/>
                <a:gd name="T17" fmla="*/ 243 h 260"/>
                <a:gd name="T18" fmla="*/ 515 w 572"/>
                <a:gd name="T19" fmla="*/ 252 h 260"/>
                <a:gd name="T20" fmla="*/ 504 w 572"/>
                <a:gd name="T21" fmla="*/ 258 h 260"/>
                <a:gd name="T22" fmla="*/ 492 w 572"/>
                <a:gd name="T23" fmla="*/ 260 h 260"/>
                <a:gd name="T24" fmla="*/ 478 w 572"/>
                <a:gd name="T25" fmla="*/ 25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2" h="260">
                  <a:moveTo>
                    <a:pt x="478" y="259"/>
                  </a:moveTo>
                  <a:lnTo>
                    <a:pt x="23" y="135"/>
                  </a:lnTo>
                  <a:lnTo>
                    <a:pt x="11" y="130"/>
                  </a:lnTo>
                  <a:lnTo>
                    <a:pt x="3" y="122"/>
                  </a:lnTo>
                  <a:lnTo>
                    <a:pt x="0" y="113"/>
                  </a:lnTo>
                  <a:lnTo>
                    <a:pt x="2" y="102"/>
                  </a:lnTo>
                  <a:lnTo>
                    <a:pt x="52" y="0"/>
                  </a:lnTo>
                  <a:lnTo>
                    <a:pt x="572" y="140"/>
                  </a:lnTo>
                  <a:lnTo>
                    <a:pt x="522" y="243"/>
                  </a:lnTo>
                  <a:lnTo>
                    <a:pt x="515" y="252"/>
                  </a:lnTo>
                  <a:lnTo>
                    <a:pt x="504" y="258"/>
                  </a:lnTo>
                  <a:lnTo>
                    <a:pt x="492" y="260"/>
                  </a:lnTo>
                  <a:lnTo>
                    <a:pt x="478" y="259"/>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721" name="Freeform 169">
              <a:extLst>
                <a:ext uri="{FF2B5EF4-FFF2-40B4-BE49-F238E27FC236}">
                  <a16:creationId xmlns:a16="http://schemas.microsoft.com/office/drawing/2014/main" id="{27DDA20D-B177-46C8-990D-5C65EA6A11BB}"/>
                </a:ext>
              </a:extLst>
            </p:cNvPr>
            <p:cNvSpPr>
              <a:spLocks noChangeAspect="1"/>
            </p:cNvSpPr>
            <p:nvPr/>
          </p:nvSpPr>
          <p:spPr bwMode="auto">
            <a:xfrm>
              <a:off x="3079750" y="1382078"/>
              <a:ext cx="96838" cy="57150"/>
            </a:xfrm>
            <a:custGeom>
              <a:avLst/>
              <a:gdLst>
                <a:gd name="T0" fmla="*/ 478 w 572"/>
                <a:gd name="T1" fmla="*/ 259 h 260"/>
                <a:gd name="T2" fmla="*/ 23 w 572"/>
                <a:gd name="T3" fmla="*/ 135 h 260"/>
                <a:gd name="T4" fmla="*/ 11 w 572"/>
                <a:gd name="T5" fmla="*/ 130 h 260"/>
                <a:gd name="T6" fmla="*/ 3 w 572"/>
                <a:gd name="T7" fmla="*/ 122 h 260"/>
                <a:gd name="T8" fmla="*/ 0 w 572"/>
                <a:gd name="T9" fmla="*/ 113 h 260"/>
                <a:gd name="T10" fmla="*/ 2 w 572"/>
                <a:gd name="T11" fmla="*/ 102 h 260"/>
                <a:gd name="T12" fmla="*/ 52 w 572"/>
                <a:gd name="T13" fmla="*/ 0 h 260"/>
                <a:gd name="T14" fmla="*/ 572 w 572"/>
                <a:gd name="T15" fmla="*/ 140 h 260"/>
                <a:gd name="T16" fmla="*/ 522 w 572"/>
                <a:gd name="T17" fmla="*/ 243 h 260"/>
                <a:gd name="T18" fmla="*/ 515 w 572"/>
                <a:gd name="T19" fmla="*/ 252 h 260"/>
                <a:gd name="T20" fmla="*/ 504 w 572"/>
                <a:gd name="T21" fmla="*/ 258 h 260"/>
                <a:gd name="T22" fmla="*/ 492 w 572"/>
                <a:gd name="T23" fmla="*/ 260 h 260"/>
                <a:gd name="T24" fmla="*/ 478 w 572"/>
                <a:gd name="T25" fmla="*/ 25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2" h="260">
                  <a:moveTo>
                    <a:pt x="478" y="259"/>
                  </a:moveTo>
                  <a:lnTo>
                    <a:pt x="23" y="135"/>
                  </a:lnTo>
                  <a:lnTo>
                    <a:pt x="11" y="130"/>
                  </a:lnTo>
                  <a:lnTo>
                    <a:pt x="3" y="122"/>
                  </a:lnTo>
                  <a:lnTo>
                    <a:pt x="0" y="113"/>
                  </a:lnTo>
                  <a:lnTo>
                    <a:pt x="2" y="102"/>
                  </a:lnTo>
                  <a:lnTo>
                    <a:pt x="52" y="0"/>
                  </a:lnTo>
                  <a:lnTo>
                    <a:pt x="572" y="140"/>
                  </a:lnTo>
                  <a:lnTo>
                    <a:pt x="522" y="243"/>
                  </a:lnTo>
                  <a:lnTo>
                    <a:pt x="515" y="252"/>
                  </a:lnTo>
                  <a:lnTo>
                    <a:pt x="504" y="258"/>
                  </a:lnTo>
                  <a:lnTo>
                    <a:pt x="492" y="260"/>
                  </a:lnTo>
                  <a:lnTo>
                    <a:pt x="478" y="25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722" name="Freeform 170">
              <a:extLst>
                <a:ext uri="{FF2B5EF4-FFF2-40B4-BE49-F238E27FC236}">
                  <a16:creationId xmlns:a16="http://schemas.microsoft.com/office/drawing/2014/main" id="{02D37CDA-218F-4BE9-B9FC-5070C6CFDBCA}"/>
                </a:ext>
              </a:extLst>
            </p:cNvPr>
            <p:cNvSpPr>
              <a:spLocks noChangeAspect="1"/>
            </p:cNvSpPr>
            <p:nvPr/>
          </p:nvSpPr>
          <p:spPr bwMode="auto">
            <a:xfrm>
              <a:off x="2900364" y="1316991"/>
              <a:ext cx="187325" cy="92075"/>
            </a:xfrm>
            <a:custGeom>
              <a:avLst/>
              <a:gdLst>
                <a:gd name="T0" fmla="*/ 1030 w 1105"/>
                <a:gd name="T1" fmla="*/ 406 h 407"/>
                <a:gd name="T2" fmla="*/ 110 w 1105"/>
                <a:gd name="T3" fmla="*/ 134 h 407"/>
                <a:gd name="T4" fmla="*/ 103 w 1105"/>
                <a:gd name="T5" fmla="*/ 127 h 407"/>
                <a:gd name="T6" fmla="*/ 92 w 1105"/>
                <a:gd name="T7" fmla="*/ 110 h 407"/>
                <a:gd name="T8" fmla="*/ 91 w 1105"/>
                <a:gd name="T9" fmla="*/ 108 h 407"/>
                <a:gd name="T10" fmla="*/ 79 w 1105"/>
                <a:gd name="T11" fmla="*/ 94 h 407"/>
                <a:gd name="T12" fmla="*/ 56 w 1105"/>
                <a:gd name="T13" fmla="*/ 82 h 407"/>
                <a:gd name="T14" fmla="*/ 9 w 1105"/>
                <a:gd name="T15" fmla="*/ 66 h 407"/>
                <a:gd name="T16" fmla="*/ 4 w 1105"/>
                <a:gd name="T17" fmla="*/ 64 h 407"/>
                <a:gd name="T18" fmla="*/ 0 w 1105"/>
                <a:gd name="T19" fmla="*/ 60 h 407"/>
                <a:gd name="T20" fmla="*/ 0 w 1105"/>
                <a:gd name="T21" fmla="*/ 55 h 407"/>
                <a:gd name="T22" fmla="*/ 4 w 1105"/>
                <a:gd name="T23" fmla="*/ 51 h 407"/>
                <a:gd name="T24" fmla="*/ 56 w 1105"/>
                <a:gd name="T25" fmla="*/ 0 h 407"/>
                <a:gd name="T26" fmla="*/ 1105 w 1105"/>
                <a:gd name="T27" fmla="*/ 283 h 407"/>
                <a:gd name="T28" fmla="*/ 1048 w 1105"/>
                <a:gd name="T29" fmla="*/ 401 h 407"/>
                <a:gd name="T30" fmla="*/ 1044 w 1105"/>
                <a:gd name="T31" fmla="*/ 404 h 407"/>
                <a:gd name="T32" fmla="*/ 1040 w 1105"/>
                <a:gd name="T33" fmla="*/ 406 h 407"/>
                <a:gd name="T34" fmla="*/ 1035 w 1105"/>
                <a:gd name="T35" fmla="*/ 407 h 407"/>
                <a:gd name="T36" fmla="*/ 1030 w 1105"/>
                <a:gd name="T37" fmla="*/ 40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5" h="407">
                  <a:moveTo>
                    <a:pt x="1030" y="406"/>
                  </a:moveTo>
                  <a:lnTo>
                    <a:pt x="110" y="134"/>
                  </a:lnTo>
                  <a:lnTo>
                    <a:pt x="103" y="127"/>
                  </a:lnTo>
                  <a:lnTo>
                    <a:pt x="92" y="110"/>
                  </a:lnTo>
                  <a:lnTo>
                    <a:pt x="91" y="108"/>
                  </a:lnTo>
                  <a:lnTo>
                    <a:pt x="79" y="94"/>
                  </a:lnTo>
                  <a:lnTo>
                    <a:pt x="56" y="82"/>
                  </a:lnTo>
                  <a:lnTo>
                    <a:pt x="9" y="66"/>
                  </a:lnTo>
                  <a:lnTo>
                    <a:pt x="4" y="64"/>
                  </a:lnTo>
                  <a:lnTo>
                    <a:pt x="0" y="60"/>
                  </a:lnTo>
                  <a:lnTo>
                    <a:pt x="0" y="55"/>
                  </a:lnTo>
                  <a:lnTo>
                    <a:pt x="4" y="51"/>
                  </a:lnTo>
                  <a:lnTo>
                    <a:pt x="56" y="0"/>
                  </a:lnTo>
                  <a:lnTo>
                    <a:pt x="1105" y="283"/>
                  </a:lnTo>
                  <a:lnTo>
                    <a:pt x="1048" y="401"/>
                  </a:lnTo>
                  <a:lnTo>
                    <a:pt x="1044" y="404"/>
                  </a:lnTo>
                  <a:lnTo>
                    <a:pt x="1040" y="406"/>
                  </a:lnTo>
                  <a:lnTo>
                    <a:pt x="1035" y="407"/>
                  </a:lnTo>
                  <a:lnTo>
                    <a:pt x="1030" y="406"/>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7723" name="Freeform 171">
              <a:extLst>
                <a:ext uri="{FF2B5EF4-FFF2-40B4-BE49-F238E27FC236}">
                  <a16:creationId xmlns:a16="http://schemas.microsoft.com/office/drawing/2014/main" id="{A05EE64B-4A7D-4408-A61B-448B1F92206C}"/>
                </a:ext>
              </a:extLst>
            </p:cNvPr>
            <p:cNvSpPr>
              <a:spLocks noChangeAspect="1"/>
            </p:cNvSpPr>
            <p:nvPr/>
          </p:nvSpPr>
          <p:spPr bwMode="auto">
            <a:xfrm>
              <a:off x="2900364" y="1316991"/>
              <a:ext cx="187325" cy="92075"/>
            </a:xfrm>
            <a:custGeom>
              <a:avLst/>
              <a:gdLst>
                <a:gd name="T0" fmla="*/ 1030 w 1105"/>
                <a:gd name="T1" fmla="*/ 406 h 407"/>
                <a:gd name="T2" fmla="*/ 110 w 1105"/>
                <a:gd name="T3" fmla="*/ 134 h 407"/>
                <a:gd name="T4" fmla="*/ 103 w 1105"/>
                <a:gd name="T5" fmla="*/ 127 h 407"/>
                <a:gd name="T6" fmla="*/ 92 w 1105"/>
                <a:gd name="T7" fmla="*/ 110 h 407"/>
                <a:gd name="T8" fmla="*/ 91 w 1105"/>
                <a:gd name="T9" fmla="*/ 108 h 407"/>
                <a:gd name="T10" fmla="*/ 79 w 1105"/>
                <a:gd name="T11" fmla="*/ 94 h 407"/>
                <a:gd name="T12" fmla="*/ 56 w 1105"/>
                <a:gd name="T13" fmla="*/ 82 h 407"/>
                <a:gd name="T14" fmla="*/ 9 w 1105"/>
                <a:gd name="T15" fmla="*/ 66 h 407"/>
                <a:gd name="T16" fmla="*/ 4 w 1105"/>
                <a:gd name="T17" fmla="*/ 64 h 407"/>
                <a:gd name="T18" fmla="*/ 0 w 1105"/>
                <a:gd name="T19" fmla="*/ 60 h 407"/>
                <a:gd name="T20" fmla="*/ 0 w 1105"/>
                <a:gd name="T21" fmla="*/ 55 h 407"/>
                <a:gd name="T22" fmla="*/ 4 w 1105"/>
                <a:gd name="T23" fmla="*/ 51 h 407"/>
                <a:gd name="T24" fmla="*/ 56 w 1105"/>
                <a:gd name="T25" fmla="*/ 0 h 407"/>
                <a:gd name="T26" fmla="*/ 1105 w 1105"/>
                <a:gd name="T27" fmla="*/ 283 h 407"/>
                <a:gd name="T28" fmla="*/ 1048 w 1105"/>
                <a:gd name="T29" fmla="*/ 401 h 407"/>
                <a:gd name="T30" fmla="*/ 1044 w 1105"/>
                <a:gd name="T31" fmla="*/ 404 h 407"/>
                <a:gd name="T32" fmla="*/ 1040 w 1105"/>
                <a:gd name="T33" fmla="*/ 406 h 407"/>
                <a:gd name="T34" fmla="*/ 1035 w 1105"/>
                <a:gd name="T35" fmla="*/ 407 h 407"/>
                <a:gd name="T36" fmla="*/ 1030 w 1105"/>
                <a:gd name="T37" fmla="*/ 40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5" h="407">
                  <a:moveTo>
                    <a:pt x="1030" y="406"/>
                  </a:moveTo>
                  <a:lnTo>
                    <a:pt x="110" y="134"/>
                  </a:lnTo>
                  <a:lnTo>
                    <a:pt x="103" y="127"/>
                  </a:lnTo>
                  <a:lnTo>
                    <a:pt x="92" y="110"/>
                  </a:lnTo>
                  <a:lnTo>
                    <a:pt x="91" y="108"/>
                  </a:lnTo>
                  <a:lnTo>
                    <a:pt x="79" y="94"/>
                  </a:lnTo>
                  <a:lnTo>
                    <a:pt x="56" y="82"/>
                  </a:lnTo>
                  <a:lnTo>
                    <a:pt x="9" y="66"/>
                  </a:lnTo>
                  <a:lnTo>
                    <a:pt x="4" y="64"/>
                  </a:lnTo>
                  <a:lnTo>
                    <a:pt x="0" y="60"/>
                  </a:lnTo>
                  <a:lnTo>
                    <a:pt x="0" y="55"/>
                  </a:lnTo>
                  <a:lnTo>
                    <a:pt x="4" y="51"/>
                  </a:lnTo>
                  <a:lnTo>
                    <a:pt x="56" y="0"/>
                  </a:lnTo>
                  <a:lnTo>
                    <a:pt x="1105" y="283"/>
                  </a:lnTo>
                  <a:lnTo>
                    <a:pt x="1048" y="401"/>
                  </a:lnTo>
                  <a:lnTo>
                    <a:pt x="1044" y="404"/>
                  </a:lnTo>
                  <a:lnTo>
                    <a:pt x="1040" y="406"/>
                  </a:lnTo>
                  <a:lnTo>
                    <a:pt x="1035" y="407"/>
                  </a:lnTo>
                  <a:lnTo>
                    <a:pt x="1030" y="406"/>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724" name="Freeform 172">
              <a:extLst>
                <a:ext uri="{FF2B5EF4-FFF2-40B4-BE49-F238E27FC236}">
                  <a16:creationId xmlns:a16="http://schemas.microsoft.com/office/drawing/2014/main" id="{DDB25CB9-A3F4-4F4B-8A79-FEA512ECDA24}"/>
                </a:ext>
              </a:extLst>
            </p:cNvPr>
            <p:cNvSpPr>
              <a:spLocks noChangeAspect="1"/>
            </p:cNvSpPr>
            <p:nvPr/>
          </p:nvSpPr>
          <p:spPr bwMode="auto">
            <a:xfrm>
              <a:off x="2503488" y="1864679"/>
              <a:ext cx="1217612" cy="1635125"/>
            </a:xfrm>
            <a:custGeom>
              <a:avLst/>
              <a:gdLst>
                <a:gd name="T0" fmla="*/ 2556 w 7210"/>
                <a:gd name="T1" fmla="*/ 7215 h 7268"/>
                <a:gd name="T2" fmla="*/ 2259 w 7210"/>
                <a:gd name="T3" fmla="*/ 7131 h 7268"/>
                <a:gd name="T4" fmla="*/ 1952 w 7210"/>
                <a:gd name="T5" fmla="*/ 7011 h 7268"/>
                <a:gd name="T6" fmla="*/ 1604 w 7210"/>
                <a:gd name="T7" fmla="*/ 6807 h 7268"/>
                <a:gd name="T8" fmla="*/ 1339 w 7210"/>
                <a:gd name="T9" fmla="*/ 6604 h 7268"/>
                <a:gd name="T10" fmla="*/ 1123 w 7210"/>
                <a:gd name="T11" fmla="*/ 6400 h 7268"/>
                <a:gd name="T12" fmla="*/ 893 w 7210"/>
                <a:gd name="T13" fmla="*/ 6131 h 7268"/>
                <a:gd name="T14" fmla="*/ 657 w 7210"/>
                <a:gd name="T15" fmla="*/ 5790 h 7268"/>
                <a:gd name="T16" fmla="*/ 541 w 7210"/>
                <a:gd name="T17" fmla="*/ 5586 h 7268"/>
                <a:gd name="T18" fmla="*/ 347 w 7210"/>
                <a:gd name="T19" fmla="*/ 5190 h 7268"/>
                <a:gd name="T20" fmla="*/ 268 w 7210"/>
                <a:gd name="T21" fmla="*/ 4975 h 7268"/>
                <a:gd name="T22" fmla="*/ 140 w 7210"/>
                <a:gd name="T23" fmla="*/ 4568 h 7268"/>
                <a:gd name="T24" fmla="*/ 73 w 7210"/>
                <a:gd name="T25" fmla="*/ 4294 h 7268"/>
                <a:gd name="T26" fmla="*/ 24 w 7210"/>
                <a:gd name="T27" fmla="*/ 3959 h 7268"/>
                <a:gd name="T28" fmla="*/ 0 w 7210"/>
                <a:gd name="T29" fmla="*/ 3552 h 7268"/>
                <a:gd name="T30" fmla="*/ 16 w 7210"/>
                <a:gd name="T31" fmla="*/ 3144 h 7268"/>
                <a:gd name="T32" fmla="*/ 73 w 7210"/>
                <a:gd name="T33" fmla="*/ 2737 h 7268"/>
                <a:gd name="T34" fmla="*/ 125 w 7210"/>
                <a:gd name="T35" fmla="*/ 2534 h 7268"/>
                <a:gd name="T36" fmla="*/ 258 w 7210"/>
                <a:gd name="T37" fmla="*/ 2127 h 7268"/>
                <a:gd name="T38" fmla="*/ 347 w 7210"/>
                <a:gd name="T39" fmla="*/ 1902 h 7268"/>
                <a:gd name="T40" fmla="*/ 556 w 7210"/>
                <a:gd name="T41" fmla="*/ 1516 h 7268"/>
                <a:gd name="T42" fmla="*/ 691 w 7210"/>
                <a:gd name="T43" fmla="*/ 1312 h 7268"/>
                <a:gd name="T44" fmla="*/ 893 w 7210"/>
                <a:gd name="T45" fmla="*/ 1051 h 7268"/>
                <a:gd name="T46" fmla="*/ 1167 w 7210"/>
                <a:gd name="T47" fmla="*/ 768 h 7268"/>
                <a:gd name="T48" fmla="*/ 1440 w 7210"/>
                <a:gd name="T49" fmla="*/ 543 h 7268"/>
                <a:gd name="T50" fmla="*/ 1714 w 7210"/>
                <a:gd name="T51" fmla="*/ 368 h 7268"/>
                <a:gd name="T52" fmla="*/ 1987 w 7210"/>
                <a:gd name="T53" fmla="*/ 231 h 7268"/>
                <a:gd name="T54" fmla="*/ 2392 w 7210"/>
                <a:gd name="T55" fmla="*/ 92 h 7268"/>
                <a:gd name="T56" fmla="*/ 2806 w 7210"/>
                <a:gd name="T57" fmla="*/ 16 h 7268"/>
                <a:gd name="T58" fmla="*/ 3353 w 7210"/>
                <a:gd name="T59" fmla="*/ 5 h 7268"/>
                <a:gd name="T60" fmla="*/ 3900 w 7210"/>
                <a:gd name="T61" fmla="*/ 77 h 7268"/>
                <a:gd name="T62" fmla="*/ 4173 w 7210"/>
                <a:gd name="T63" fmla="*/ 147 h 7268"/>
                <a:gd name="T64" fmla="*/ 4608 w 7210"/>
                <a:gd name="T65" fmla="*/ 296 h 7268"/>
                <a:gd name="T66" fmla="*/ 4992 w 7210"/>
                <a:gd name="T67" fmla="*/ 457 h 7268"/>
                <a:gd name="T68" fmla="*/ 5265 w 7210"/>
                <a:gd name="T69" fmla="*/ 595 h 7268"/>
                <a:gd name="T70" fmla="*/ 5539 w 7210"/>
                <a:gd name="T71" fmla="*/ 744 h 7268"/>
                <a:gd name="T72" fmla="*/ 5812 w 7210"/>
                <a:gd name="T73" fmla="*/ 905 h 7268"/>
                <a:gd name="T74" fmla="*/ 6109 w 7210"/>
                <a:gd name="T75" fmla="*/ 1109 h 7268"/>
                <a:gd name="T76" fmla="*/ 6369 w 7210"/>
                <a:gd name="T77" fmla="*/ 1312 h 7268"/>
                <a:gd name="T78" fmla="*/ 6631 w 7210"/>
                <a:gd name="T79" fmla="*/ 1570 h 7268"/>
                <a:gd name="T80" fmla="*/ 6902 w 7210"/>
                <a:gd name="T81" fmla="*/ 1923 h 7268"/>
                <a:gd name="T82" fmla="*/ 7006 w 7210"/>
                <a:gd name="T83" fmla="*/ 2127 h 7268"/>
                <a:gd name="T84" fmla="*/ 7153 w 7210"/>
                <a:gd name="T85" fmla="*/ 2534 h 7268"/>
                <a:gd name="T86" fmla="*/ 7193 w 7210"/>
                <a:gd name="T87" fmla="*/ 2737 h 7268"/>
                <a:gd name="T88" fmla="*/ 7208 w 7210"/>
                <a:gd name="T89" fmla="*/ 3144 h 7268"/>
                <a:gd name="T90" fmla="*/ 7178 w 7210"/>
                <a:gd name="T91" fmla="*/ 3412 h 7268"/>
                <a:gd name="T92" fmla="*/ 7082 w 7210"/>
                <a:gd name="T93" fmla="*/ 3755 h 7268"/>
                <a:gd name="T94" fmla="*/ 6910 w 7210"/>
                <a:gd name="T95" fmla="*/ 4162 h 7268"/>
                <a:gd name="T96" fmla="*/ 6778 w 7210"/>
                <a:gd name="T97" fmla="*/ 4365 h 7268"/>
                <a:gd name="T98" fmla="*/ 6631 w 7210"/>
                <a:gd name="T99" fmla="*/ 4609 h 7268"/>
                <a:gd name="T100" fmla="*/ 6394 w 7210"/>
                <a:gd name="T101" fmla="*/ 4975 h 7268"/>
                <a:gd name="T102" fmla="*/ 6242 w 7210"/>
                <a:gd name="T103" fmla="*/ 5179 h 7268"/>
                <a:gd name="T104" fmla="*/ 6086 w 7210"/>
                <a:gd name="T105" fmla="*/ 5401 h 7268"/>
                <a:gd name="T106" fmla="*/ 5812 w 7210"/>
                <a:gd name="T107" fmla="*/ 5747 h 7268"/>
                <a:gd name="T108" fmla="*/ 5612 w 7210"/>
                <a:gd name="T109" fmla="*/ 5993 h 7268"/>
                <a:gd name="T110" fmla="*/ 5449 w 7210"/>
                <a:gd name="T111" fmla="*/ 6197 h 7268"/>
                <a:gd name="T112" fmla="*/ 5265 w 7210"/>
                <a:gd name="T113" fmla="*/ 6411 h 7268"/>
                <a:gd name="T114" fmla="*/ 4992 w 7210"/>
                <a:gd name="T115" fmla="*/ 6648 h 7268"/>
                <a:gd name="T116" fmla="*/ 4719 w 7210"/>
                <a:gd name="T117" fmla="*/ 6836 h 7268"/>
                <a:gd name="T118" fmla="*/ 4373 w 7210"/>
                <a:gd name="T119" fmla="*/ 7011 h 7268"/>
                <a:gd name="T120" fmla="*/ 3900 w 7210"/>
                <a:gd name="T121" fmla="*/ 7171 h 7268"/>
                <a:gd name="T122" fmla="*/ 3626 w 7210"/>
                <a:gd name="T123" fmla="*/ 7230 h 7268"/>
                <a:gd name="T124" fmla="*/ 3079 w 7210"/>
                <a:gd name="T125" fmla="*/ 7268 h 7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10" h="7268">
                  <a:moveTo>
                    <a:pt x="2806" y="7252"/>
                  </a:moveTo>
                  <a:lnTo>
                    <a:pt x="2556" y="7215"/>
                  </a:lnTo>
                  <a:lnTo>
                    <a:pt x="2533" y="7210"/>
                  </a:lnTo>
                  <a:lnTo>
                    <a:pt x="2259" y="7131"/>
                  </a:lnTo>
                  <a:lnTo>
                    <a:pt x="1987" y="7027"/>
                  </a:lnTo>
                  <a:lnTo>
                    <a:pt x="1952" y="7011"/>
                  </a:lnTo>
                  <a:lnTo>
                    <a:pt x="1714" y="6878"/>
                  </a:lnTo>
                  <a:lnTo>
                    <a:pt x="1604" y="6807"/>
                  </a:lnTo>
                  <a:lnTo>
                    <a:pt x="1440" y="6688"/>
                  </a:lnTo>
                  <a:lnTo>
                    <a:pt x="1339" y="6604"/>
                  </a:lnTo>
                  <a:lnTo>
                    <a:pt x="1167" y="6445"/>
                  </a:lnTo>
                  <a:lnTo>
                    <a:pt x="1123" y="6400"/>
                  </a:lnTo>
                  <a:lnTo>
                    <a:pt x="945" y="6197"/>
                  </a:lnTo>
                  <a:lnTo>
                    <a:pt x="893" y="6131"/>
                  </a:lnTo>
                  <a:lnTo>
                    <a:pt x="793" y="5993"/>
                  </a:lnTo>
                  <a:lnTo>
                    <a:pt x="657" y="5790"/>
                  </a:lnTo>
                  <a:lnTo>
                    <a:pt x="620" y="5729"/>
                  </a:lnTo>
                  <a:lnTo>
                    <a:pt x="541" y="5586"/>
                  </a:lnTo>
                  <a:lnTo>
                    <a:pt x="440" y="5383"/>
                  </a:lnTo>
                  <a:lnTo>
                    <a:pt x="347" y="5190"/>
                  </a:lnTo>
                  <a:lnTo>
                    <a:pt x="342" y="5179"/>
                  </a:lnTo>
                  <a:lnTo>
                    <a:pt x="268" y="4975"/>
                  </a:lnTo>
                  <a:lnTo>
                    <a:pt x="200" y="4772"/>
                  </a:lnTo>
                  <a:lnTo>
                    <a:pt x="140" y="4568"/>
                  </a:lnTo>
                  <a:lnTo>
                    <a:pt x="88" y="4365"/>
                  </a:lnTo>
                  <a:lnTo>
                    <a:pt x="73" y="4294"/>
                  </a:lnTo>
                  <a:lnTo>
                    <a:pt x="50" y="4162"/>
                  </a:lnTo>
                  <a:lnTo>
                    <a:pt x="24" y="3959"/>
                  </a:lnTo>
                  <a:lnTo>
                    <a:pt x="7" y="3755"/>
                  </a:lnTo>
                  <a:lnTo>
                    <a:pt x="0" y="3552"/>
                  </a:lnTo>
                  <a:lnTo>
                    <a:pt x="3" y="3348"/>
                  </a:lnTo>
                  <a:lnTo>
                    <a:pt x="16" y="3144"/>
                  </a:lnTo>
                  <a:lnTo>
                    <a:pt x="39" y="2941"/>
                  </a:lnTo>
                  <a:lnTo>
                    <a:pt x="73" y="2737"/>
                  </a:lnTo>
                  <a:lnTo>
                    <a:pt x="73" y="2734"/>
                  </a:lnTo>
                  <a:lnTo>
                    <a:pt x="125" y="2534"/>
                  </a:lnTo>
                  <a:lnTo>
                    <a:pt x="187" y="2330"/>
                  </a:lnTo>
                  <a:lnTo>
                    <a:pt x="258" y="2127"/>
                  </a:lnTo>
                  <a:lnTo>
                    <a:pt x="337" y="1923"/>
                  </a:lnTo>
                  <a:lnTo>
                    <a:pt x="347" y="1902"/>
                  </a:lnTo>
                  <a:lnTo>
                    <a:pt x="443" y="1720"/>
                  </a:lnTo>
                  <a:lnTo>
                    <a:pt x="556" y="1516"/>
                  </a:lnTo>
                  <a:lnTo>
                    <a:pt x="620" y="1414"/>
                  </a:lnTo>
                  <a:lnTo>
                    <a:pt x="691" y="1312"/>
                  </a:lnTo>
                  <a:lnTo>
                    <a:pt x="844" y="1109"/>
                  </a:lnTo>
                  <a:lnTo>
                    <a:pt x="893" y="1051"/>
                  </a:lnTo>
                  <a:lnTo>
                    <a:pt x="1030" y="905"/>
                  </a:lnTo>
                  <a:lnTo>
                    <a:pt x="1167" y="768"/>
                  </a:lnTo>
                  <a:lnTo>
                    <a:pt x="1243" y="702"/>
                  </a:lnTo>
                  <a:lnTo>
                    <a:pt x="1440" y="543"/>
                  </a:lnTo>
                  <a:lnTo>
                    <a:pt x="1504" y="498"/>
                  </a:lnTo>
                  <a:lnTo>
                    <a:pt x="1714" y="368"/>
                  </a:lnTo>
                  <a:lnTo>
                    <a:pt x="1851" y="296"/>
                  </a:lnTo>
                  <a:lnTo>
                    <a:pt x="1987" y="231"/>
                  </a:lnTo>
                  <a:lnTo>
                    <a:pt x="2259" y="129"/>
                  </a:lnTo>
                  <a:lnTo>
                    <a:pt x="2392" y="92"/>
                  </a:lnTo>
                  <a:lnTo>
                    <a:pt x="2533" y="57"/>
                  </a:lnTo>
                  <a:lnTo>
                    <a:pt x="2806" y="16"/>
                  </a:lnTo>
                  <a:lnTo>
                    <a:pt x="3079" y="0"/>
                  </a:lnTo>
                  <a:lnTo>
                    <a:pt x="3353" y="5"/>
                  </a:lnTo>
                  <a:lnTo>
                    <a:pt x="3626" y="32"/>
                  </a:lnTo>
                  <a:lnTo>
                    <a:pt x="3900" y="77"/>
                  </a:lnTo>
                  <a:lnTo>
                    <a:pt x="3957" y="92"/>
                  </a:lnTo>
                  <a:lnTo>
                    <a:pt x="4173" y="147"/>
                  </a:lnTo>
                  <a:lnTo>
                    <a:pt x="4445" y="233"/>
                  </a:lnTo>
                  <a:lnTo>
                    <a:pt x="4608" y="296"/>
                  </a:lnTo>
                  <a:lnTo>
                    <a:pt x="4719" y="338"/>
                  </a:lnTo>
                  <a:lnTo>
                    <a:pt x="4992" y="457"/>
                  </a:lnTo>
                  <a:lnTo>
                    <a:pt x="5074" y="498"/>
                  </a:lnTo>
                  <a:lnTo>
                    <a:pt x="5265" y="595"/>
                  </a:lnTo>
                  <a:lnTo>
                    <a:pt x="5463" y="702"/>
                  </a:lnTo>
                  <a:lnTo>
                    <a:pt x="5539" y="744"/>
                  </a:lnTo>
                  <a:lnTo>
                    <a:pt x="5812" y="905"/>
                  </a:lnTo>
                  <a:lnTo>
                    <a:pt x="5812" y="905"/>
                  </a:lnTo>
                  <a:lnTo>
                    <a:pt x="6086" y="1092"/>
                  </a:lnTo>
                  <a:lnTo>
                    <a:pt x="6109" y="1109"/>
                  </a:lnTo>
                  <a:lnTo>
                    <a:pt x="6358" y="1304"/>
                  </a:lnTo>
                  <a:lnTo>
                    <a:pt x="6369" y="1312"/>
                  </a:lnTo>
                  <a:lnTo>
                    <a:pt x="6582" y="1516"/>
                  </a:lnTo>
                  <a:lnTo>
                    <a:pt x="6631" y="1570"/>
                  </a:lnTo>
                  <a:lnTo>
                    <a:pt x="6756" y="1720"/>
                  </a:lnTo>
                  <a:lnTo>
                    <a:pt x="6902" y="1923"/>
                  </a:lnTo>
                  <a:lnTo>
                    <a:pt x="6905" y="1927"/>
                  </a:lnTo>
                  <a:lnTo>
                    <a:pt x="7006" y="2127"/>
                  </a:lnTo>
                  <a:lnTo>
                    <a:pt x="7089" y="2330"/>
                  </a:lnTo>
                  <a:lnTo>
                    <a:pt x="7153" y="2534"/>
                  </a:lnTo>
                  <a:lnTo>
                    <a:pt x="7178" y="2656"/>
                  </a:lnTo>
                  <a:lnTo>
                    <a:pt x="7193" y="2737"/>
                  </a:lnTo>
                  <a:lnTo>
                    <a:pt x="7210" y="2941"/>
                  </a:lnTo>
                  <a:lnTo>
                    <a:pt x="7208" y="3144"/>
                  </a:lnTo>
                  <a:lnTo>
                    <a:pt x="7190" y="3348"/>
                  </a:lnTo>
                  <a:lnTo>
                    <a:pt x="7178" y="3412"/>
                  </a:lnTo>
                  <a:lnTo>
                    <a:pt x="7148" y="3552"/>
                  </a:lnTo>
                  <a:lnTo>
                    <a:pt x="7082" y="3755"/>
                  </a:lnTo>
                  <a:lnTo>
                    <a:pt x="7000" y="3959"/>
                  </a:lnTo>
                  <a:lnTo>
                    <a:pt x="6910" y="4162"/>
                  </a:lnTo>
                  <a:lnTo>
                    <a:pt x="6905" y="4170"/>
                  </a:lnTo>
                  <a:lnTo>
                    <a:pt x="6778" y="4365"/>
                  </a:lnTo>
                  <a:lnTo>
                    <a:pt x="6659" y="4568"/>
                  </a:lnTo>
                  <a:lnTo>
                    <a:pt x="6631" y="4609"/>
                  </a:lnTo>
                  <a:lnTo>
                    <a:pt x="6521" y="4772"/>
                  </a:lnTo>
                  <a:lnTo>
                    <a:pt x="6394" y="4975"/>
                  </a:lnTo>
                  <a:lnTo>
                    <a:pt x="6358" y="5026"/>
                  </a:lnTo>
                  <a:lnTo>
                    <a:pt x="6242" y="5179"/>
                  </a:lnTo>
                  <a:lnTo>
                    <a:pt x="6099" y="5383"/>
                  </a:lnTo>
                  <a:lnTo>
                    <a:pt x="6086" y="5401"/>
                  </a:lnTo>
                  <a:lnTo>
                    <a:pt x="5931" y="5586"/>
                  </a:lnTo>
                  <a:lnTo>
                    <a:pt x="5812" y="5747"/>
                  </a:lnTo>
                  <a:lnTo>
                    <a:pt x="5774" y="5790"/>
                  </a:lnTo>
                  <a:lnTo>
                    <a:pt x="5612" y="5993"/>
                  </a:lnTo>
                  <a:lnTo>
                    <a:pt x="5539" y="6092"/>
                  </a:lnTo>
                  <a:lnTo>
                    <a:pt x="5449" y="6197"/>
                  </a:lnTo>
                  <a:lnTo>
                    <a:pt x="5276" y="6400"/>
                  </a:lnTo>
                  <a:lnTo>
                    <a:pt x="5265" y="6411"/>
                  </a:lnTo>
                  <a:lnTo>
                    <a:pt x="5045" y="6604"/>
                  </a:lnTo>
                  <a:lnTo>
                    <a:pt x="4992" y="6648"/>
                  </a:lnTo>
                  <a:lnTo>
                    <a:pt x="4764" y="6807"/>
                  </a:lnTo>
                  <a:lnTo>
                    <a:pt x="4719" y="6836"/>
                  </a:lnTo>
                  <a:lnTo>
                    <a:pt x="4445" y="6980"/>
                  </a:lnTo>
                  <a:lnTo>
                    <a:pt x="4373" y="7011"/>
                  </a:lnTo>
                  <a:lnTo>
                    <a:pt x="4173" y="7089"/>
                  </a:lnTo>
                  <a:lnTo>
                    <a:pt x="3900" y="7171"/>
                  </a:lnTo>
                  <a:lnTo>
                    <a:pt x="3702" y="7215"/>
                  </a:lnTo>
                  <a:lnTo>
                    <a:pt x="3626" y="7230"/>
                  </a:lnTo>
                  <a:lnTo>
                    <a:pt x="3353" y="7260"/>
                  </a:lnTo>
                  <a:lnTo>
                    <a:pt x="3079" y="7268"/>
                  </a:lnTo>
                  <a:lnTo>
                    <a:pt x="2806" y="7252"/>
                  </a:lnTo>
                </a:path>
              </a:pathLst>
            </a:custGeom>
            <a:noFill/>
            <a:ln w="28575" cmpd="sng">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725" name="Freeform 173">
              <a:extLst>
                <a:ext uri="{FF2B5EF4-FFF2-40B4-BE49-F238E27FC236}">
                  <a16:creationId xmlns:a16="http://schemas.microsoft.com/office/drawing/2014/main" id="{87EC9B2B-7326-4BF6-99F5-FAF6798A259E}"/>
                </a:ext>
              </a:extLst>
            </p:cNvPr>
            <p:cNvSpPr>
              <a:spLocks noChangeAspect="1"/>
            </p:cNvSpPr>
            <p:nvPr/>
          </p:nvSpPr>
          <p:spPr bwMode="auto">
            <a:xfrm>
              <a:off x="3176588" y="2404428"/>
              <a:ext cx="50800" cy="63500"/>
            </a:xfrm>
            <a:custGeom>
              <a:avLst/>
              <a:gdLst>
                <a:gd name="T0" fmla="*/ 0 w 308"/>
                <a:gd name="T1" fmla="*/ 140 h 279"/>
                <a:gd name="T2" fmla="*/ 308 w 308"/>
                <a:gd name="T3" fmla="*/ 140 h 279"/>
                <a:gd name="T4" fmla="*/ 155 w 308"/>
                <a:gd name="T5" fmla="*/ 140 h 279"/>
                <a:gd name="T6" fmla="*/ 155 w 308"/>
                <a:gd name="T7" fmla="*/ 0 h 279"/>
                <a:gd name="T8" fmla="*/ 155 w 308"/>
                <a:gd name="T9" fmla="*/ 279 h 279"/>
              </a:gdLst>
              <a:ahLst/>
              <a:cxnLst>
                <a:cxn ang="0">
                  <a:pos x="T0" y="T1"/>
                </a:cxn>
                <a:cxn ang="0">
                  <a:pos x="T2" y="T3"/>
                </a:cxn>
                <a:cxn ang="0">
                  <a:pos x="T4" y="T5"/>
                </a:cxn>
                <a:cxn ang="0">
                  <a:pos x="T6" y="T7"/>
                </a:cxn>
                <a:cxn ang="0">
                  <a:pos x="T8" y="T9"/>
                </a:cxn>
              </a:cxnLst>
              <a:rect l="0" t="0" r="r" b="b"/>
              <a:pathLst>
                <a:path w="308" h="279">
                  <a:moveTo>
                    <a:pt x="0" y="140"/>
                  </a:moveTo>
                  <a:lnTo>
                    <a:pt x="308" y="140"/>
                  </a:lnTo>
                  <a:lnTo>
                    <a:pt x="155" y="140"/>
                  </a:lnTo>
                  <a:lnTo>
                    <a:pt x="155" y="0"/>
                  </a:lnTo>
                  <a:lnTo>
                    <a:pt x="155" y="279"/>
                  </a:lnTo>
                </a:path>
              </a:pathLst>
            </a:custGeom>
            <a:noFill/>
            <a:ln w="3175">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726" name="Freeform 174">
              <a:extLst>
                <a:ext uri="{FF2B5EF4-FFF2-40B4-BE49-F238E27FC236}">
                  <a16:creationId xmlns:a16="http://schemas.microsoft.com/office/drawing/2014/main" id="{5F1FDE74-C72B-4D49-B4C6-68B5F2C2B91C}"/>
                </a:ext>
              </a:extLst>
            </p:cNvPr>
            <p:cNvSpPr>
              <a:spLocks noChangeAspect="1"/>
            </p:cNvSpPr>
            <p:nvPr/>
          </p:nvSpPr>
          <p:spPr bwMode="auto">
            <a:xfrm>
              <a:off x="3176588" y="2404428"/>
              <a:ext cx="50800" cy="63500"/>
            </a:xfrm>
            <a:custGeom>
              <a:avLst/>
              <a:gdLst>
                <a:gd name="T0" fmla="*/ 0 w 308"/>
                <a:gd name="T1" fmla="*/ 140 h 279"/>
                <a:gd name="T2" fmla="*/ 308 w 308"/>
                <a:gd name="T3" fmla="*/ 140 h 279"/>
                <a:gd name="T4" fmla="*/ 155 w 308"/>
                <a:gd name="T5" fmla="*/ 140 h 279"/>
                <a:gd name="T6" fmla="*/ 155 w 308"/>
                <a:gd name="T7" fmla="*/ 0 h 279"/>
                <a:gd name="T8" fmla="*/ 155 w 308"/>
                <a:gd name="T9" fmla="*/ 279 h 279"/>
              </a:gdLst>
              <a:ahLst/>
              <a:cxnLst>
                <a:cxn ang="0">
                  <a:pos x="T0" y="T1"/>
                </a:cxn>
                <a:cxn ang="0">
                  <a:pos x="T2" y="T3"/>
                </a:cxn>
                <a:cxn ang="0">
                  <a:pos x="T4" y="T5"/>
                </a:cxn>
                <a:cxn ang="0">
                  <a:pos x="T6" y="T7"/>
                </a:cxn>
                <a:cxn ang="0">
                  <a:pos x="T8" y="T9"/>
                </a:cxn>
              </a:cxnLst>
              <a:rect l="0" t="0" r="r" b="b"/>
              <a:pathLst>
                <a:path w="308" h="279">
                  <a:moveTo>
                    <a:pt x="0" y="140"/>
                  </a:moveTo>
                  <a:lnTo>
                    <a:pt x="308" y="140"/>
                  </a:lnTo>
                  <a:lnTo>
                    <a:pt x="155" y="140"/>
                  </a:lnTo>
                  <a:lnTo>
                    <a:pt x="155" y="0"/>
                  </a:lnTo>
                  <a:lnTo>
                    <a:pt x="155" y="279"/>
                  </a:lnTo>
                </a:path>
              </a:pathLst>
            </a:custGeom>
            <a:noFill/>
            <a:ln w="3175">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727" name="Freeform 175">
              <a:extLst>
                <a:ext uri="{FF2B5EF4-FFF2-40B4-BE49-F238E27FC236}">
                  <a16:creationId xmlns:a16="http://schemas.microsoft.com/office/drawing/2014/main" id="{EE523FA7-B629-495C-802C-8C7A7037303A}"/>
                </a:ext>
              </a:extLst>
            </p:cNvPr>
            <p:cNvSpPr>
              <a:spLocks noChangeAspect="1"/>
            </p:cNvSpPr>
            <p:nvPr/>
          </p:nvSpPr>
          <p:spPr bwMode="auto">
            <a:xfrm>
              <a:off x="2566988" y="1934529"/>
              <a:ext cx="1117600" cy="1500187"/>
            </a:xfrm>
            <a:custGeom>
              <a:avLst/>
              <a:gdLst>
                <a:gd name="T0" fmla="*/ 1933 w 6611"/>
                <a:gd name="T1" fmla="*/ 6499 h 6669"/>
                <a:gd name="T2" fmla="*/ 1611 w 6611"/>
                <a:gd name="T3" fmla="*/ 6340 h 6669"/>
                <a:gd name="T4" fmla="*/ 1338 w 6611"/>
                <a:gd name="T5" fmla="*/ 6150 h 6669"/>
                <a:gd name="T6" fmla="*/ 1064 w 6611"/>
                <a:gd name="T7" fmla="*/ 5900 h 6669"/>
                <a:gd name="T8" fmla="*/ 881 w 6611"/>
                <a:gd name="T9" fmla="*/ 5685 h 6669"/>
                <a:gd name="T10" fmla="*/ 730 w 6611"/>
                <a:gd name="T11" fmla="*/ 5482 h 6669"/>
                <a:gd name="T12" fmla="*/ 517 w 6611"/>
                <a:gd name="T13" fmla="*/ 5135 h 6669"/>
                <a:gd name="T14" fmla="*/ 386 w 6611"/>
                <a:gd name="T15" fmla="*/ 4871 h 6669"/>
                <a:gd name="T16" fmla="*/ 244 w 6611"/>
                <a:gd name="T17" fmla="*/ 4535 h 6669"/>
                <a:gd name="T18" fmla="*/ 154 w 6611"/>
                <a:gd name="T19" fmla="*/ 4260 h 6669"/>
                <a:gd name="T20" fmla="*/ 58 w 6611"/>
                <a:gd name="T21" fmla="*/ 3854 h 6669"/>
                <a:gd name="T22" fmla="*/ 8 w 6611"/>
                <a:gd name="T23" fmla="*/ 3447 h 6669"/>
                <a:gd name="T24" fmla="*/ 4 w 6611"/>
                <a:gd name="T25" fmla="*/ 3040 h 6669"/>
                <a:gd name="T26" fmla="*/ 51 w 6611"/>
                <a:gd name="T27" fmla="*/ 2633 h 6669"/>
                <a:gd name="T28" fmla="*/ 147 w 6611"/>
                <a:gd name="T29" fmla="*/ 2226 h 6669"/>
                <a:gd name="T30" fmla="*/ 244 w 6611"/>
                <a:gd name="T31" fmla="*/ 1948 h 6669"/>
                <a:gd name="T32" fmla="*/ 398 w 6611"/>
                <a:gd name="T33" fmla="*/ 1615 h 6669"/>
                <a:gd name="T34" fmla="*/ 517 w 6611"/>
                <a:gd name="T35" fmla="*/ 1404 h 6669"/>
                <a:gd name="T36" fmla="*/ 791 w 6611"/>
                <a:gd name="T37" fmla="*/ 1028 h 6669"/>
                <a:gd name="T38" fmla="*/ 1003 w 6611"/>
                <a:gd name="T39" fmla="*/ 801 h 6669"/>
                <a:gd name="T40" fmla="*/ 1236 w 6611"/>
                <a:gd name="T41" fmla="*/ 597 h 6669"/>
                <a:gd name="T42" fmla="*/ 1531 w 6611"/>
                <a:gd name="T43" fmla="*/ 394 h 6669"/>
                <a:gd name="T44" fmla="*/ 1883 w 6611"/>
                <a:gd name="T45" fmla="*/ 215 h 6669"/>
                <a:gd name="T46" fmla="*/ 2157 w 6611"/>
                <a:gd name="T47" fmla="*/ 119 h 6669"/>
                <a:gd name="T48" fmla="*/ 2703 w 6611"/>
                <a:gd name="T49" fmla="*/ 13 h 6669"/>
                <a:gd name="T50" fmla="*/ 3250 w 6611"/>
                <a:gd name="T51" fmla="*/ 11 h 6669"/>
                <a:gd name="T52" fmla="*/ 3797 w 6611"/>
                <a:gd name="T53" fmla="*/ 102 h 6669"/>
                <a:gd name="T54" fmla="*/ 4108 w 6611"/>
                <a:gd name="T55" fmla="*/ 190 h 6669"/>
                <a:gd name="T56" fmla="*/ 4616 w 6611"/>
                <a:gd name="T57" fmla="*/ 387 h 6669"/>
                <a:gd name="T58" fmla="*/ 4889 w 6611"/>
                <a:gd name="T59" fmla="*/ 520 h 6669"/>
                <a:gd name="T60" fmla="*/ 5163 w 6611"/>
                <a:gd name="T61" fmla="*/ 672 h 6669"/>
                <a:gd name="T62" fmla="*/ 5436 w 6611"/>
                <a:gd name="T63" fmla="*/ 844 h 6669"/>
                <a:gd name="T64" fmla="*/ 5710 w 6611"/>
                <a:gd name="T65" fmla="*/ 1045 h 6669"/>
                <a:gd name="T66" fmla="*/ 5982 w 6611"/>
                <a:gd name="T67" fmla="*/ 1295 h 6669"/>
                <a:gd name="T68" fmla="*/ 6250 w 6611"/>
                <a:gd name="T69" fmla="*/ 1615 h 6669"/>
                <a:gd name="T70" fmla="*/ 6370 w 6611"/>
                <a:gd name="T71" fmla="*/ 1819 h 6669"/>
                <a:gd name="T72" fmla="*/ 6529 w 6611"/>
                <a:gd name="T73" fmla="*/ 2196 h 6669"/>
                <a:gd name="T74" fmla="*/ 6585 w 6611"/>
                <a:gd name="T75" fmla="*/ 2429 h 6669"/>
                <a:gd name="T76" fmla="*/ 6611 w 6611"/>
                <a:gd name="T77" fmla="*/ 2836 h 6669"/>
                <a:gd name="T78" fmla="*/ 6547 w 6611"/>
                <a:gd name="T79" fmla="*/ 3244 h 6669"/>
                <a:gd name="T80" fmla="*/ 6468 w 6611"/>
                <a:gd name="T81" fmla="*/ 3447 h 6669"/>
                <a:gd name="T82" fmla="*/ 6255 w 6611"/>
                <a:gd name="T83" fmla="*/ 3851 h 6669"/>
                <a:gd name="T84" fmla="*/ 6135 w 6611"/>
                <a:gd name="T85" fmla="*/ 4057 h 6669"/>
                <a:gd name="T86" fmla="*/ 5982 w 6611"/>
                <a:gd name="T87" fmla="*/ 4327 h 6669"/>
                <a:gd name="T88" fmla="*/ 5769 w 6611"/>
                <a:gd name="T89" fmla="*/ 4667 h 6669"/>
                <a:gd name="T90" fmla="*/ 5626 w 6611"/>
                <a:gd name="T91" fmla="*/ 4871 h 6669"/>
                <a:gd name="T92" fmla="*/ 5436 w 6611"/>
                <a:gd name="T93" fmla="*/ 5121 h 6669"/>
                <a:gd name="T94" fmla="*/ 5163 w 6611"/>
                <a:gd name="T95" fmla="*/ 5427 h 6669"/>
                <a:gd name="T96" fmla="*/ 4914 w 6611"/>
                <a:gd name="T97" fmla="*/ 5685 h 6669"/>
                <a:gd name="T98" fmla="*/ 4711 w 6611"/>
                <a:gd name="T99" fmla="*/ 5889 h 6669"/>
                <a:gd name="T100" fmla="*/ 4488 w 6611"/>
                <a:gd name="T101" fmla="*/ 6092 h 6669"/>
                <a:gd name="T102" fmla="*/ 4205 w 6611"/>
                <a:gd name="T103" fmla="*/ 6296 h 6669"/>
                <a:gd name="T104" fmla="*/ 3798 w 6611"/>
                <a:gd name="T105" fmla="*/ 6499 h 6669"/>
                <a:gd name="T106" fmla="*/ 3524 w 6611"/>
                <a:gd name="T107" fmla="*/ 6585 h 6669"/>
                <a:gd name="T108" fmla="*/ 2977 w 6611"/>
                <a:gd name="T109" fmla="*/ 6669 h 6669"/>
                <a:gd name="T110" fmla="*/ 2430 w 6611"/>
                <a:gd name="T111" fmla="*/ 6639 h 6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611" h="6669">
                  <a:moveTo>
                    <a:pt x="2157" y="6576"/>
                  </a:moveTo>
                  <a:lnTo>
                    <a:pt x="1933" y="6499"/>
                  </a:lnTo>
                  <a:lnTo>
                    <a:pt x="1883" y="6480"/>
                  </a:lnTo>
                  <a:lnTo>
                    <a:pt x="1611" y="6340"/>
                  </a:lnTo>
                  <a:lnTo>
                    <a:pt x="1540" y="6296"/>
                  </a:lnTo>
                  <a:lnTo>
                    <a:pt x="1338" y="6150"/>
                  </a:lnTo>
                  <a:lnTo>
                    <a:pt x="1268" y="6092"/>
                  </a:lnTo>
                  <a:lnTo>
                    <a:pt x="1064" y="5900"/>
                  </a:lnTo>
                  <a:lnTo>
                    <a:pt x="1053" y="5889"/>
                  </a:lnTo>
                  <a:lnTo>
                    <a:pt x="881" y="5685"/>
                  </a:lnTo>
                  <a:lnTo>
                    <a:pt x="791" y="5569"/>
                  </a:lnTo>
                  <a:lnTo>
                    <a:pt x="730" y="5482"/>
                  </a:lnTo>
                  <a:lnTo>
                    <a:pt x="601" y="5278"/>
                  </a:lnTo>
                  <a:lnTo>
                    <a:pt x="517" y="5135"/>
                  </a:lnTo>
                  <a:lnTo>
                    <a:pt x="485" y="5075"/>
                  </a:lnTo>
                  <a:lnTo>
                    <a:pt x="386" y="4871"/>
                  </a:lnTo>
                  <a:lnTo>
                    <a:pt x="297" y="4667"/>
                  </a:lnTo>
                  <a:lnTo>
                    <a:pt x="244" y="4535"/>
                  </a:lnTo>
                  <a:lnTo>
                    <a:pt x="218" y="4464"/>
                  </a:lnTo>
                  <a:lnTo>
                    <a:pt x="154" y="4260"/>
                  </a:lnTo>
                  <a:lnTo>
                    <a:pt x="101" y="4057"/>
                  </a:lnTo>
                  <a:lnTo>
                    <a:pt x="58" y="3854"/>
                  </a:lnTo>
                  <a:lnTo>
                    <a:pt x="27" y="3651"/>
                  </a:lnTo>
                  <a:lnTo>
                    <a:pt x="8" y="3447"/>
                  </a:lnTo>
                  <a:lnTo>
                    <a:pt x="0" y="3244"/>
                  </a:lnTo>
                  <a:lnTo>
                    <a:pt x="4" y="3040"/>
                  </a:lnTo>
                  <a:lnTo>
                    <a:pt x="21" y="2836"/>
                  </a:lnTo>
                  <a:lnTo>
                    <a:pt x="51" y="2633"/>
                  </a:lnTo>
                  <a:lnTo>
                    <a:pt x="92" y="2429"/>
                  </a:lnTo>
                  <a:lnTo>
                    <a:pt x="147" y="2226"/>
                  </a:lnTo>
                  <a:lnTo>
                    <a:pt x="215" y="2022"/>
                  </a:lnTo>
                  <a:lnTo>
                    <a:pt x="244" y="1948"/>
                  </a:lnTo>
                  <a:lnTo>
                    <a:pt x="299" y="1819"/>
                  </a:lnTo>
                  <a:lnTo>
                    <a:pt x="398" y="1615"/>
                  </a:lnTo>
                  <a:lnTo>
                    <a:pt x="513" y="1412"/>
                  </a:lnTo>
                  <a:lnTo>
                    <a:pt x="517" y="1404"/>
                  </a:lnTo>
                  <a:lnTo>
                    <a:pt x="651" y="1208"/>
                  </a:lnTo>
                  <a:lnTo>
                    <a:pt x="791" y="1028"/>
                  </a:lnTo>
                  <a:lnTo>
                    <a:pt x="811" y="1004"/>
                  </a:lnTo>
                  <a:lnTo>
                    <a:pt x="1003" y="801"/>
                  </a:lnTo>
                  <a:lnTo>
                    <a:pt x="1064" y="744"/>
                  </a:lnTo>
                  <a:lnTo>
                    <a:pt x="1236" y="597"/>
                  </a:lnTo>
                  <a:lnTo>
                    <a:pt x="1338" y="521"/>
                  </a:lnTo>
                  <a:lnTo>
                    <a:pt x="1531" y="394"/>
                  </a:lnTo>
                  <a:lnTo>
                    <a:pt x="1611" y="347"/>
                  </a:lnTo>
                  <a:lnTo>
                    <a:pt x="1883" y="215"/>
                  </a:lnTo>
                  <a:lnTo>
                    <a:pt x="1946" y="190"/>
                  </a:lnTo>
                  <a:lnTo>
                    <a:pt x="2157" y="119"/>
                  </a:lnTo>
                  <a:lnTo>
                    <a:pt x="2430" y="51"/>
                  </a:lnTo>
                  <a:lnTo>
                    <a:pt x="2703" y="13"/>
                  </a:lnTo>
                  <a:lnTo>
                    <a:pt x="2977" y="0"/>
                  </a:lnTo>
                  <a:lnTo>
                    <a:pt x="3250" y="11"/>
                  </a:lnTo>
                  <a:lnTo>
                    <a:pt x="3524" y="47"/>
                  </a:lnTo>
                  <a:lnTo>
                    <a:pt x="3797" y="102"/>
                  </a:lnTo>
                  <a:lnTo>
                    <a:pt x="4069" y="177"/>
                  </a:lnTo>
                  <a:lnTo>
                    <a:pt x="4108" y="190"/>
                  </a:lnTo>
                  <a:lnTo>
                    <a:pt x="4343" y="274"/>
                  </a:lnTo>
                  <a:lnTo>
                    <a:pt x="4616" y="387"/>
                  </a:lnTo>
                  <a:lnTo>
                    <a:pt x="4633" y="394"/>
                  </a:lnTo>
                  <a:lnTo>
                    <a:pt x="4889" y="520"/>
                  </a:lnTo>
                  <a:lnTo>
                    <a:pt x="5033" y="597"/>
                  </a:lnTo>
                  <a:lnTo>
                    <a:pt x="5163" y="672"/>
                  </a:lnTo>
                  <a:lnTo>
                    <a:pt x="5372" y="801"/>
                  </a:lnTo>
                  <a:lnTo>
                    <a:pt x="5436" y="844"/>
                  </a:lnTo>
                  <a:lnTo>
                    <a:pt x="5658" y="1004"/>
                  </a:lnTo>
                  <a:lnTo>
                    <a:pt x="5710" y="1045"/>
                  </a:lnTo>
                  <a:lnTo>
                    <a:pt x="5894" y="1208"/>
                  </a:lnTo>
                  <a:lnTo>
                    <a:pt x="5982" y="1295"/>
                  </a:lnTo>
                  <a:lnTo>
                    <a:pt x="6090" y="1412"/>
                  </a:lnTo>
                  <a:lnTo>
                    <a:pt x="6250" y="1615"/>
                  </a:lnTo>
                  <a:lnTo>
                    <a:pt x="6255" y="1624"/>
                  </a:lnTo>
                  <a:lnTo>
                    <a:pt x="6370" y="1819"/>
                  </a:lnTo>
                  <a:lnTo>
                    <a:pt x="6467" y="2022"/>
                  </a:lnTo>
                  <a:lnTo>
                    <a:pt x="6529" y="2196"/>
                  </a:lnTo>
                  <a:lnTo>
                    <a:pt x="6539" y="2226"/>
                  </a:lnTo>
                  <a:lnTo>
                    <a:pt x="6585" y="2429"/>
                  </a:lnTo>
                  <a:lnTo>
                    <a:pt x="6609" y="2633"/>
                  </a:lnTo>
                  <a:lnTo>
                    <a:pt x="6611" y="2836"/>
                  </a:lnTo>
                  <a:lnTo>
                    <a:pt x="6591" y="3040"/>
                  </a:lnTo>
                  <a:lnTo>
                    <a:pt x="6547" y="3244"/>
                  </a:lnTo>
                  <a:lnTo>
                    <a:pt x="6529" y="3300"/>
                  </a:lnTo>
                  <a:lnTo>
                    <a:pt x="6468" y="3447"/>
                  </a:lnTo>
                  <a:lnTo>
                    <a:pt x="6366" y="3651"/>
                  </a:lnTo>
                  <a:lnTo>
                    <a:pt x="6255" y="3851"/>
                  </a:lnTo>
                  <a:lnTo>
                    <a:pt x="6254" y="3854"/>
                  </a:lnTo>
                  <a:lnTo>
                    <a:pt x="6135" y="4057"/>
                  </a:lnTo>
                  <a:lnTo>
                    <a:pt x="6020" y="4260"/>
                  </a:lnTo>
                  <a:lnTo>
                    <a:pt x="5982" y="4327"/>
                  </a:lnTo>
                  <a:lnTo>
                    <a:pt x="5896" y="4464"/>
                  </a:lnTo>
                  <a:lnTo>
                    <a:pt x="5769" y="4667"/>
                  </a:lnTo>
                  <a:lnTo>
                    <a:pt x="5710" y="4759"/>
                  </a:lnTo>
                  <a:lnTo>
                    <a:pt x="5626" y="4871"/>
                  </a:lnTo>
                  <a:lnTo>
                    <a:pt x="5473" y="5075"/>
                  </a:lnTo>
                  <a:lnTo>
                    <a:pt x="5436" y="5121"/>
                  </a:lnTo>
                  <a:lnTo>
                    <a:pt x="5294" y="5278"/>
                  </a:lnTo>
                  <a:lnTo>
                    <a:pt x="5163" y="5427"/>
                  </a:lnTo>
                  <a:lnTo>
                    <a:pt x="5108" y="5482"/>
                  </a:lnTo>
                  <a:lnTo>
                    <a:pt x="4914" y="5685"/>
                  </a:lnTo>
                  <a:lnTo>
                    <a:pt x="4889" y="5714"/>
                  </a:lnTo>
                  <a:lnTo>
                    <a:pt x="4711" y="5889"/>
                  </a:lnTo>
                  <a:lnTo>
                    <a:pt x="4616" y="5983"/>
                  </a:lnTo>
                  <a:lnTo>
                    <a:pt x="4488" y="6092"/>
                  </a:lnTo>
                  <a:lnTo>
                    <a:pt x="4343" y="6206"/>
                  </a:lnTo>
                  <a:lnTo>
                    <a:pt x="4205" y="6296"/>
                  </a:lnTo>
                  <a:lnTo>
                    <a:pt x="4069" y="6374"/>
                  </a:lnTo>
                  <a:lnTo>
                    <a:pt x="3798" y="6499"/>
                  </a:lnTo>
                  <a:lnTo>
                    <a:pt x="3797" y="6500"/>
                  </a:lnTo>
                  <a:lnTo>
                    <a:pt x="3524" y="6585"/>
                  </a:lnTo>
                  <a:lnTo>
                    <a:pt x="3250" y="6642"/>
                  </a:lnTo>
                  <a:lnTo>
                    <a:pt x="2977" y="6669"/>
                  </a:lnTo>
                  <a:lnTo>
                    <a:pt x="2703" y="6668"/>
                  </a:lnTo>
                  <a:lnTo>
                    <a:pt x="2430" y="6639"/>
                  </a:lnTo>
                  <a:lnTo>
                    <a:pt x="2157" y="6576"/>
                  </a:lnTo>
                </a:path>
              </a:pathLst>
            </a:custGeom>
            <a:noFill/>
            <a:ln w="12700" cmpd="sng">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728" name="Freeform 176">
              <a:extLst>
                <a:ext uri="{FF2B5EF4-FFF2-40B4-BE49-F238E27FC236}">
                  <a16:creationId xmlns:a16="http://schemas.microsoft.com/office/drawing/2014/main" id="{452D7941-0598-4667-9B29-E53B26EF57F4}"/>
                </a:ext>
              </a:extLst>
            </p:cNvPr>
            <p:cNvSpPr>
              <a:spLocks noChangeAspect="1"/>
            </p:cNvSpPr>
            <p:nvPr/>
          </p:nvSpPr>
          <p:spPr bwMode="auto">
            <a:xfrm>
              <a:off x="2640014" y="2005966"/>
              <a:ext cx="1000125" cy="1355725"/>
            </a:xfrm>
            <a:custGeom>
              <a:avLst/>
              <a:gdLst>
                <a:gd name="T0" fmla="*/ 2016 w 5929"/>
                <a:gd name="T1" fmla="*/ 5972 h 6024"/>
                <a:gd name="T2" fmla="*/ 1726 w 5929"/>
                <a:gd name="T3" fmla="*/ 5871 h 6024"/>
                <a:gd name="T4" fmla="*/ 1452 w 5929"/>
                <a:gd name="T5" fmla="*/ 5730 h 6024"/>
                <a:gd name="T6" fmla="*/ 1180 w 5929"/>
                <a:gd name="T7" fmla="*/ 5530 h 6024"/>
                <a:gd name="T8" fmla="*/ 907 w 5929"/>
                <a:gd name="T9" fmla="*/ 5252 h 6024"/>
                <a:gd name="T10" fmla="*/ 678 w 5929"/>
                <a:gd name="T11" fmla="*/ 4954 h 6024"/>
                <a:gd name="T12" fmla="*/ 549 w 5929"/>
                <a:gd name="T13" fmla="*/ 4751 h 6024"/>
                <a:gd name="T14" fmla="*/ 360 w 5929"/>
                <a:gd name="T15" fmla="*/ 4406 h 6024"/>
                <a:gd name="T16" fmla="*/ 248 w 5929"/>
                <a:gd name="T17" fmla="*/ 4140 h 6024"/>
                <a:gd name="T18" fmla="*/ 111 w 5929"/>
                <a:gd name="T19" fmla="*/ 3733 h 6024"/>
                <a:gd name="T20" fmla="*/ 64 w 5929"/>
                <a:gd name="T21" fmla="*/ 3530 h 6024"/>
                <a:gd name="T22" fmla="*/ 9 w 5929"/>
                <a:gd name="T23" fmla="*/ 3123 h 6024"/>
                <a:gd name="T24" fmla="*/ 4 w 5929"/>
                <a:gd name="T25" fmla="*/ 2716 h 6024"/>
                <a:gd name="T26" fmla="*/ 50 w 5929"/>
                <a:gd name="T27" fmla="*/ 2309 h 6024"/>
                <a:gd name="T28" fmla="*/ 95 w 5929"/>
                <a:gd name="T29" fmla="*/ 2105 h 6024"/>
                <a:gd name="T30" fmla="*/ 241 w 5929"/>
                <a:gd name="T31" fmla="*/ 1698 h 6024"/>
                <a:gd name="T32" fmla="*/ 360 w 5929"/>
                <a:gd name="T33" fmla="*/ 1451 h 6024"/>
                <a:gd name="T34" fmla="*/ 592 w 5929"/>
                <a:gd name="T35" fmla="*/ 1088 h 6024"/>
                <a:gd name="T36" fmla="*/ 759 w 5929"/>
                <a:gd name="T37" fmla="*/ 884 h 6024"/>
                <a:gd name="T38" fmla="*/ 961 w 5929"/>
                <a:gd name="T39" fmla="*/ 680 h 6024"/>
                <a:gd name="T40" fmla="*/ 1215 w 5929"/>
                <a:gd name="T41" fmla="*/ 477 h 6024"/>
                <a:gd name="T42" fmla="*/ 1560 w 5929"/>
                <a:gd name="T43" fmla="*/ 273 h 6024"/>
                <a:gd name="T44" fmla="*/ 1999 w 5929"/>
                <a:gd name="T45" fmla="*/ 103 h 6024"/>
                <a:gd name="T46" fmla="*/ 2272 w 5929"/>
                <a:gd name="T47" fmla="*/ 40 h 6024"/>
                <a:gd name="T48" fmla="*/ 2819 w 5929"/>
                <a:gd name="T49" fmla="*/ 0 h 6024"/>
                <a:gd name="T50" fmla="*/ 3366 w 5929"/>
                <a:gd name="T51" fmla="*/ 62 h 6024"/>
                <a:gd name="T52" fmla="*/ 3638 w 5929"/>
                <a:gd name="T53" fmla="*/ 128 h 6024"/>
                <a:gd name="T54" fmla="*/ 4057 w 5929"/>
                <a:gd name="T55" fmla="*/ 273 h 6024"/>
                <a:gd name="T56" fmla="*/ 4458 w 5929"/>
                <a:gd name="T57" fmla="*/ 457 h 6024"/>
                <a:gd name="T58" fmla="*/ 4732 w 5929"/>
                <a:gd name="T59" fmla="*/ 617 h 6024"/>
                <a:gd name="T60" fmla="*/ 5005 w 5929"/>
                <a:gd name="T61" fmla="*/ 806 h 6024"/>
                <a:gd name="T62" fmla="*/ 5279 w 5929"/>
                <a:gd name="T63" fmla="*/ 1040 h 6024"/>
                <a:gd name="T64" fmla="*/ 5507 w 5929"/>
                <a:gd name="T65" fmla="*/ 1291 h 6024"/>
                <a:gd name="T66" fmla="*/ 5650 w 5929"/>
                <a:gd name="T67" fmla="*/ 1495 h 6024"/>
                <a:gd name="T68" fmla="*/ 5824 w 5929"/>
                <a:gd name="T69" fmla="*/ 1841 h 6024"/>
                <a:gd name="T70" fmla="*/ 5903 w 5929"/>
                <a:gd name="T71" fmla="*/ 2105 h 6024"/>
                <a:gd name="T72" fmla="*/ 5927 w 5929"/>
                <a:gd name="T73" fmla="*/ 2512 h 6024"/>
                <a:gd name="T74" fmla="*/ 5828 w 5929"/>
                <a:gd name="T75" fmla="*/ 2920 h 6024"/>
                <a:gd name="T76" fmla="*/ 5729 w 5929"/>
                <a:gd name="T77" fmla="*/ 3123 h 6024"/>
                <a:gd name="T78" fmla="*/ 5551 w 5929"/>
                <a:gd name="T79" fmla="*/ 3462 h 6024"/>
                <a:gd name="T80" fmla="*/ 5389 w 5929"/>
                <a:gd name="T81" fmla="*/ 3733 h 6024"/>
                <a:gd name="T82" fmla="*/ 5273 w 5929"/>
                <a:gd name="T83" fmla="*/ 3936 h 6024"/>
                <a:gd name="T84" fmla="*/ 5024 w 5929"/>
                <a:gd name="T85" fmla="*/ 4343 h 6024"/>
                <a:gd name="T86" fmla="*/ 4883 w 5929"/>
                <a:gd name="T87" fmla="*/ 4547 h 6024"/>
                <a:gd name="T88" fmla="*/ 4732 w 5929"/>
                <a:gd name="T89" fmla="*/ 4755 h 6024"/>
                <a:gd name="T90" fmla="*/ 4458 w 5929"/>
                <a:gd name="T91" fmla="*/ 5039 h 6024"/>
                <a:gd name="T92" fmla="*/ 4185 w 5929"/>
                <a:gd name="T93" fmla="*/ 5278 h 6024"/>
                <a:gd name="T94" fmla="*/ 3912 w 5929"/>
                <a:gd name="T95" fmla="*/ 5492 h 6024"/>
                <a:gd name="T96" fmla="*/ 3638 w 5929"/>
                <a:gd name="T97" fmla="*/ 5680 h 6024"/>
                <a:gd name="T98" fmla="*/ 3366 w 5929"/>
                <a:gd name="T99" fmla="*/ 5830 h 6024"/>
                <a:gd name="T100" fmla="*/ 2951 w 5929"/>
                <a:gd name="T101" fmla="*/ 5972 h 6024"/>
                <a:gd name="T102" fmla="*/ 2546 w 5929"/>
                <a:gd name="T103" fmla="*/ 6024 h 6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29" h="6024">
                  <a:moveTo>
                    <a:pt x="2272" y="6014"/>
                  </a:moveTo>
                  <a:lnTo>
                    <a:pt x="2016" y="5972"/>
                  </a:lnTo>
                  <a:lnTo>
                    <a:pt x="1999" y="5968"/>
                  </a:lnTo>
                  <a:lnTo>
                    <a:pt x="1726" y="5871"/>
                  </a:lnTo>
                  <a:lnTo>
                    <a:pt x="1516" y="5768"/>
                  </a:lnTo>
                  <a:lnTo>
                    <a:pt x="1452" y="5730"/>
                  </a:lnTo>
                  <a:lnTo>
                    <a:pt x="1222" y="5565"/>
                  </a:lnTo>
                  <a:lnTo>
                    <a:pt x="1180" y="5530"/>
                  </a:lnTo>
                  <a:lnTo>
                    <a:pt x="1007" y="5361"/>
                  </a:lnTo>
                  <a:lnTo>
                    <a:pt x="907" y="5252"/>
                  </a:lnTo>
                  <a:lnTo>
                    <a:pt x="829" y="5158"/>
                  </a:lnTo>
                  <a:lnTo>
                    <a:pt x="678" y="4954"/>
                  </a:lnTo>
                  <a:lnTo>
                    <a:pt x="633" y="4888"/>
                  </a:lnTo>
                  <a:lnTo>
                    <a:pt x="549" y="4751"/>
                  </a:lnTo>
                  <a:lnTo>
                    <a:pt x="433" y="4547"/>
                  </a:lnTo>
                  <a:lnTo>
                    <a:pt x="360" y="4406"/>
                  </a:lnTo>
                  <a:lnTo>
                    <a:pt x="332" y="4343"/>
                  </a:lnTo>
                  <a:lnTo>
                    <a:pt x="248" y="4140"/>
                  </a:lnTo>
                  <a:lnTo>
                    <a:pt x="175" y="3936"/>
                  </a:lnTo>
                  <a:lnTo>
                    <a:pt x="111" y="3733"/>
                  </a:lnTo>
                  <a:lnTo>
                    <a:pt x="86" y="3637"/>
                  </a:lnTo>
                  <a:lnTo>
                    <a:pt x="64" y="3530"/>
                  </a:lnTo>
                  <a:lnTo>
                    <a:pt x="30" y="3327"/>
                  </a:lnTo>
                  <a:lnTo>
                    <a:pt x="9" y="3123"/>
                  </a:lnTo>
                  <a:lnTo>
                    <a:pt x="0" y="2920"/>
                  </a:lnTo>
                  <a:lnTo>
                    <a:pt x="4" y="2716"/>
                  </a:lnTo>
                  <a:lnTo>
                    <a:pt x="21" y="2512"/>
                  </a:lnTo>
                  <a:lnTo>
                    <a:pt x="50" y="2309"/>
                  </a:lnTo>
                  <a:lnTo>
                    <a:pt x="86" y="2142"/>
                  </a:lnTo>
                  <a:lnTo>
                    <a:pt x="95" y="2105"/>
                  </a:lnTo>
                  <a:lnTo>
                    <a:pt x="162" y="1902"/>
                  </a:lnTo>
                  <a:lnTo>
                    <a:pt x="241" y="1698"/>
                  </a:lnTo>
                  <a:lnTo>
                    <a:pt x="336" y="1495"/>
                  </a:lnTo>
                  <a:lnTo>
                    <a:pt x="360" y="1451"/>
                  </a:lnTo>
                  <a:lnTo>
                    <a:pt x="454" y="1291"/>
                  </a:lnTo>
                  <a:lnTo>
                    <a:pt x="592" y="1088"/>
                  </a:lnTo>
                  <a:lnTo>
                    <a:pt x="633" y="1034"/>
                  </a:lnTo>
                  <a:lnTo>
                    <a:pt x="759" y="884"/>
                  </a:lnTo>
                  <a:lnTo>
                    <a:pt x="907" y="732"/>
                  </a:lnTo>
                  <a:lnTo>
                    <a:pt x="961" y="680"/>
                  </a:lnTo>
                  <a:lnTo>
                    <a:pt x="1180" y="502"/>
                  </a:lnTo>
                  <a:lnTo>
                    <a:pt x="1215" y="477"/>
                  </a:lnTo>
                  <a:lnTo>
                    <a:pt x="1452" y="330"/>
                  </a:lnTo>
                  <a:lnTo>
                    <a:pt x="1560" y="273"/>
                  </a:lnTo>
                  <a:lnTo>
                    <a:pt x="1726" y="198"/>
                  </a:lnTo>
                  <a:lnTo>
                    <a:pt x="1999" y="103"/>
                  </a:lnTo>
                  <a:lnTo>
                    <a:pt x="2133" y="70"/>
                  </a:lnTo>
                  <a:lnTo>
                    <a:pt x="2272" y="40"/>
                  </a:lnTo>
                  <a:lnTo>
                    <a:pt x="2546" y="6"/>
                  </a:lnTo>
                  <a:lnTo>
                    <a:pt x="2819" y="0"/>
                  </a:lnTo>
                  <a:lnTo>
                    <a:pt x="3093" y="20"/>
                  </a:lnTo>
                  <a:lnTo>
                    <a:pt x="3366" y="62"/>
                  </a:lnTo>
                  <a:lnTo>
                    <a:pt x="3401" y="70"/>
                  </a:lnTo>
                  <a:lnTo>
                    <a:pt x="3638" y="128"/>
                  </a:lnTo>
                  <a:lnTo>
                    <a:pt x="3912" y="216"/>
                  </a:lnTo>
                  <a:lnTo>
                    <a:pt x="4057" y="273"/>
                  </a:lnTo>
                  <a:lnTo>
                    <a:pt x="4185" y="327"/>
                  </a:lnTo>
                  <a:lnTo>
                    <a:pt x="4458" y="457"/>
                  </a:lnTo>
                  <a:lnTo>
                    <a:pt x="4494" y="477"/>
                  </a:lnTo>
                  <a:lnTo>
                    <a:pt x="4732" y="617"/>
                  </a:lnTo>
                  <a:lnTo>
                    <a:pt x="4829" y="680"/>
                  </a:lnTo>
                  <a:lnTo>
                    <a:pt x="5005" y="806"/>
                  </a:lnTo>
                  <a:lnTo>
                    <a:pt x="5102" y="884"/>
                  </a:lnTo>
                  <a:lnTo>
                    <a:pt x="5279" y="1040"/>
                  </a:lnTo>
                  <a:lnTo>
                    <a:pt x="5327" y="1088"/>
                  </a:lnTo>
                  <a:lnTo>
                    <a:pt x="5507" y="1291"/>
                  </a:lnTo>
                  <a:lnTo>
                    <a:pt x="5551" y="1349"/>
                  </a:lnTo>
                  <a:lnTo>
                    <a:pt x="5650" y="1495"/>
                  </a:lnTo>
                  <a:lnTo>
                    <a:pt x="5762" y="1698"/>
                  </a:lnTo>
                  <a:lnTo>
                    <a:pt x="5824" y="1841"/>
                  </a:lnTo>
                  <a:lnTo>
                    <a:pt x="5848" y="1902"/>
                  </a:lnTo>
                  <a:lnTo>
                    <a:pt x="5903" y="2105"/>
                  </a:lnTo>
                  <a:lnTo>
                    <a:pt x="5929" y="2309"/>
                  </a:lnTo>
                  <a:lnTo>
                    <a:pt x="5927" y="2512"/>
                  </a:lnTo>
                  <a:lnTo>
                    <a:pt x="5893" y="2716"/>
                  </a:lnTo>
                  <a:lnTo>
                    <a:pt x="5828" y="2920"/>
                  </a:lnTo>
                  <a:lnTo>
                    <a:pt x="5824" y="2927"/>
                  </a:lnTo>
                  <a:lnTo>
                    <a:pt x="5729" y="3123"/>
                  </a:lnTo>
                  <a:lnTo>
                    <a:pt x="5624" y="3327"/>
                  </a:lnTo>
                  <a:lnTo>
                    <a:pt x="5551" y="3462"/>
                  </a:lnTo>
                  <a:lnTo>
                    <a:pt x="5510" y="3530"/>
                  </a:lnTo>
                  <a:lnTo>
                    <a:pt x="5389" y="3733"/>
                  </a:lnTo>
                  <a:lnTo>
                    <a:pt x="5279" y="3929"/>
                  </a:lnTo>
                  <a:lnTo>
                    <a:pt x="5273" y="3936"/>
                  </a:lnTo>
                  <a:lnTo>
                    <a:pt x="5144" y="4140"/>
                  </a:lnTo>
                  <a:lnTo>
                    <a:pt x="5024" y="4343"/>
                  </a:lnTo>
                  <a:lnTo>
                    <a:pt x="5005" y="4375"/>
                  </a:lnTo>
                  <a:lnTo>
                    <a:pt x="4883" y="4547"/>
                  </a:lnTo>
                  <a:lnTo>
                    <a:pt x="4734" y="4751"/>
                  </a:lnTo>
                  <a:lnTo>
                    <a:pt x="4732" y="4755"/>
                  </a:lnTo>
                  <a:lnTo>
                    <a:pt x="4542" y="4954"/>
                  </a:lnTo>
                  <a:lnTo>
                    <a:pt x="4458" y="5039"/>
                  </a:lnTo>
                  <a:lnTo>
                    <a:pt x="4322" y="5158"/>
                  </a:lnTo>
                  <a:lnTo>
                    <a:pt x="4185" y="5278"/>
                  </a:lnTo>
                  <a:lnTo>
                    <a:pt x="4074" y="5361"/>
                  </a:lnTo>
                  <a:lnTo>
                    <a:pt x="3912" y="5492"/>
                  </a:lnTo>
                  <a:lnTo>
                    <a:pt x="3803" y="5565"/>
                  </a:lnTo>
                  <a:lnTo>
                    <a:pt x="3638" y="5680"/>
                  </a:lnTo>
                  <a:lnTo>
                    <a:pt x="3485" y="5768"/>
                  </a:lnTo>
                  <a:lnTo>
                    <a:pt x="3366" y="5830"/>
                  </a:lnTo>
                  <a:lnTo>
                    <a:pt x="3093" y="5935"/>
                  </a:lnTo>
                  <a:lnTo>
                    <a:pt x="2951" y="5972"/>
                  </a:lnTo>
                  <a:lnTo>
                    <a:pt x="2819" y="6001"/>
                  </a:lnTo>
                  <a:lnTo>
                    <a:pt x="2546" y="6024"/>
                  </a:lnTo>
                  <a:lnTo>
                    <a:pt x="2272" y="6014"/>
                  </a:lnTo>
                </a:path>
              </a:pathLst>
            </a:custGeom>
            <a:noFill/>
            <a:ln w="12700" cmpd="sng">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729" name="Freeform 177">
              <a:extLst>
                <a:ext uri="{FF2B5EF4-FFF2-40B4-BE49-F238E27FC236}">
                  <a16:creationId xmlns:a16="http://schemas.microsoft.com/office/drawing/2014/main" id="{3847A36A-8DEE-4EBF-926C-AB6678064D66}"/>
                </a:ext>
              </a:extLst>
            </p:cNvPr>
            <p:cNvSpPr>
              <a:spLocks noChangeAspect="1"/>
            </p:cNvSpPr>
            <p:nvPr/>
          </p:nvSpPr>
          <p:spPr bwMode="auto">
            <a:xfrm>
              <a:off x="2741614" y="2085340"/>
              <a:ext cx="846137" cy="1162050"/>
            </a:xfrm>
            <a:custGeom>
              <a:avLst/>
              <a:gdLst>
                <a:gd name="T0" fmla="*/ 1351 w 5018"/>
                <a:gd name="T1" fmla="*/ 5014 h 5167"/>
                <a:gd name="T2" fmla="*/ 1046 w 5018"/>
                <a:gd name="T3" fmla="*/ 4811 h 5167"/>
                <a:gd name="T4" fmla="*/ 824 w 5018"/>
                <a:gd name="T5" fmla="*/ 4607 h 5167"/>
                <a:gd name="T6" fmla="*/ 584 w 5018"/>
                <a:gd name="T7" fmla="*/ 4315 h 5167"/>
                <a:gd name="T8" fmla="*/ 401 w 5018"/>
                <a:gd name="T9" fmla="*/ 3996 h 5167"/>
                <a:gd name="T10" fmla="*/ 299 w 5018"/>
                <a:gd name="T11" fmla="*/ 3793 h 5167"/>
                <a:gd name="T12" fmla="*/ 162 w 5018"/>
                <a:gd name="T13" fmla="*/ 3386 h 5167"/>
                <a:gd name="T14" fmla="*/ 62 w 5018"/>
                <a:gd name="T15" fmla="*/ 2980 h 5167"/>
                <a:gd name="T16" fmla="*/ 28 w 5018"/>
                <a:gd name="T17" fmla="*/ 2776 h 5167"/>
                <a:gd name="T18" fmla="*/ 0 w 5018"/>
                <a:gd name="T19" fmla="*/ 2369 h 5167"/>
                <a:gd name="T20" fmla="*/ 26 w 5018"/>
                <a:gd name="T21" fmla="*/ 1962 h 5167"/>
                <a:gd name="T22" fmla="*/ 64 w 5018"/>
                <a:gd name="T23" fmla="*/ 1758 h 5167"/>
                <a:gd name="T24" fmla="*/ 201 w 5018"/>
                <a:gd name="T25" fmla="*/ 1351 h 5167"/>
                <a:gd name="T26" fmla="*/ 311 w 5018"/>
                <a:gd name="T27" fmla="*/ 1135 h 5167"/>
                <a:gd name="T28" fmla="*/ 584 w 5018"/>
                <a:gd name="T29" fmla="*/ 761 h 5167"/>
                <a:gd name="T30" fmla="*/ 812 w 5018"/>
                <a:gd name="T31" fmla="*/ 537 h 5167"/>
                <a:gd name="T32" fmla="*/ 1090 w 5018"/>
                <a:gd name="T33" fmla="*/ 333 h 5167"/>
                <a:gd name="T34" fmla="*/ 1403 w 5018"/>
                <a:gd name="T35" fmla="*/ 174 h 5167"/>
                <a:gd name="T36" fmla="*/ 1676 w 5018"/>
                <a:gd name="T37" fmla="*/ 82 h 5167"/>
                <a:gd name="T38" fmla="*/ 2223 w 5018"/>
                <a:gd name="T39" fmla="*/ 0 h 5167"/>
                <a:gd name="T40" fmla="*/ 2770 w 5018"/>
                <a:gd name="T41" fmla="*/ 38 h 5167"/>
                <a:gd name="T42" fmla="*/ 3172 w 5018"/>
                <a:gd name="T43" fmla="*/ 130 h 5167"/>
                <a:gd name="T44" fmla="*/ 3589 w 5018"/>
                <a:gd name="T45" fmla="*/ 287 h 5167"/>
                <a:gd name="T46" fmla="*/ 3862 w 5018"/>
                <a:gd name="T47" fmla="*/ 426 h 5167"/>
                <a:gd name="T48" fmla="*/ 4136 w 5018"/>
                <a:gd name="T49" fmla="*/ 596 h 5167"/>
                <a:gd name="T50" fmla="*/ 4409 w 5018"/>
                <a:gd name="T51" fmla="*/ 812 h 5167"/>
                <a:gd name="T52" fmla="*/ 4683 w 5018"/>
                <a:gd name="T53" fmla="*/ 1097 h 5167"/>
                <a:gd name="T54" fmla="*/ 4847 w 5018"/>
                <a:gd name="T55" fmla="*/ 1351 h 5167"/>
                <a:gd name="T56" fmla="*/ 4955 w 5018"/>
                <a:gd name="T57" fmla="*/ 1559 h 5167"/>
                <a:gd name="T58" fmla="*/ 5018 w 5018"/>
                <a:gd name="T59" fmla="*/ 1962 h 5167"/>
                <a:gd name="T60" fmla="*/ 4955 w 5018"/>
                <a:gd name="T61" fmla="*/ 2317 h 5167"/>
                <a:gd name="T62" fmla="*/ 4846 w 5018"/>
                <a:gd name="T63" fmla="*/ 2573 h 5167"/>
                <a:gd name="T64" fmla="*/ 4683 w 5018"/>
                <a:gd name="T65" fmla="*/ 2913 h 5167"/>
                <a:gd name="T66" fmla="*/ 4510 w 5018"/>
                <a:gd name="T67" fmla="*/ 3183 h 5167"/>
                <a:gd name="T68" fmla="*/ 4386 w 5018"/>
                <a:gd name="T69" fmla="*/ 3386 h 5167"/>
                <a:gd name="T70" fmla="*/ 4136 w 5018"/>
                <a:gd name="T71" fmla="*/ 3750 h 5167"/>
                <a:gd name="T72" fmla="*/ 3949 w 5018"/>
                <a:gd name="T73" fmla="*/ 3996 h 5167"/>
                <a:gd name="T74" fmla="*/ 3806 w 5018"/>
                <a:gd name="T75" fmla="*/ 4200 h 5167"/>
                <a:gd name="T76" fmla="*/ 3589 w 5018"/>
                <a:gd name="T77" fmla="*/ 4458 h 5167"/>
                <a:gd name="T78" fmla="*/ 3316 w 5018"/>
                <a:gd name="T79" fmla="*/ 4690 h 5167"/>
                <a:gd name="T80" fmla="*/ 3042 w 5018"/>
                <a:gd name="T81" fmla="*/ 4865 h 5167"/>
                <a:gd name="T82" fmla="*/ 2723 w 5018"/>
                <a:gd name="T83" fmla="*/ 5014 h 5167"/>
                <a:gd name="T84" fmla="*/ 2223 w 5018"/>
                <a:gd name="T85" fmla="*/ 5150 h 5167"/>
                <a:gd name="T86" fmla="*/ 1676 w 5018"/>
                <a:gd name="T87" fmla="*/ 5129 h 5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18" h="5167">
                  <a:moveTo>
                    <a:pt x="1403" y="5041"/>
                  </a:moveTo>
                  <a:lnTo>
                    <a:pt x="1351" y="5014"/>
                  </a:lnTo>
                  <a:lnTo>
                    <a:pt x="1130" y="4877"/>
                  </a:lnTo>
                  <a:lnTo>
                    <a:pt x="1046" y="4811"/>
                  </a:lnTo>
                  <a:lnTo>
                    <a:pt x="856" y="4645"/>
                  </a:lnTo>
                  <a:lnTo>
                    <a:pt x="824" y="4607"/>
                  </a:lnTo>
                  <a:lnTo>
                    <a:pt x="654" y="4404"/>
                  </a:lnTo>
                  <a:lnTo>
                    <a:pt x="584" y="4315"/>
                  </a:lnTo>
                  <a:lnTo>
                    <a:pt x="514" y="4200"/>
                  </a:lnTo>
                  <a:lnTo>
                    <a:pt x="401" y="3996"/>
                  </a:lnTo>
                  <a:lnTo>
                    <a:pt x="311" y="3819"/>
                  </a:lnTo>
                  <a:lnTo>
                    <a:pt x="299" y="3793"/>
                  </a:lnTo>
                  <a:lnTo>
                    <a:pt x="226" y="3589"/>
                  </a:lnTo>
                  <a:lnTo>
                    <a:pt x="162" y="3386"/>
                  </a:lnTo>
                  <a:lnTo>
                    <a:pt x="107" y="3183"/>
                  </a:lnTo>
                  <a:lnTo>
                    <a:pt x="62" y="2980"/>
                  </a:lnTo>
                  <a:lnTo>
                    <a:pt x="37" y="2839"/>
                  </a:lnTo>
                  <a:lnTo>
                    <a:pt x="28" y="2776"/>
                  </a:lnTo>
                  <a:lnTo>
                    <a:pt x="8" y="2573"/>
                  </a:lnTo>
                  <a:lnTo>
                    <a:pt x="0" y="2369"/>
                  </a:lnTo>
                  <a:lnTo>
                    <a:pt x="6" y="2165"/>
                  </a:lnTo>
                  <a:lnTo>
                    <a:pt x="26" y="1962"/>
                  </a:lnTo>
                  <a:lnTo>
                    <a:pt x="37" y="1902"/>
                  </a:lnTo>
                  <a:lnTo>
                    <a:pt x="64" y="1758"/>
                  </a:lnTo>
                  <a:lnTo>
                    <a:pt x="123" y="1555"/>
                  </a:lnTo>
                  <a:lnTo>
                    <a:pt x="201" y="1351"/>
                  </a:lnTo>
                  <a:lnTo>
                    <a:pt x="303" y="1148"/>
                  </a:lnTo>
                  <a:lnTo>
                    <a:pt x="311" y="1135"/>
                  </a:lnTo>
                  <a:lnTo>
                    <a:pt x="438" y="944"/>
                  </a:lnTo>
                  <a:lnTo>
                    <a:pt x="584" y="761"/>
                  </a:lnTo>
                  <a:lnTo>
                    <a:pt x="601" y="741"/>
                  </a:lnTo>
                  <a:lnTo>
                    <a:pt x="812" y="537"/>
                  </a:lnTo>
                  <a:lnTo>
                    <a:pt x="856" y="500"/>
                  </a:lnTo>
                  <a:lnTo>
                    <a:pt x="1090" y="333"/>
                  </a:lnTo>
                  <a:lnTo>
                    <a:pt x="1130" y="310"/>
                  </a:lnTo>
                  <a:lnTo>
                    <a:pt x="1403" y="174"/>
                  </a:lnTo>
                  <a:lnTo>
                    <a:pt x="1519" y="130"/>
                  </a:lnTo>
                  <a:lnTo>
                    <a:pt x="1676" y="82"/>
                  </a:lnTo>
                  <a:lnTo>
                    <a:pt x="1950" y="26"/>
                  </a:lnTo>
                  <a:lnTo>
                    <a:pt x="2223" y="0"/>
                  </a:lnTo>
                  <a:lnTo>
                    <a:pt x="2497" y="6"/>
                  </a:lnTo>
                  <a:lnTo>
                    <a:pt x="2770" y="38"/>
                  </a:lnTo>
                  <a:lnTo>
                    <a:pt x="3042" y="93"/>
                  </a:lnTo>
                  <a:lnTo>
                    <a:pt x="3172" y="130"/>
                  </a:lnTo>
                  <a:lnTo>
                    <a:pt x="3316" y="177"/>
                  </a:lnTo>
                  <a:lnTo>
                    <a:pt x="3589" y="287"/>
                  </a:lnTo>
                  <a:lnTo>
                    <a:pt x="3686" y="333"/>
                  </a:lnTo>
                  <a:lnTo>
                    <a:pt x="3862" y="426"/>
                  </a:lnTo>
                  <a:lnTo>
                    <a:pt x="4046" y="537"/>
                  </a:lnTo>
                  <a:lnTo>
                    <a:pt x="4136" y="596"/>
                  </a:lnTo>
                  <a:lnTo>
                    <a:pt x="4324" y="741"/>
                  </a:lnTo>
                  <a:lnTo>
                    <a:pt x="4409" y="812"/>
                  </a:lnTo>
                  <a:lnTo>
                    <a:pt x="4542" y="944"/>
                  </a:lnTo>
                  <a:lnTo>
                    <a:pt x="4683" y="1097"/>
                  </a:lnTo>
                  <a:lnTo>
                    <a:pt x="4721" y="1148"/>
                  </a:lnTo>
                  <a:lnTo>
                    <a:pt x="4847" y="1351"/>
                  </a:lnTo>
                  <a:lnTo>
                    <a:pt x="4954" y="1555"/>
                  </a:lnTo>
                  <a:lnTo>
                    <a:pt x="4955" y="1559"/>
                  </a:lnTo>
                  <a:lnTo>
                    <a:pt x="5003" y="1758"/>
                  </a:lnTo>
                  <a:lnTo>
                    <a:pt x="5018" y="1962"/>
                  </a:lnTo>
                  <a:lnTo>
                    <a:pt x="4995" y="2165"/>
                  </a:lnTo>
                  <a:lnTo>
                    <a:pt x="4955" y="2317"/>
                  </a:lnTo>
                  <a:lnTo>
                    <a:pt x="4937" y="2369"/>
                  </a:lnTo>
                  <a:lnTo>
                    <a:pt x="4846" y="2573"/>
                  </a:lnTo>
                  <a:lnTo>
                    <a:pt x="4750" y="2776"/>
                  </a:lnTo>
                  <a:lnTo>
                    <a:pt x="4683" y="2913"/>
                  </a:lnTo>
                  <a:lnTo>
                    <a:pt x="4641" y="2980"/>
                  </a:lnTo>
                  <a:lnTo>
                    <a:pt x="4510" y="3183"/>
                  </a:lnTo>
                  <a:lnTo>
                    <a:pt x="4409" y="3354"/>
                  </a:lnTo>
                  <a:lnTo>
                    <a:pt x="4386" y="3386"/>
                  </a:lnTo>
                  <a:lnTo>
                    <a:pt x="4237" y="3589"/>
                  </a:lnTo>
                  <a:lnTo>
                    <a:pt x="4136" y="3750"/>
                  </a:lnTo>
                  <a:lnTo>
                    <a:pt x="4100" y="3793"/>
                  </a:lnTo>
                  <a:lnTo>
                    <a:pt x="3949" y="3996"/>
                  </a:lnTo>
                  <a:lnTo>
                    <a:pt x="3862" y="4132"/>
                  </a:lnTo>
                  <a:lnTo>
                    <a:pt x="3806" y="4200"/>
                  </a:lnTo>
                  <a:lnTo>
                    <a:pt x="3640" y="4404"/>
                  </a:lnTo>
                  <a:lnTo>
                    <a:pt x="3589" y="4458"/>
                  </a:lnTo>
                  <a:lnTo>
                    <a:pt x="3420" y="4607"/>
                  </a:lnTo>
                  <a:lnTo>
                    <a:pt x="3316" y="4690"/>
                  </a:lnTo>
                  <a:lnTo>
                    <a:pt x="3133" y="4811"/>
                  </a:lnTo>
                  <a:lnTo>
                    <a:pt x="3042" y="4865"/>
                  </a:lnTo>
                  <a:lnTo>
                    <a:pt x="2770" y="4998"/>
                  </a:lnTo>
                  <a:lnTo>
                    <a:pt x="2723" y="5014"/>
                  </a:lnTo>
                  <a:lnTo>
                    <a:pt x="2497" y="5090"/>
                  </a:lnTo>
                  <a:lnTo>
                    <a:pt x="2223" y="5150"/>
                  </a:lnTo>
                  <a:lnTo>
                    <a:pt x="1950" y="5167"/>
                  </a:lnTo>
                  <a:lnTo>
                    <a:pt x="1676" y="5129"/>
                  </a:lnTo>
                  <a:lnTo>
                    <a:pt x="1403" y="5041"/>
                  </a:lnTo>
                </a:path>
              </a:pathLst>
            </a:custGeom>
            <a:noFill/>
            <a:ln w="12700" cmpd="sng">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730" name="Freeform 178">
              <a:extLst>
                <a:ext uri="{FF2B5EF4-FFF2-40B4-BE49-F238E27FC236}">
                  <a16:creationId xmlns:a16="http://schemas.microsoft.com/office/drawing/2014/main" id="{A86EFF76-0C22-4A0E-9927-A3DCEBF44C2D}"/>
                </a:ext>
              </a:extLst>
            </p:cNvPr>
            <p:cNvSpPr>
              <a:spLocks noChangeAspect="1"/>
            </p:cNvSpPr>
            <p:nvPr/>
          </p:nvSpPr>
          <p:spPr bwMode="auto">
            <a:xfrm>
              <a:off x="2878138" y="2188528"/>
              <a:ext cx="615950" cy="793750"/>
            </a:xfrm>
            <a:custGeom>
              <a:avLst/>
              <a:gdLst>
                <a:gd name="T0" fmla="*/ 1141 w 3649"/>
                <a:gd name="T1" fmla="*/ 3456 h 3529"/>
                <a:gd name="T2" fmla="*/ 930 w 3649"/>
                <a:gd name="T3" fmla="*/ 3332 h 3529"/>
                <a:gd name="T4" fmla="*/ 867 w 3649"/>
                <a:gd name="T5" fmla="*/ 3292 h 3529"/>
                <a:gd name="T6" fmla="*/ 695 w 3649"/>
                <a:gd name="T7" fmla="*/ 3128 h 3529"/>
                <a:gd name="T8" fmla="*/ 594 w 3649"/>
                <a:gd name="T9" fmla="*/ 3022 h 3529"/>
                <a:gd name="T10" fmla="*/ 522 w 3649"/>
                <a:gd name="T11" fmla="*/ 2925 h 3529"/>
                <a:gd name="T12" fmla="*/ 385 w 3649"/>
                <a:gd name="T13" fmla="*/ 2722 h 3529"/>
                <a:gd name="T14" fmla="*/ 321 w 3649"/>
                <a:gd name="T15" fmla="*/ 2617 h 3529"/>
                <a:gd name="T16" fmla="*/ 270 w 3649"/>
                <a:gd name="T17" fmla="*/ 2519 h 3529"/>
                <a:gd name="T18" fmla="*/ 179 w 3649"/>
                <a:gd name="T19" fmla="*/ 2315 h 3529"/>
                <a:gd name="T20" fmla="*/ 105 w 3649"/>
                <a:gd name="T21" fmla="*/ 2112 h 3529"/>
                <a:gd name="T22" fmla="*/ 47 w 3649"/>
                <a:gd name="T23" fmla="*/ 1908 h 3529"/>
                <a:gd name="T24" fmla="*/ 47 w 3649"/>
                <a:gd name="T25" fmla="*/ 1908 h 3529"/>
                <a:gd name="T26" fmla="*/ 15 w 3649"/>
                <a:gd name="T27" fmla="*/ 1704 h 3529"/>
                <a:gd name="T28" fmla="*/ 0 w 3649"/>
                <a:gd name="T29" fmla="*/ 1501 h 3529"/>
                <a:gd name="T30" fmla="*/ 9 w 3649"/>
                <a:gd name="T31" fmla="*/ 1297 h 3529"/>
                <a:gd name="T32" fmla="*/ 47 w 3649"/>
                <a:gd name="T33" fmla="*/ 1097 h 3529"/>
                <a:gd name="T34" fmla="*/ 48 w 3649"/>
                <a:gd name="T35" fmla="*/ 1094 h 3529"/>
                <a:gd name="T36" fmla="*/ 129 w 3649"/>
                <a:gd name="T37" fmla="*/ 890 h 3529"/>
                <a:gd name="T38" fmla="*/ 249 w 3649"/>
                <a:gd name="T39" fmla="*/ 687 h 3529"/>
                <a:gd name="T40" fmla="*/ 321 w 3649"/>
                <a:gd name="T41" fmla="*/ 596 h 3529"/>
                <a:gd name="T42" fmla="*/ 424 w 3649"/>
                <a:gd name="T43" fmla="*/ 483 h 3529"/>
                <a:gd name="T44" fmla="*/ 594 w 3649"/>
                <a:gd name="T45" fmla="*/ 340 h 3529"/>
                <a:gd name="T46" fmla="*/ 684 w 3649"/>
                <a:gd name="T47" fmla="*/ 280 h 3529"/>
                <a:gd name="T48" fmla="*/ 867 w 3649"/>
                <a:gd name="T49" fmla="*/ 179 h 3529"/>
                <a:gd name="T50" fmla="*/ 1133 w 3649"/>
                <a:gd name="T51" fmla="*/ 76 h 3529"/>
                <a:gd name="T52" fmla="*/ 1141 w 3649"/>
                <a:gd name="T53" fmla="*/ 74 h 3529"/>
                <a:gd name="T54" fmla="*/ 1414 w 3649"/>
                <a:gd name="T55" fmla="*/ 19 h 3529"/>
                <a:gd name="T56" fmla="*/ 1688 w 3649"/>
                <a:gd name="T57" fmla="*/ 0 h 3529"/>
                <a:gd name="T58" fmla="*/ 1961 w 3649"/>
                <a:gd name="T59" fmla="*/ 16 h 3529"/>
                <a:gd name="T60" fmla="*/ 2233 w 3649"/>
                <a:gd name="T61" fmla="*/ 61 h 3529"/>
                <a:gd name="T62" fmla="*/ 2290 w 3649"/>
                <a:gd name="T63" fmla="*/ 76 h 3529"/>
                <a:gd name="T64" fmla="*/ 2507 w 3649"/>
                <a:gd name="T65" fmla="*/ 143 h 3529"/>
                <a:gd name="T66" fmla="*/ 2780 w 3649"/>
                <a:gd name="T67" fmla="*/ 255 h 3529"/>
                <a:gd name="T68" fmla="*/ 2827 w 3649"/>
                <a:gd name="T69" fmla="*/ 280 h 3529"/>
                <a:gd name="T70" fmla="*/ 3053 w 3649"/>
                <a:gd name="T71" fmla="*/ 414 h 3529"/>
                <a:gd name="T72" fmla="*/ 3150 w 3649"/>
                <a:gd name="T73" fmla="*/ 483 h 3529"/>
                <a:gd name="T74" fmla="*/ 3327 w 3649"/>
                <a:gd name="T75" fmla="*/ 633 h 3529"/>
                <a:gd name="T76" fmla="*/ 3380 w 3649"/>
                <a:gd name="T77" fmla="*/ 687 h 3529"/>
                <a:gd name="T78" fmla="*/ 3533 w 3649"/>
                <a:gd name="T79" fmla="*/ 890 h 3529"/>
                <a:gd name="T80" fmla="*/ 3600 w 3649"/>
                <a:gd name="T81" fmla="*/ 1034 h 3529"/>
                <a:gd name="T82" fmla="*/ 3623 w 3649"/>
                <a:gd name="T83" fmla="*/ 1094 h 3529"/>
                <a:gd name="T84" fmla="*/ 3649 w 3649"/>
                <a:gd name="T85" fmla="*/ 1297 h 3529"/>
                <a:gd name="T86" fmla="*/ 3631 w 3649"/>
                <a:gd name="T87" fmla="*/ 1501 h 3529"/>
                <a:gd name="T88" fmla="*/ 3600 w 3649"/>
                <a:gd name="T89" fmla="*/ 1632 h 3529"/>
                <a:gd name="T90" fmla="*/ 3578 w 3649"/>
                <a:gd name="T91" fmla="*/ 1704 h 3529"/>
                <a:gd name="T92" fmla="*/ 3487 w 3649"/>
                <a:gd name="T93" fmla="*/ 1908 h 3529"/>
                <a:gd name="T94" fmla="*/ 3384 w 3649"/>
                <a:gd name="T95" fmla="*/ 2112 h 3529"/>
                <a:gd name="T96" fmla="*/ 3327 w 3649"/>
                <a:gd name="T97" fmla="*/ 2220 h 3529"/>
                <a:gd name="T98" fmla="*/ 3268 w 3649"/>
                <a:gd name="T99" fmla="*/ 2315 h 3529"/>
                <a:gd name="T100" fmla="*/ 3132 w 3649"/>
                <a:gd name="T101" fmla="*/ 2519 h 3529"/>
                <a:gd name="T102" fmla="*/ 3053 w 3649"/>
                <a:gd name="T103" fmla="*/ 2628 h 3529"/>
                <a:gd name="T104" fmla="*/ 2970 w 3649"/>
                <a:gd name="T105" fmla="*/ 2722 h 3529"/>
                <a:gd name="T106" fmla="*/ 2780 w 3649"/>
                <a:gd name="T107" fmla="*/ 2923 h 3529"/>
                <a:gd name="T108" fmla="*/ 2777 w 3649"/>
                <a:gd name="T109" fmla="*/ 2925 h 3529"/>
                <a:gd name="T110" fmla="*/ 2525 w 3649"/>
                <a:gd name="T111" fmla="*/ 3128 h 3529"/>
                <a:gd name="T112" fmla="*/ 2507 w 3649"/>
                <a:gd name="T113" fmla="*/ 3144 h 3529"/>
                <a:gd name="T114" fmla="*/ 2233 w 3649"/>
                <a:gd name="T115" fmla="*/ 3320 h 3529"/>
                <a:gd name="T116" fmla="*/ 2204 w 3649"/>
                <a:gd name="T117" fmla="*/ 3332 h 3529"/>
                <a:gd name="T118" fmla="*/ 1961 w 3649"/>
                <a:gd name="T119" fmla="*/ 3450 h 3529"/>
                <a:gd name="T120" fmla="*/ 1688 w 3649"/>
                <a:gd name="T121" fmla="*/ 3522 h 3529"/>
                <a:gd name="T122" fmla="*/ 1414 w 3649"/>
                <a:gd name="T123" fmla="*/ 3529 h 3529"/>
                <a:gd name="T124" fmla="*/ 1141 w 3649"/>
                <a:gd name="T125" fmla="*/ 3456 h 3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49" h="3529">
                  <a:moveTo>
                    <a:pt x="1141" y="3456"/>
                  </a:moveTo>
                  <a:lnTo>
                    <a:pt x="930" y="3332"/>
                  </a:lnTo>
                  <a:lnTo>
                    <a:pt x="867" y="3292"/>
                  </a:lnTo>
                  <a:lnTo>
                    <a:pt x="695" y="3128"/>
                  </a:lnTo>
                  <a:lnTo>
                    <a:pt x="594" y="3022"/>
                  </a:lnTo>
                  <a:lnTo>
                    <a:pt x="522" y="2925"/>
                  </a:lnTo>
                  <a:lnTo>
                    <a:pt x="385" y="2722"/>
                  </a:lnTo>
                  <a:lnTo>
                    <a:pt x="321" y="2617"/>
                  </a:lnTo>
                  <a:lnTo>
                    <a:pt x="270" y="2519"/>
                  </a:lnTo>
                  <a:lnTo>
                    <a:pt x="179" y="2315"/>
                  </a:lnTo>
                  <a:lnTo>
                    <a:pt x="105" y="2112"/>
                  </a:lnTo>
                  <a:lnTo>
                    <a:pt x="47" y="1908"/>
                  </a:lnTo>
                  <a:lnTo>
                    <a:pt x="47" y="1908"/>
                  </a:lnTo>
                  <a:lnTo>
                    <a:pt x="15" y="1704"/>
                  </a:lnTo>
                  <a:lnTo>
                    <a:pt x="0" y="1501"/>
                  </a:lnTo>
                  <a:lnTo>
                    <a:pt x="9" y="1297"/>
                  </a:lnTo>
                  <a:lnTo>
                    <a:pt x="47" y="1097"/>
                  </a:lnTo>
                  <a:lnTo>
                    <a:pt x="48" y="1094"/>
                  </a:lnTo>
                  <a:lnTo>
                    <a:pt x="129" y="890"/>
                  </a:lnTo>
                  <a:lnTo>
                    <a:pt x="249" y="687"/>
                  </a:lnTo>
                  <a:lnTo>
                    <a:pt x="321" y="596"/>
                  </a:lnTo>
                  <a:lnTo>
                    <a:pt x="424" y="483"/>
                  </a:lnTo>
                  <a:lnTo>
                    <a:pt x="594" y="340"/>
                  </a:lnTo>
                  <a:lnTo>
                    <a:pt x="684" y="280"/>
                  </a:lnTo>
                  <a:lnTo>
                    <a:pt x="867" y="179"/>
                  </a:lnTo>
                  <a:lnTo>
                    <a:pt x="1133" y="76"/>
                  </a:lnTo>
                  <a:lnTo>
                    <a:pt x="1141" y="74"/>
                  </a:lnTo>
                  <a:lnTo>
                    <a:pt x="1414" y="19"/>
                  </a:lnTo>
                  <a:lnTo>
                    <a:pt x="1688" y="0"/>
                  </a:lnTo>
                  <a:lnTo>
                    <a:pt x="1961" y="16"/>
                  </a:lnTo>
                  <a:lnTo>
                    <a:pt x="2233" y="61"/>
                  </a:lnTo>
                  <a:lnTo>
                    <a:pt x="2290" y="76"/>
                  </a:lnTo>
                  <a:lnTo>
                    <a:pt x="2507" y="143"/>
                  </a:lnTo>
                  <a:lnTo>
                    <a:pt x="2780" y="255"/>
                  </a:lnTo>
                  <a:lnTo>
                    <a:pt x="2827" y="280"/>
                  </a:lnTo>
                  <a:lnTo>
                    <a:pt x="3053" y="414"/>
                  </a:lnTo>
                  <a:lnTo>
                    <a:pt x="3150" y="483"/>
                  </a:lnTo>
                  <a:lnTo>
                    <a:pt x="3327" y="633"/>
                  </a:lnTo>
                  <a:lnTo>
                    <a:pt x="3380" y="687"/>
                  </a:lnTo>
                  <a:lnTo>
                    <a:pt x="3533" y="890"/>
                  </a:lnTo>
                  <a:lnTo>
                    <a:pt x="3600" y="1034"/>
                  </a:lnTo>
                  <a:lnTo>
                    <a:pt x="3623" y="1094"/>
                  </a:lnTo>
                  <a:lnTo>
                    <a:pt x="3649" y="1297"/>
                  </a:lnTo>
                  <a:lnTo>
                    <a:pt x="3631" y="1501"/>
                  </a:lnTo>
                  <a:lnTo>
                    <a:pt x="3600" y="1632"/>
                  </a:lnTo>
                  <a:lnTo>
                    <a:pt x="3578" y="1704"/>
                  </a:lnTo>
                  <a:lnTo>
                    <a:pt x="3487" y="1908"/>
                  </a:lnTo>
                  <a:lnTo>
                    <a:pt x="3384" y="2112"/>
                  </a:lnTo>
                  <a:lnTo>
                    <a:pt x="3327" y="2220"/>
                  </a:lnTo>
                  <a:lnTo>
                    <a:pt x="3268" y="2315"/>
                  </a:lnTo>
                  <a:lnTo>
                    <a:pt x="3132" y="2519"/>
                  </a:lnTo>
                  <a:lnTo>
                    <a:pt x="3053" y="2628"/>
                  </a:lnTo>
                  <a:lnTo>
                    <a:pt x="2970" y="2722"/>
                  </a:lnTo>
                  <a:lnTo>
                    <a:pt x="2780" y="2923"/>
                  </a:lnTo>
                  <a:lnTo>
                    <a:pt x="2777" y="2925"/>
                  </a:lnTo>
                  <a:lnTo>
                    <a:pt x="2525" y="3128"/>
                  </a:lnTo>
                  <a:lnTo>
                    <a:pt x="2507" y="3144"/>
                  </a:lnTo>
                  <a:lnTo>
                    <a:pt x="2233" y="3320"/>
                  </a:lnTo>
                  <a:lnTo>
                    <a:pt x="2204" y="3332"/>
                  </a:lnTo>
                  <a:lnTo>
                    <a:pt x="1961" y="3450"/>
                  </a:lnTo>
                  <a:lnTo>
                    <a:pt x="1688" y="3522"/>
                  </a:lnTo>
                  <a:lnTo>
                    <a:pt x="1414" y="3529"/>
                  </a:lnTo>
                  <a:lnTo>
                    <a:pt x="1141" y="3456"/>
                  </a:lnTo>
                </a:path>
              </a:pathLst>
            </a:custGeom>
            <a:noFill/>
            <a:ln w="12700" cmpd="sng">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731" name="Freeform 179">
              <a:extLst>
                <a:ext uri="{FF2B5EF4-FFF2-40B4-BE49-F238E27FC236}">
                  <a16:creationId xmlns:a16="http://schemas.microsoft.com/office/drawing/2014/main" id="{4259ED4A-1C49-42F8-ADFF-7ABA43FA6436}"/>
                </a:ext>
              </a:extLst>
            </p:cNvPr>
            <p:cNvSpPr>
              <a:spLocks noChangeAspect="1"/>
            </p:cNvSpPr>
            <p:nvPr/>
          </p:nvSpPr>
          <p:spPr bwMode="auto">
            <a:xfrm>
              <a:off x="2973389" y="2258379"/>
              <a:ext cx="439737" cy="560387"/>
            </a:xfrm>
            <a:custGeom>
              <a:avLst/>
              <a:gdLst>
                <a:gd name="T0" fmla="*/ 846 w 2601"/>
                <a:gd name="T1" fmla="*/ 2432 h 2491"/>
                <a:gd name="T2" fmla="*/ 818 w 2601"/>
                <a:gd name="T3" fmla="*/ 2416 h 2491"/>
                <a:gd name="T4" fmla="*/ 573 w 2601"/>
                <a:gd name="T5" fmla="*/ 2243 h 2491"/>
                <a:gd name="T6" fmla="*/ 544 w 2601"/>
                <a:gd name="T7" fmla="*/ 2213 h 2491"/>
                <a:gd name="T8" fmla="*/ 383 w 2601"/>
                <a:gd name="T9" fmla="*/ 2009 h 2491"/>
                <a:gd name="T10" fmla="*/ 299 w 2601"/>
                <a:gd name="T11" fmla="*/ 1886 h 2491"/>
                <a:gd name="T12" fmla="*/ 253 w 2601"/>
                <a:gd name="T13" fmla="*/ 1806 h 2491"/>
                <a:gd name="T14" fmla="*/ 151 w 2601"/>
                <a:gd name="T15" fmla="*/ 1602 h 2491"/>
                <a:gd name="T16" fmla="*/ 68 w 2601"/>
                <a:gd name="T17" fmla="*/ 1398 h 2491"/>
                <a:gd name="T18" fmla="*/ 26 w 2601"/>
                <a:gd name="T19" fmla="*/ 1237 h 2491"/>
                <a:gd name="T20" fmla="*/ 18 w 2601"/>
                <a:gd name="T21" fmla="*/ 1195 h 2491"/>
                <a:gd name="T22" fmla="*/ 0 w 2601"/>
                <a:gd name="T23" fmla="*/ 991 h 2491"/>
                <a:gd name="T24" fmla="*/ 17 w 2601"/>
                <a:gd name="T25" fmla="*/ 788 h 2491"/>
                <a:gd name="T26" fmla="*/ 26 w 2601"/>
                <a:gd name="T27" fmla="*/ 759 h 2491"/>
                <a:gd name="T28" fmla="*/ 89 w 2601"/>
                <a:gd name="T29" fmla="*/ 584 h 2491"/>
                <a:gd name="T30" fmla="*/ 232 w 2601"/>
                <a:gd name="T31" fmla="*/ 381 h 2491"/>
                <a:gd name="T32" fmla="*/ 299 w 2601"/>
                <a:gd name="T33" fmla="*/ 319 h 2491"/>
                <a:gd name="T34" fmla="*/ 497 w 2601"/>
                <a:gd name="T35" fmla="*/ 177 h 2491"/>
                <a:gd name="T36" fmla="*/ 573 w 2601"/>
                <a:gd name="T37" fmla="*/ 139 h 2491"/>
                <a:gd name="T38" fmla="*/ 846 w 2601"/>
                <a:gd name="T39" fmla="*/ 45 h 2491"/>
                <a:gd name="T40" fmla="*/ 1120 w 2601"/>
                <a:gd name="T41" fmla="*/ 0 h 2491"/>
                <a:gd name="T42" fmla="*/ 1393 w 2601"/>
                <a:gd name="T43" fmla="*/ 3 h 2491"/>
                <a:gd name="T44" fmla="*/ 1665 w 2601"/>
                <a:gd name="T45" fmla="*/ 50 h 2491"/>
                <a:gd name="T46" fmla="*/ 1939 w 2601"/>
                <a:gd name="T47" fmla="*/ 136 h 2491"/>
                <a:gd name="T48" fmla="*/ 2031 w 2601"/>
                <a:gd name="T49" fmla="*/ 177 h 2491"/>
                <a:gd name="T50" fmla="*/ 2212 w 2601"/>
                <a:gd name="T51" fmla="*/ 286 h 2491"/>
                <a:gd name="T52" fmla="*/ 2343 w 2601"/>
                <a:gd name="T53" fmla="*/ 381 h 2491"/>
                <a:gd name="T54" fmla="*/ 2485 w 2601"/>
                <a:gd name="T55" fmla="*/ 538 h 2491"/>
                <a:gd name="T56" fmla="*/ 2520 w 2601"/>
                <a:gd name="T57" fmla="*/ 584 h 2491"/>
                <a:gd name="T58" fmla="*/ 2592 w 2601"/>
                <a:gd name="T59" fmla="*/ 788 h 2491"/>
                <a:gd name="T60" fmla="*/ 2601 w 2601"/>
                <a:gd name="T61" fmla="*/ 991 h 2491"/>
                <a:gd name="T62" fmla="*/ 2556 w 2601"/>
                <a:gd name="T63" fmla="*/ 1195 h 2491"/>
                <a:gd name="T64" fmla="*/ 2485 w 2601"/>
                <a:gd name="T65" fmla="*/ 1380 h 2491"/>
                <a:gd name="T66" fmla="*/ 2476 w 2601"/>
                <a:gd name="T67" fmla="*/ 1398 h 2491"/>
                <a:gd name="T68" fmla="*/ 2368 w 2601"/>
                <a:gd name="T69" fmla="*/ 1602 h 2491"/>
                <a:gd name="T70" fmla="*/ 2255 w 2601"/>
                <a:gd name="T71" fmla="*/ 1806 h 2491"/>
                <a:gd name="T72" fmla="*/ 2212 w 2601"/>
                <a:gd name="T73" fmla="*/ 1872 h 2491"/>
                <a:gd name="T74" fmla="*/ 2104 w 2601"/>
                <a:gd name="T75" fmla="*/ 2009 h 2491"/>
                <a:gd name="T76" fmla="*/ 1939 w 2601"/>
                <a:gd name="T77" fmla="*/ 2183 h 2491"/>
                <a:gd name="T78" fmla="*/ 1900 w 2601"/>
                <a:gd name="T79" fmla="*/ 2213 h 2491"/>
                <a:gd name="T80" fmla="*/ 1665 w 2601"/>
                <a:gd name="T81" fmla="*/ 2365 h 2491"/>
                <a:gd name="T82" fmla="*/ 1534 w 2601"/>
                <a:gd name="T83" fmla="*/ 2416 h 2491"/>
                <a:gd name="T84" fmla="*/ 1393 w 2601"/>
                <a:gd name="T85" fmla="*/ 2465 h 2491"/>
                <a:gd name="T86" fmla="*/ 1120 w 2601"/>
                <a:gd name="T87" fmla="*/ 2491 h 2491"/>
                <a:gd name="T88" fmla="*/ 846 w 2601"/>
                <a:gd name="T89" fmla="*/ 2432 h 2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1" h="2491">
                  <a:moveTo>
                    <a:pt x="846" y="2432"/>
                  </a:moveTo>
                  <a:lnTo>
                    <a:pt x="818" y="2416"/>
                  </a:lnTo>
                  <a:lnTo>
                    <a:pt x="573" y="2243"/>
                  </a:lnTo>
                  <a:lnTo>
                    <a:pt x="544" y="2213"/>
                  </a:lnTo>
                  <a:lnTo>
                    <a:pt x="383" y="2009"/>
                  </a:lnTo>
                  <a:lnTo>
                    <a:pt x="299" y="1886"/>
                  </a:lnTo>
                  <a:lnTo>
                    <a:pt x="253" y="1806"/>
                  </a:lnTo>
                  <a:lnTo>
                    <a:pt x="151" y="1602"/>
                  </a:lnTo>
                  <a:lnTo>
                    <a:pt x="68" y="1398"/>
                  </a:lnTo>
                  <a:lnTo>
                    <a:pt x="26" y="1237"/>
                  </a:lnTo>
                  <a:lnTo>
                    <a:pt x="18" y="1195"/>
                  </a:lnTo>
                  <a:lnTo>
                    <a:pt x="0" y="991"/>
                  </a:lnTo>
                  <a:lnTo>
                    <a:pt x="17" y="788"/>
                  </a:lnTo>
                  <a:lnTo>
                    <a:pt x="26" y="759"/>
                  </a:lnTo>
                  <a:lnTo>
                    <a:pt x="89" y="584"/>
                  </a:lnTo>
                  <a:lnTo>
                    <a:pt x="232" y="381"/>
                  </a:lnTo>
                  <a:lnTo>
                    <a:pt x="299" y="319"/>
                  </a:lnTo>
                  <a:lnTo>
                    <a:pt x="497" y="177"/>
                  </a:lnTo>
                  <a:lnTo>
                    <a:pt x="573" y="139"/>
                  </a:lnTo>
                  <a:lnTo>
                    <a:pt x="846" y="45"/>
                  </a:lnTo>
                  <a:lnTo>
                    <a:pt x="1120" y="0"/>
                  </a:lnTo>
                  <a:lnTo>
                    <a:pt x="1393" y="3"/>
                  </a:lnTo>
                  <a:lnTo>
                    <a:pt x="1665" y="50"/>
                  </a:lnTo>
                  <a:lnTo>
                    <a:pt x="1939" y="136"/>
                  </a:lnTo>
                  <a:lnTo>
                    <a:pt x="2031" y="177"/>
                  </a:lnTo>
                  <a:lnTo>
                    <a:pt x="2212" y="286"/>
                  </a:lnTo>
                  <a:lnTo>
                    <a:pt x="2343" y="381"/>
                  </a:lnTo>
                  <a:lnTo>
                    <a:pt x="2485" y="538"/>
                  </a:lnTo>
                  <a:lnTo>
                    <a:pt x="2520" y="584"/>
                  </a:lnTo>
                  <a:lnTo>
                    <a:pt x="2592" y="788"/>
                  </a:lnTo>
                  <a:lnTo>
                    <a:pt x="2601" y="991"/>
                  </a:lnTo>
                  <a:lnTo>
                    <a:pt x="2556" y="1195"/>
                  </a:lnTo>
                  <a:lnTo>
                    <a:pt x="2485" y="1380"/>
                  </a:lnTo>
                  <a:lnTo>
                    <a:pt x="2476" y="1398"/>
                  </a:lnTo>
                  <a:lnTo>
                    <a:pt x="2368" y="1602"/>
                  </a:lnTo>
                  <a:lnTo>
                    <a:pt x="2255" y="1806"/>
                  </a:lnTo>
                  <a:lnTo>
                    <a:pt x="2212" y="1872"/>
                  </a:lnTo>
                  <a:lnTo>
                    <a:pt x="2104" y="2009"/>
                  </a:lnTo>
                  <a:lnTo>
                    <a:pt x="1939" y="2183"/>
                  </a:lnTo>
                  <a:lnTo>
                    <a:pt x="1900" y="2213"/>
                  </a:lnTo>
                  <a:lnTo>
                    <a:pt x="1665" y="2365"/>
                  </a:lnTo>
                  <a:lnTo>
                    <a:pt x="1534" y="2416"/>
                  </a:lnTo>
                  <a:lnTo>
                    <a:pt x="1393" y="2465"/>
                  </a:lnTo>
                  <a:lnTo>
                    <a:pt x="1120" y="2491"/>
                  </a:lnTo>
                  <a:lnTo>
                    <a:pt x="846" y="2432"/>
                  </a:lnTo>
                </a:path>
              </a:pathLst>
            </a:custGeom>
            <a:noFill/>
            <a:ln w="12700" cmpd="sng">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7732" name="Line 180">
              <a:extLst>
                <a:ext uri="{FF2B5EF4-FFF2-40B4-BE49-F238E27FC236}">
                  <a16:creationId xmlns:a16="http://schemas.microsoft.com/office/drawing/2014/main" id="{2636EC95-24C1-4E80-B982-455D4C3A0428}"/>
                </a:ext>
              </a:extLst>
            </p:cNvPr>
            <p:cNvSpPr>
              <a:spLocks noChangeAspect="1" noChangeShapeType="1"/>
            </p:cNvSpPr>
            <p:nvPr/>
          </p:nvSpPr>
          <p:spPr bwMode="auto">
            <a:xfrm flipH="1" flipV="1">
              <a:off x="2971800" y="3533140"/>
              <a:ext cx="6350"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33" name="Line 181">
              <a:extLst>
                <a:ext uri="{FF2B5EF4-FFF2-40B4-BE49-F238E27FC236}">
                  <a16:creationId xmlns:a16="http://schemas.microsoft.com/office/drawing/2014/main" id="{0B287A6A-4B6D-4D80-AA85-DAFF75877154}"/>
                </a:ext>
              </a:extLst>
            </p:cNvPr>
            <p:cNvSpPr>
              <a:spLocks noChangeAspect="1" noChangeShapeType="1"/>
            </p:cNvSpPr>
            <p:nvPr/>
          </p:nvSpPr>
          <p:spPr bwMode="auto">
            <a:xfrm flipH="1" flipV="1">
              <a:off x="2932114" y="3526790"/>
              <a:ext cx="39687"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34" name="Line 182">
              <a:extLst>
                <a:ext uri="{FF2B5EF4-FFF2-40B4-BE49-F238E27FC236}">
                  <a16:creationId xmlns:a16="http://schemas.microsoft.com/office/drawing/2014/main" id="{BD5410DD-241A-4AD1-8E28-35F006D35EA9}"/>
                </a:ext>
              </a:extLst>
            </p:cNvPr>
            <p:cNvSpPr>
              <a:spLocks noChangeAspect="1" noChangeShapeType="1"/>
            </p:cNvSpPr>
            <p:nvPr/>
          </p:nvSpPr>
          <p:spPr bwMode="auto">
            <a:xfrm flipH="1" flipV="1">
              <a:off x="2928939" y="3525204"/>
              <a:ext cx="3175"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35" name="Line 183">
              <a:extLst>
                <a:ext uri="{FF2B5EF4-FFF2-40B4-BE49-F238E27FC236}">
                  <a16:creationId xmlns:a16="http://schemas.microsoft.com/office/drawing/2014/main" id="{ADBF05EB-D575-4485-866E-58ADF90BD262}"/>
                </a:ext>
              </a:extLst>
            </p:cNvPr>
            <p:cNvSpPr>
              <a:spLocks noChangeAspect="1" noChangeShapeType="1"/>
            </p:cNvSpPr>
            <p:nvPr/>
          </p:nvSpPr>
          <p:spPr bwMode="auto">
            <a:xfrm flipH="1" flipV="1">
              <a:off x="2886075" y="3514091"/>
              <a:ext cx="31750"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36" name="Line 184">
              <a:extLst>
                <a:ext uri="{FF2B5EF4-FFF2-40B4-BE49-F238E27FC236}">
                  <a16:creationId xmlns:a16="http://schemas.microsoft.com/office/drawing/2014/main" id="{21D96AAF-091C-40C7-8E6C-7EDB4DAAA3B6}"/>
                </a:ext>
              </a:extLst>
            </p:cNvPr>
            <p:cNvSpPr>
              <a:spLocks noChangeAspect="1" noChangeShapeType="1"/>
            </p:cNvSpPr>
            <p:nvPr/>
          </p:nvSpPr>
          <p:spPr bwMode="auto">
            <a:xfrm flipH="1" flipV="1">
              <a:off x="2870201" y="3506154"/>
              <a:ext cx="15875"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37" name="Line 185">
              <a:extLst>
                <a:ext uri="{FF2B5EF4-FFF2-40B4-BE49-F238E27FC236}">
                  <a16:creationId xmlns:a16="http://schemas.microsoft.com/office/drawing/2014/main" id="{584A9654-D0F2-4B02-9EEC-1C5FCE988394}"/>
                </a:ext>
              </a:extLst>
            </p:cNvPr>
            <p:cNvSpPr>
              <a:spLocks noChangeAspect="1" noChangeShapeType="1"/>
            </p:cNvSpPr>
            <p:nvPr/>
          </p:nvSpPr>
          <p:spPr bwMode="auto">
            <a:xfrm flipH="1" flipV="1">
              <a:off x="2840038" y="3491865"/>
              <a:ext cx="17462"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38" name="Line 186">
              <a:extLst>
                <a:ext uri="{FF2B5EF4-FFF2-40B4-BE49-F238E27FC236}">
                  <a16:creationId xmlns:a16="http://schemas.microsoft.com/office/drawing/2014/main" id="{65D45063-1B55-438D-B339-B142858D8616}"/>
                </a:ext>
              </a:extLst>
            </p:cNvPr>
            <p:cNvSpPr>
              <a:spLocks noChangeAspect="1" noChangeShapeType="1"/>
            </p:cNvSpPr>
            <p:nvPr/>
          </p:nvSpPr>
          <p:spPr bwMode="auto">
            <a:xfrm flipH="1" flipV="1">
              <a:off x="2833688" y="3487103"/>
              <a:ext cx="6350"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39" name="Line 187">
              <a:extLst>
                <a:ext uri="{FF2B5EF4-FFF2-40B4-BE49-F238E27FC236}">
                  <a16:creationId xmlns:a16="http://schemas.microsoft.com/office/drawing/2014/main" id="{A2420E74-F9C3-4C6D-8786-A4C9A469AA0D}"/>
                </a:ext>
              </a:extLst>
            </p:cNvPr>
            <p:cNvSpPr>
              <a:spLocks noChangeAspect="1" noChangeShapeType="1"/>
            </p:cNvSpPr>
            <p:nvPr/>
          </p:nvSpPr>
          <p:spPr bwMode="auto">
            <a:xfrm flipH="1" flipV="1">
              <a:off x="2813050" y="3475991"/>
              <a:ext cx="20638"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40" name="Line 188">
              <a:extLst>
                <a:ext uri="{FF2B5EF4-FFF2-40B4-BE49-F238E27FC236}">
                  <a16:creationId xmlns:a16="http://schemas.microsoft.com/office/drawing/2014/main" id="{0B0A8CDD-55D2-410F-93CE-66A44F136C82}"/>
                </a:ext>
              </a:extLst>
            </p:cNvPr>
            <p:cNvSpPr>
              <a:spLocks noChangeAspect="1" noChangeShapeType="1"/>
            </p:cNvSpPr>
            <p:nvPr/>
          </p:nvSpPr>
          <p:spPr bwMode="auto">
            <a:xfrm flipH="1" flipV="1">
              <a:off x="2792414" y="3463291"/>
              <a:ext cx="9525"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41" name="Line 189">
              <a:extLst>
                <a:ext uri="{FF2B5EF4-FFF2-40B4-BE49-F238E27FC236}">
                  <a16:creationId xmlns:a16="http://schemas.microsoft.com/office/drawing/2014/main" id="{E165A6E3-0D65-4CD0-8A4D-FEE979EAF4C8}"/>
                </a:ext>
              </a:extLst>
            </p:cNvPr>
            <p:cNvSpPr>
              <a:spLocks noChangeAspect="1" noChangeShapeType="1"/>
            </p:cNvSpPr>
            <p:nvPr/>
          </p:nvSpPr>
          <p:spPr bwMode="auto">
            <a:xfrm flipH="1" flipV="1">
              <a:off x="2767013" y="3442654"/>
              <a:ext cx="25400"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42" name="Line 190">
              <a:extLst>
                <a:ext uri="{FF2B5EF4-FFF2-40B4-BE49-F238E27FC236}">
                  <a16:creationId xmlns:a16="http://schemas.microsoft.com/office/drawing/2014/main" id="{A359BD98-61B2-4D73-B14C-C8FD064D001D}"/>
                </a:ext>
              </a:extLst>
            </p:cNvPr>
            <p:cNvSpPr>
              <a:spLocks noChangeAspect="1" noChangeShapeType="1"/>
            </p:cNvSpPr>
            <p:nvPr/>
          </p:nvSpPr>
          <p:spPr bwMode="auto">
            <a:xfrm flipH="1" flipV="1">
              <a:off x="2759075" y="3436303"/>
              <a:ext cx="7938"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43" name="Line 191">
              <a:extLst>
                <a:ext uri="{FF2B5EF4-FFF2-40B4-BE49-F238E27FC236}">
                  <a16:creationId xmlns:a16="http://schemas.microsoft.com/office/drawing/2014/main" id="{A93A6494-554F-4306-813F-F05C0EED0C9E}"/>
                </a:ext>
              </a:extLst>
            </p:cNvPr>
            <p:cNvSpPr>
              <a:spLocks noChangeAspect="1" noChangeShapeType="1"/>
            </p:cNvSpPr>
            <p:nvPr/>
          </p:nvSpPr>
          <p:spPr bwMode="auto">
            <a:xfrm flipH="1" flipV="1">
              <a:off x="2747964" y="3425190"/>
              <a:ext cx="1587"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44" name="Line 192">
              <a:extLst>
                <a:ext uri="{FF2B5EF4-FFF2-40B4-BE49-F238E27FC236}">
                  <a16:creationId xmlns:a16="http://schemas.microsoft.com/office/drawing/2014/main" id="{6AF7CBFB-F290-4314-931E-D5AD7F232D36}"/>
                </a:ext>
              </a:extLst>
            </p:cNvPr>
            <p:cNvSpPr>
              <a:spLocks noChangeAspect="1" noChangeShapeType="1"/>
            </p:cNvSpPr>
            <p:nvPr/>
          </p:nvSpPr>
          <p:spPr bwMode="auto">
            <a:xfrm flipH="1" flipV="1">
              <a:off x="2719389" y="3396616"/>
              <a:ext cx="28575"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45" name="Line 193">
              <a:extLst>
                <a:ext uri="{FF2B5EF4-FFF2-40B4-BE49-F238E27FC236}">
                  <a16:creationId xmlns:a16="http://schemas.microsoft.com/office/drawing/2014/main" id="{DAFB013D-1985-47E1-8545-BA73E498C8E6}"/>
                </a:ext>
              </a:extLst>
            </p:cNvPr>
            <p:cNvSpPr>
              <a:spLocks noChangeAspect="1" noChangeShapeType="1"/>
            </p:cNvSpPr>
            <p:nvPr/>
          </p:nvSpPr>
          <p:spPr bwMode="auto">
            <a:xfrm flipH="1" flipV="1">
              <a:off x="2711450" y="3388679"/>
              <a:ext cx="7938"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46" name="Line 194">
              <a:extLst>
                <a:ext uri="{FF2B5EF4-FFF2-40B4-BE49-F238E27FC236}">
                  <a16:creationId xmlns:a16="http://schemas.microsoft.com/office/drawing/2014/main" id="{5228D85E-1426-414D-8DFE-614405B5C5CD}"/>
                </a:ext>
              </a:extLst>
            </p:cNvPr>
            <p:cNvSpPr>
              <a:spLocks noChangeAspect="1" noChangeShapeType="1"/>
            </p:cNvSpPr>
            <p:nvPr/>
          </p:nvSpPr>
          <p:spPr bwMode="auto">
            <a:xfrm flipH="1" flipV="1">
              <a:off x="2701925" y="3377565"/>
              <a:ext cx="0"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47" name="Line 195">
              <a:extLst>
                <a:ext uri="{FF2B5EF4-FFF2-40B4-BE49-F238E27FC236}">
                  <a16:creationId xmlns:a16="http://schemas.microsoft.com/office/drawing/2014/main" id="{853AF3ED-4D00-403C-AF1D-4A9009DF8A38}"/>
                </a:ext>
              </a:extLst>
            </p:cNvPr>
            <p:cNvSpPr>
              <a:spLocks noChangeAspect="1" noChangeShapeType="1"/>
            </p:cNvSpPr>
            <p:nvPr/>
          </p:nvSpPr>
          <p:spPr bwMode="auto">
            <a:xfrm flipH="1" flipV="1">
              <a:off x="2679701" y="3350579"/>
              <a:ext cx="22225" cy="269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48" name="Line 196">
              <a:extLst>
                <a:ext uri="{FF2B5EF4-FFF2-40B4-BE49-F238E27FC236}">
                  <a16:creationId xmlns:a16="http://schemas.microsoft.com/office/drawing/2014/main" id="{3B3FD48B-88B9-4014-A66E-D563560F785D}"/>
                </a:ext>
              </a:extLst>
            </p:cNvPr>
            <p:cNvSpPr>
              <a:spLocks noChangeAspect="1" noChangeShapeType="1"/>
            </p:cNvSpPr>
            <p:nvPr/>
          </p:nvSpPr>
          <p:spPr bwMode="auto">
            <a:xfrm flipH="1" flipV="1">
              <a:off x="2667000" y="3334704"/>
              <a:ext cx="12700"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49" name="Line 197">
              <a:extLst>
                <a:ext uri="{FF2B5EF4-FFF2-40B4-BE49-F238E27FC236}">
                  <a16:creationId xmlns:a16="http://schemas.microsoft.com/office/drawing/2014/main" id="{CFD9A116-8437-4658-8877-75832B6E76CC}"/>
                </a:ext>
              </a:extLst>
            </p:cNvPr>
            <p:cNvSpPr>
              <a:spLocks noChangeAspect="1" noChangeShapeType="1"/>
            </p:cNvSpPr>
            <p:nvPr/>
          </p:nvSpPr>
          <p:spPr bwMode="auto">
            <a:xfrm flipH="1" flipV="1">
              <a:off x="2655889" y="3315654"/>
              <a:ext cx="3175"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50" name="Line 198">
              <a:extLst>
                <a:ext uri="{FF2B5EF4-FFF2-40B4-BE49-F238E27FC236}">
                  <a16:creationId xmlns:a16="http://schemas.microsoft.com/office/drawing/2014/main" id="{A5A9B426-3DA1-4AA8-9114-7F15DDF5505E}"/>
                </a:ext>
              </a:extLst>
            </p:cNvPr>
            <p:cNvSpPr>
              <a:spLocks noChangeAspect="1" noChangeShapeType="1"/>
            </p:cNvSpPr>
            <p:nvPr/>
          </p:nvSpPr>
          <p:spPr bwMode="auto">
            <a:xfrm flipH="1" flipV="1">
              <a:off x="2647950" y="3306129"/>
              <a:ext cx="7938"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51" name="Line 199">
              <a:extLst>
                <a:ext uri="{FF2B5EF4-FFF2-40B4-BE49-F238E27FC236}">
                  <a16:creationId xmlns:a16="http://schemas.microsoft.com/office/drawing/2014/main" id="{F99DFFC4-312C-4A17-ABDC-5A5DB9044247}"/>
                </a:ext>
              </a:extLst>
            </p:cNvPr>
            <p:cNvSpPr>
              <a:spLocks noChangeAspect="1" noChangeShapeType="1"/>
            </p:cNvSpPr>
            <p:nvPr/>
          </p:nvSpPr>
          <p:spPr bwMode="auto">
            <a:xfrm flipH="1" flipV="1">
              <a:off x="2630488" y="3275966"/>
              <a:ext cx="17462" cy="301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52" name="Line 200">
              <a:extLst>
                <a:ext uri="{FF2B5EF4-FFF2-40B4-BE49-F238E27FC236}">
                  <a16:creationId xmlns:a16="http://schemas.microsoft.com/office/drawing/2014/main" id="{0440D27B-BD13-4388-B5A6-61D9EE176A78}"/>
                </a:ext>
              </a:extLst>
            </p:cNvPr>
            <p:cNvSpPr>
              <a:spLocks noChangeAspect="1" noChangeShapeType="1"/>
            </p:cNvSpPr>
            <p:nvPr/>
          </p:nvSpPr>
          <p:spPr bwMode="auto">
            <a:xfrm flipH="1" flipV="1">
              <a:off x="2619376" y="3260091"/>
              <a:ext cx="31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53" name="Line 201">
              <a:extLst>
                <a:ext uri="{FF2B5EF4-FFF2-40B4-BE49-F238E27FC236}">
                  <a16:creationId xmlns:a16="http://schemas.microsoft.com/office/drawing/2014/main" id="{C1D4D78A-D367-4F4A-B8F2-BE06E013F060}"/>
                </a:ext>
              </a:extLst>
            </p:cNvPr>
            <p:cNvSpPr>
              <a:spLocks noChangeAspect="1" noChangeShapeType="1"/>
            </p:cNvSpPr>
            <p:nvPr/>
          </p:nvSpPr>
          <p:spPr bwMode="auto">
            <a:xfrm flipH="1" flipV="1">
              <a:off x="2609851" y="3241040"/>
              <a:ext cx="9525"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54" name="Line 202">
              <a:extLst>
                <a:ext uri="{FF2B5EF4-FFF2-40B4-BE49-F238E27FC236}">
                  <a16:creationId xmlns:a16="http://schemas.microsoft.com/office/drawing/2014/main" id="{2C75D13B-2D28-4B2E-A44E-531376F47FA4}"/>
                </a:ext>
              </a:extLst>
            </p:cNvPr>
            <p:cNvSpPr>
              <a:spLocks noChangeAspect="1" noChangeShapeType="1"/>
            </p:cNvSpPr>
            <p:nvPr/>
          </p:nvSpPr>
          <p:spPr bwMode="auto">
            <a:xfrm flipH="1" flipV="1">
              <a:off x="2595564" y="3214054"/>
              <a:ext cx="14287" cy="269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55" name="Line 203">
              <a:extLst>
                <a:ext uri="{FF2B5EF4-FFF2-40B4-BE49-F238E27FC236}">
                  <a16:creationId xmlns:a16="http://schemas.microsoft.com/office/drawing/2014/main" id="{B2DC4B4E-8A85-4050-9D29-35ED22ADDE53}"/>
                </a:ext>
              </a:extLst>
            </p:cNvPr>
            <p:cNvSpPr>
              <a:spLocks noChangeAspect="1" noChangeShapeType="1"/>
            </p:cNvSpPr>
            <p:nvPr/>
          </p:nvSpPr>
          <p:spPr bwMode="auto">
            <a:xfrm flipH="1" flipV="1">
              <a:off x="2573339" y="3168015"/>
              <a:ext cx="15875"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56" name="Line 204">
              <a:extLst>
                <a:ext uri="{FF2B5EF4-FFF2-40B4-BE49-F238E27FC236}">
                  <a16:creationId xmlns:a16="http://schemas.microsoft.com/office/drawing/2014/main" id="{94C7D380-B056-4D4E-A33C-69549029D3AA}"/>
                </a:ext>
              </a:extLst>
            </p:cNvPr>
            <p:cNvSpPr>
              <a:spLocks noChangeAspect="1" noChangeShapeType="1"/>
            </p:cNvSpPr>
            <p:nvPr/>
          </p:nvSpPr>
          <p:spPr bwMode="auto">
            <a:xfrm flipH="1" flipV="1">
              <a:off x="2565400" y="3147379"/>
              <a:ext cx="7938"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57" name="Line 205">
              <a:extLst>
                <a:ext uri="{FF2B5EF4-FFF2-40B4-BE49-F238E27FC236}">
                  <a16:creationId xmlns:a16="http://schemas.microsoft.com/office/drawing/2014/main" id="{B8A0A18D-51C1-4A17-907A-2C9E4F61B793}"/>
                </a:ext>
              </a:extLst>
            </p:cNvPr>
            <p:cNvSpPr>
              <a:spLocks noChangeAspect="1" noChangeShapeType="1"/>
            </p:cNvSpPr>
            <p:nvPr/>
          </p:nvSpPr>
          <p:spPr bwMode="auto">
            <a:xfrm flipH="1" flipV="1">
              <a:off x="2554288" y="3121978"/>
              <a:ext cx="6350"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58" name="Line 206">
              <a:extLst>
                <a:ext uri="{FF2B5EF4-FFF2-40B4-BE49-F238E27FC236}">
                  <a16:creationId xmlns:a16="http://schemas.microsoft.com/office/drawing/2014/main" id="{A2C08514-15A0-4107-8515-A5795CAA6D9A}"/>
                </a:ext>
              </a:extLst>
            </p:cNvPr>
            <p:cNvSpPr>
              <a:spLocks noChangeAspect="1" noChangeShapeType="1"/>
            </p:cNvSpPr>
            <p:nvPr/>
          </p:nvSpPr>
          <p:spPr bwMode="auto">
            <a:xfrm flipH="1" flipV="1">
              <a:off x="2538414" y="3080704"/>
              <a:ext cx="15875" cy="412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59" name="Line 207">
              <a:extLst>
                <a:ext uri="{FF2B5EF4-FFF2-40B4-BE49-F238E27FC236}">
                  <a16:creationId xmlns:a16="http://schemas.microsoft.com/office/drawing/2014/main" id="{F7BA0355-407A-4B35-9FB2-AF64D53EAA55}"/>
                </a:ext>
              </a:extLst>
            </p:cNvPr>
            <p:cNvSpPr>
              <a:spLocks noChangeAspect="1" noChangeShapeType="1"/>
            </p:cNvSpPr>
            <p:nvPr/>
          </p:nvSpPr>
          <p:spPr bwMode="auto">
            <a:xfrm flipH="1" flipV="1">
              <a:off x="2524126" y="3029904"/>
              <a:ext cx="11113"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60" name="Line 208">
              <a:extLst>
                <a:ext uri="{FF2B5EF4-FFF2-40B4-BE49-F238E27FC236}">
                  <a16:creationId xmlns:a16="http://schemas.microsoft.com/office/drawing/2014/main" id="{5CDCE6D5-76E9-41FB-8DC5-2ABE28D7E41E}"/>
                </a:ext>
              </a:extLst>
            </p:cNvPr>
            <p:cNvSpPr>
              <a:spLocks noChangeAspect="1" noChangeShapeType="1"/>
            </p:cNvSpPr>
            <p:nvPr/>
          </p:nvSpPr>
          <p:spPr bwMode="auto">
            <a:xfrm flipH="1" flipV="1">
              <a:off x="2517775" y="3009265"/>
              <a:ext cx="6350"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61" name="Line 209">
              <a:extLst>
                <a:ext uri="{FF2B5EF4-FFF2-40B4-BE49-F238E27FC236}">
                  <a16:creationId xmlns:a16="http://schemas.microsoft.com/office/drawing/2014/main" id="{AD9CF9FC-C092-4074-A881-CABDE761793F}"/>
                </a:ext>
              </a:extLst>
            </p:cNvPr>
            <p:cNvSpPr>
              <a:spLocks noChangeAspect="1" noChangeShapeType="1"/>
            </p:cNvSpPr>
            <p:nvPr/>
          </p:nvSpPr>
          <p:spPr bwMode="auto">
            <a:xfrm flipH="1" flipV="1">
              <a:off x="2509839" y="2983866"/>
              <a:ext cx="3175"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62" name="Line 210">
              <a:extLst>
                <a:ext uri="{FF2B5EF4-FFF2-40B4-BE49-F238E27FC236}">
                  <a16:creationId xmlns:a16="http://schemas.microsoft.com/office/drawing/2014/main" id="{38A4BF16-1FD8-40AE-AE29-C76D82670993}"/>
                </a:ext>
              </a:extLst>
            </p:cNvPr>
            <p:cNvSpPr>
              <a:spLocks noChangeAspect="1" noChangeShapeType="1"/>
            </p:cNvSpPr>
            <p:nvPr/>
          </p:nvSpPr>
          <p:spPr bwMode="auto">
            <a:xfrm flipH="1" flipV="1">
              <a:off x="2500314" y="2937829"/>
              <a:ext cx="9525"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63" name="Line 211">
              <a:extLst>
                <a:ext uri="{FF2B5EF4-FFF2-40B4-BE49-F238E27FC236}">
                  <a16:creationId xmlns:a16="http://schemas.microsoft.com/office/drawing/2014/main" id="{5A38E9C9-AC3F-4218-B41A-CB5ADC521DCF}"/>
                </a:ext>
              </a:extLst>
            </p:cNvPr>
            <p:cNvSpPr>
              <a:spLocks noChangeAspect="1" noChangeShapeType="1"/>
            </p:cNvSpPr>
            <p:nvPr/>
          </p:nvSpPr>
          <p:spPr bwMode="auto">
            <a:xfrm flipH="1" flipV="1">
              <a:off x="2500313" y="2937828"/>
              <a:ext cx="0"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64" name="Line 212">
              <a:extLst>
                <a:ext uri="{FF2B5EF4-FFF2-40B4-BE49-F238E27FC236}">
                  <a16:creationId xmlns:a16="http://schemas.microsoft.com/office/drawing/2014/main" id="{273B2208-1EA8-4590-BA1E-4735C1709A45}"/>
                </a:ext>
              </a:extLst>
            </p:cNvPr>
            <p:cNvSpPr>
              <a:spLocks noChangeAspect="1" noChangeShapeType="1"/>
            </p:cNvSpPr>
            <p:nvPr/>
          </p:nvSpPr>
          <p:spPr bwMode="auto">
            <a:xfrm flipH="1" flipV="1">
              <a:off x="2490788" y="2893379"/>
              <a:ext cx="6350"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65" name="Line 213">
              <a:extLst>
                <a:ext uri="{FF2B5EF4-FFF2-40B4-BE49-F238E27FC236}">
                  <a16:creationId xmlns:a16="http://schemas.microsoft.com/office/drawing/2014/main" id="{CF4947B2-2A10-48B9-BA5C-21E26787272C}"/>
                </a:ext>
              </a:extLst>
            </p:cNvPr>
            <p:cNvSpPr>
              <a:spLocks noChangeAspect="1" noChangeShapeType="1"/>
            </p:cNvSpPr>
            <p:nvPr/>
          </p:nvSpPr>
          <p:spPr bwMode="auto">
            <a:xfrm flipH="1" flipV="1">
              <a:off x="2484438" y="2864804"/>
              <a:ext cx="6350"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66" name="Line 214">
              <a:extLst>
                <a:ext uri="{FF2B5EF4-FFF2-40B4-BE49-F238E27FC236}">
                  <a16:creationId xmlns:a16="http://schemas.microsoft.com/office/drawing/2014/main" id="{31573AEF-4382-4B2A-A442-B282204C6CEB}"/>
                </a:ext>
              </a:extLst>
            </p:cNvPr>
            <p:cNvSpPr>
              <a:spLocks noChangeAspect="1" noChangeShapeType="1"/>
            </p:cNvSpPr>
            <p:nvPr/>
          </p:nvSpPr>
          <p:spPr bwMode="auto">
            <a:xfrm flipH="1" flipV="1">
              <a:off x="2481264" y="2847340"/>
              <a:ext cx="1587"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67" name="Line 215">
              <a:extLst>
                <a:ext uri="{FF2B5EF4-FFF2-40B4-BE49-F238E27FC236}">
                  <a16:creationId xmlns:a16="http://schemas.microsoft.com/office/drawing/2014/main" id="{819EF181-B38B-4F6E-9C26-1B6C0145C1F1}"/>
                </a:ext>
              </a:extLst>
            </p:cNvPr>
            <p:cNvSpPr>
              <a:spLocks noChangeAspect="1" noChangeShapeType="1"/>
            </p:cNvSpPr>
            <p:nvPr/>
          </p:nvSpPr>
          <p:spPr bwMode="auto">
            <a:xfrm flipH="1" flipV="1">
              <a:off x="2476501" y="2802890"/>
              <a:ext cx="4763"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68" name="Line 216">
              <a:extLst>
                <a:ext uri="{FF2B5EF4-FFF2-40B4-BE49-F238E27FC236}">
                  <a16:creationId xmlns:a16="http://schemas.microsoft.com/office/drawing/2014/main" id="{15228AC4-0F33-4504-85AA-CAB0055B55D1}"/>
                </a:ext>
              </a:extLst>
            </p:cNvPr>
            <p:cNvSpPr>
              <a:spLocks noChangeAspect="1" noChangeShapeType="1"/>
            </p:cNvSpPr>
            <p:nvPr/>
          </p:nvSpPr>
          <p:spPr bwMode="auto">
            <a:xfrm flipH="1" flipV="1">
              <a:off x="2474914" y="2790190"/>
              <a:ext cx="1587"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69" name="Line 217">
              <a:extLst>
                <a:ext uri="{FF2B5EF4-FFF2-40B4-BE49-F238E27FC236}">
                  <a16:creationId xmlns:a16="http://schemas.microsoft.com/office/drawing/2014/main" id="{A10363B9-B1A7-47B4-BAED-EE9545408297}"/>
                </a:ext>
              </a:extLst>
            </p:cNvPr>
            <p:cNvSpPr>
              <a:spLocks noChangeAspect="1" noChangeShapeType="1"/>
            </p:cNvSpPr>
            <p:nvPr/>
          </p:nvSpPr>
          <p:spPr bwMode="auto">
            <a:xfrm flipH="1" flipV="1">
              <a:off x="2473325" y="2756853"/>
              <a:ext cx="0"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70" name="Line 218">
              <a:extLst>
                <a:ext uri="{FF2B5EF4-FFF2-40B4-BE49-F238E27FC236}">
                  <a16:creationId xmlns:a16="http://schemas.microsoft.com/office/drawing/2014/main" id="{1813973F-4EC7-4F60-A2AC-39EB44D6EA9A}"/>
                </a:ext>
              </a:extLst>
            </p:cNvPr>
            <p:cNvSpPr>
              <a:spLocks noChangeAspect="1" noChangeShapeType="1"/>
            </p:cNvSpPr>
            <p:nvPr/>
          </p:nvSpPr>
          <p:spPr bwMode="auto">
            <a:xfrm flipH="1" flipV="1">
              <a:off x="2471739" y="2737803"/>
              <a:ext cx="1587"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71" name="Line 219">
              <a:extLst>
                <a:ext uri="{FF2B5EF4-FFF2-40B4-BE49-F238E27FC236}">
                  <a16:creationId xmlns:a16="http://schemas.microsoft.com/office/drawing/2014/main" id="{42884EA2-AF27-4720-9392-6EF18FE82220}"/>
                </a:ext>
              </a:extLst>
            </p:cNvPr>
            <p:cNvSpPr>
              <a:spLocks noChangeAspect="1" noChangeShapeType="1"/>
            </p:cNvSpPr>
            <p:nvPr/>
          </p:nvSpPr>
          <p:spPr bwMode="auto">
            <a:xfrm flipH="1" flipV="1">
              <a:off x="2470150" y="2713991"/>
              <a:ext cx="1588" cy="238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72" name="Line 220">
              <a:extLst>
                <a:ext uri="{FF2B5EF4-FFF2-40B4-BE49-F238E27FC236}">
                  <a16:creationId xmlns:a16="http://schemas.microsoft.com/office/drawing/2014/main" id="{6FF2F157-881F-47D6-ACAB-21E904899C84}"/>
                </a:ext>
              </a:extLst>
            </p:cNvPr>
            <p:cNvSpPr>
              <a:spLocks noChangeAspect="1" noChangeShapeType="1"/>
            </p:cNvSpPr>
            <p:nvPr/>
          </p:nvSpPr>
          <p:spPr bwMode="auto">
            <a:xfrm flipH="1" flipV="1">
              <a:off x="2468564" y="2664779"/>
              <a:ext cx="1587"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73" name="Line 221">
              <a:extLst>
                <a:ext uri="{FF2B5EF4-FFF2-40B4-BE49-F238E27FC236}">
                  <a16:creationId xmlns:a16="http://schemas.microsoft.com/office/drawing/2014/main" id="{3A70915E-5386-4B32-9DBD-10F8E7E9E01A}"/>
                </a:ext>
              </a:extLst>
            </p:cNvPr>
            <p:cNvSpPr>
              <a:spLocks noChangeAspect="1" noChangeShapeType="1"/>
            </p:cNvSpPr>
            <p:nvPr/>
          </p:nvSpPr>
          <p:spPr bwMode="auto">
            <a:xfrm flipV="1">
              <a:off x="2468564" y="2639378"/>
              <a:ext cx="1587"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74" name="Line 222">
              <a:extLst>
                <a:ext uri="{FF2B5EF4-FFF2-40B4-BE49-F238E27FC236}">
                  <a16:creationId xmlns:a16="http://schemas.microsoft.com/office/drawing/2014/main" id="{83D5568F-AE58-45B9-A77C-2CF3B623B5AB}"/>
                </a:ext>
              </a:extLst>
            </p:cNvPr>
            <p:cNvSpPr>
              <a:spLocks noChangeAspect="1" noChangeShapeType="1"/>
            </p:cNvSpPr>
            <p:nvPr/>
          </p:nvSpPr>
          <p:spPr bwMode="auto">
            <a:xfrm flipV="1">
              <a:off x="2470150" y="2618741"/>
              <a:ext cx="1588"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75" name="Line 223">
              <a:extLst>
                <a:ext uri="{FF2B5EF4-FFF2-40B4-BE49-F238E27FC236}">
                  <a16:creationId xmlns:a16="http://schemas.microsoft.com/office/drawing/2014/main" id="{AD831C85-FCB7-496F-93E5-C1807FA4FB67}"/>
                </a:ext>
              </a:extLst>
            </p:cNvPr>
            <p:cNvSpPr>
              <a:spLocks noChangeAspect="1" noChangeShapeType="1"/>
            </p:cNvSpPr>
            <p:nvPr/>
          </p:nvSpPr>
          <p:spPr bwMode="auto">
            <a:xfrm flipV="1">
              <a:off x="2470150" y="2572704"/>
              <a:ext cx="1588"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76" name="Line 224">
              <a:extLst>
                <a:ext uri="{FF2B5EF4-FFF2-40B4-BE49-F238E27FC236}">
                  <a16:creationId xmlns:a16="http://schemas.microsoft.com/office/drawing/2014/main" id="{CB72C8A1-E7EE-4EE2-8910-FC8D573FCB12}"/>
                </a:ext>
              </a:extLst>
            </p:cNvPr>
            <p:cNvSpPr>
              <a:spLocks noChangeAspect="1" noChangeShapeType="1"/>
            </p:cNvSpPr>
            <p:nvPr/>
          </p:nvSpPr>
          <p:spPr bwMode="auto">
            <a:xfrm flipV="1">
              <a:off x="2471739" y="2571115"/>
              <a:ext cx="1587"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77" name="Line 225">
              <a:extLst>
                <a:ext uri="{FF2B5EF4-FFF2-40B4-BE49-F238E27FC236}">
                  <a16:creationId xmlns:a16="http://schemas.microsoft.com/office/drawing/2014/main" id="{80DD6185-8CF9-4AC1-9142-34DEE0365494}"/>
                </a:ext>
              </a:extLst>
            </p:cNvPr>
            <p:cNvSpPr>
              <a:spLocks noChangeAspect="1" noChangeShapeType="1"/>
            </p:cNvSpPr>
            <p:nvPr/>
          </p:nvSpPr>
          <p:spPr bwMode="auto">
            <a:xfrm flipV="1">
              <a:off x="2471739" y="2564765"/>
              <a:ext cx="1587"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78" name="Line 226">
              <a:extLst>
                <a:ext uri="{FF2B5EF4-FFF2-40B4-BE49-F238E27FC236}">
                  <a16:creationId xmlns:a16="http://schemas.microsoft.com/office/drawing/2014/main" id="{717A8A48-455E-4069-BEE0-AF1F583DD8F5}"/>
                </a:ext>
              </a:extLst>
            </p:cNvPr>
            <p:cNvSpPr>
              <a:spLocks noChangeAspect="1" noChangeShapeType="1"/>
            </p:cNvSpPr>
            <p:nvPr/>
          </p:nvSpPr>
          <p:spPr bwMode="auto">
            <a:xfrm flipV="1">
              <a:off x="2473325" y="2526666"/>
              <a:ext cx="1588"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79" name="Line 227">
              <a:extLst>
                <a:ext uri="{FF2B5EF4-FFF2-40B4-BE49-F238E27FC236}">
                  <a16:creationId xmlns:a16="http://schemas.microsoft.com/office/drawing/2014/main" id="{1B12ED66-494E-4EFD-BF79-F2A2289E850D}"/>
                </a:ext>
              </a:extLst>
            </p:cNvPr>
            <p:cNvSpPr>
              <a:spLocks noChangeAspect="1" noChangeShapeType="1"/>
            </p:cNvSpPr>
            <p:nvPr/>
          </p:nvSpPr>
          <p:spPr bwMode="auto">
            <a:xfrm flipV="1">
              <a:off x="2474913" y="2490153"/>
              <a:ext cx="4762" cy="365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80" name="Line 228">
              <a:extLst>
                <a:ext uri="{FF2B5EF4-FFF2-40B4-BE49-F238E27FC236}">
                  <a16:creationId xmlns:a16="http://schemas.microsoft.com/office/drawing/2014/main" id="{2F222757-1A8C-4FCD-B012-C20EFFEC20E2}"/>
                </a:ext>
              </a:extLst>
            </p:cNvPr>
            <p:cNvSpPr>
              <a:spLocks noChangeAspect="1" noChangeShapeType="1"/>
            </p:cNvSpPr>
            <p:nvPr/>
          </p:nvSpPr>
          <p:spPr bwMode="auto">
            <a:xfrm flipV="1">
              <a:off x="2481263" y="2434590"/>
              <a:ext cx="6350" cy="396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81" name="Line 229">
              <a:extLst>
                <a:ext uri="{FF2B5EF4-FFF2-40B4-BE49-F238E27FC236}">
                  <a16:creationId xmlns:a16="http://schemas.microsoft.com/office/drawing/2014/main" id="{08343121-16EC-40CE-9FFA-3D5F3AC7A83B}"/>
                </a:ext>
              </a:extLst>
            </p:cNvPr>
            <p:cNvSpPr>
              <a:spLocks noChangeAspect="1" noChangeShapeType="1"/>
            </p:cNvSpPr>
            <p:nvPr/>
          </p:nvSpPr>
          <p:spPr bwMode="auto">
            <a:xfrm flipV="1">
              <a:off x="2487614" y="2415540"/>
              <a:ext cx="3175"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82" name="Line 230">
              <a:extLst>
                <a:ext uri="{FF2B5EF4-FFF2-40B4-BE49-F238E27FC236}">
                  <a16:creationId xmlns:a16="http://schemas.microsoft.com/office/drawing/2014/main" id="{C3F2308A-41C3-4312-8785-9726529B59FB}"/>
                </a:ext>
              </a:extLst>
            </p:cNvPr>
            <p:cNvSpPr>
              <a:spLocks noChangeAspect="1" noChangeShapeType="1"/>
            </p:cNvSpPr>
            <p:nvPr/>
          </p:nvSpPr>
          <p:spPr bwMode="auto">
            <a:xfrm flipV="1">
              <a:off x="2493964" y="2388553"/>
              <a:ext cx="3175"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83" name="Line 231">
              <a:extLst>
                <a:ext uri="{FF2B5EF4-FFF2-40B4-BE49-F238E27FC236}">
                  <a16:creationId xmlns:a16="http://schemas.microsoft.com/office/drawing/2014/main" id="{444D34C5-2A6A-4BF2-9B74-187C897B45E7}"/>
                </a:ext>
              </a:extLst>
            </p:cNvPr>
            <p:cNvSpPr>
              <a:spLocks noChangeAspect="1" noChangeShapeType="1"/>
            </p:cNvSpPr>
            <p:nvPr/>
          </p:nvSpPr>
          <p:spPr bwMode="auto">
            <a:xfrm flipV="1">
              <a:off x="2497138" y="2342515"/>
              <a:ext cx="11112" cy="460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84" name="Line 232">
              <a:extLst>
                <a:ext uri="{FF2B5EF4-FFF2-40B4-BE49-F238E27FC236}">
                  <a16:creationId xmlns:a16="http://schemas.microsoft.com/office/drawing/2014/main" id="{1EE2DF74-B2FD-4D48-847B-E77F03F2BDEE}"/>
                </a:ext>
              </a:extLst>
            </p:cNvPr>
            <p:cNvSpPr>
              <a:spLocks noChangeAspect="1" noChangeShapeType="1"/>
            </p:cNvSpPr>
            <p:nvPr/>
          </p:nvSpPr>
          <p:spPr bwMode="auto">
            <a:xfrm flipV="1">
              <a:off x="2513013" y="2312353"/>
              <a:ext cx="4762"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85" name="Line 233">
              <a:extLst>
                <a:ext uri="{FF2B5EF4-FFF2-40B4-BE49-F238E27FC236}">
                  <a16:creationId xmlns:a16="http://schemas.microsoft.com/office/drawing/2014/main" id="{6EF2036A-A3A8-4C00-BCC0-77BE6F3D53DC}"/>
                </a:ext>
              </a:extLst>
            </p:cNvPr>
            <p:cNvSpPr>
              <a:spLocks noChangeAspect="1" noChangeShapeType="1"/>
            </p:cNvSpPr>
            <p:nvPr/>
          </p:nvSpPr>
          <p:spPr bwMode="auto">
            <a:xfrm flipV="1">
              <a:off x="2517776" y="2296479"/>
              <a:ext cx="4763"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86" name="Line 234">
              <a:extLst>
                <a:ext uri="{FF2B5EF4-FFF2-40B4-BE49-F238E27FC236}">
                  <a16:creationId xmlns:a16="http://schemas.microsoft.com/office/drawing/2014/main" id="{41611932-3E00-4F0D-89F8-31C585EE7FC7}"/>
                </a:ext>
              </a:extLst>
            </p:cNvPr>
            <p:cNvSpPr>
              <a:spLocks noChangeAspect="1" noChangeShapeType="1"/>
            </p:cNvSpPr>
            <p:nvPr/>
          </p:nvSpPr>
          <p:spPr bwMode="auto">
            <a:xfrm flipV="1">
              <a:off x="2522539" y="2272666"/>
              <a:ext cx="7937" cy="238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87" name="Line 235">
              <a:extLst>
                <a:ext uri="{FF2B5EF4-FFF2-40B4-BE49-F238E27FC236}">
                  <a16:creationId xmlns:a16="http://schemas.microsoft.com/office/drawing/2014/main" id="{A6F9B362-BE9A-4723-B79C-026491847139}"/>
                </a:ext>
              </a:extLst>
            </p:cNvPr>
            <p:cNvSpPr>
              <a:spLocks noChangeAspect="1" noChangeShapeType="1"/>
            </p:cNvSpPr>
            <p:nvPr/>
          </p:nvSpPr>
          <p:spPr bwMode="auto">
            <a:xfrm flipV="1">
              <a:off x="2535239" y="2252029"/>
              <a:ext cx="1587"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88" name="Line 236">
              <a:extLst>
                <a:ext uri="{FF2B5EF4-FFF2-40B4-BE49-F238E27FC236}">
                  <a16:creationId xmlns:a16="http://schemas.microsoft.com/office/drawing/2014/main" id="{7752D168-1012-43A0-AD41-BEA363C269AE}"/>
                </a:ext>
              </a:extLst>
            </p:cNvPr>
            <p:cNvSpPr>
              <a:spLocks noChangeAspect="1" noChangeShapeType="1"/>
            </p:cNvSpPr>
            <p:nvPr/>
          </p:nvSpPr>
          <p:spPr bwMode="auto">
            <a:xfrm flipV="1">
              <a:off x="2536826" y="2205990"/>
              <a:ext cx="17463" cy="460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89" name="Line 237">
              <a:extLst>
                <a:ext uri="{FF2B5EF4-FFF2-40B4-BE49-F238E27FC236}">
                  <a16:creationId xmlns:a16="http://schemas.microsoft.com/office/drawing/2014/main" id="{65763733-645C-4509-95AD-2F765975BC17}"/>
                </a:ext>
              </a:extLst>
            </p:cNvPr>
            <p:cNvSpPr>
              <a:spLocks noChangeAspect="1" noChangeShapeType="1"/>
            </p:cNvSpPr>
            <p:nvPr/>
          </p:nvSpPr>
          <p:spPr bwMode="auto">
            <a:xfrm flipV="1">
              <a:off x="2554289" y="2204404"/>
              <a:ext cx="1587"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90" name="Line 238">
              <a:extLst>
                <a:ext uri="{FF2B5EF4-FFF2-40B4-BE49-F238E27FC236}">
                  <a16:creationId xmlns:a16="http://schemas.microsoft.com/office/drawing/2014/main" id="{92ECC82D-37EC-477C-BCE3-63BA9CC0CBC7}"/>
                </a:ext>
              </a:extLst>
            </p:cNvPr>
            <p:cNvSpPr>
              <a:spLocks noChangeAspect="1" noChangeShapeType="1"/>
            </p:cNvSpPr>
            <p:nvPr/>
          </p:nvSpPr>
          <p:spPr bwMode="auto">
            <a:xfrm flipV="1">
              <a:off x="2562225" y="2188529"/>
              <a:ext cx="1588"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91" name="Line 239">
              <a:extLst>
                <a:ext uri="{FF2B5EF4-FFF2-40B4-BE49-F238E27FC236}">
                  <a16:creationId xmlns:a16="http://schemas.microsoft.com/office/drawing/2014/main" id="{85437455-151A-41CD-8802-A7F287638D2A}"/>
                </a:ext>
              </a:extLst>
            </p:cNvPr>
            <p:cNvSpPr>
              <a:spLocks noChangeAspect="1" noChangeShapeType="1"/>
            </p:cNvSpPr>
            <p:nvPr/>
          </p:nvSpPr>
          <p:spPr bwMode="auto">
            <a:xfrm flipV="1">
              <a:off x="2563813" y="2161540"/>
              <a:ext cx="12700"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92" name="Line 240">
              <a:extLst>
                <a:ext uri="{FF2B5EF4-FFF2-40B4-BE49-F238E27FC236}">
                  <a16:creationId xmlns:a16="http://schemas.microsoft.com/office/drawing/2014/main" id="{E4C7B8F5-2EE5-4CBF-AB2E-56130A836CB6}"/>
                </a:ext>
              </a:extLst>
            </p:cNvPr>
            <p:cNvSpPr>
              <a:spLocks noChangeAspect="1" noChangeShapeType="1"/>
            </p:cNvSpPr>
            <p:nvPr/>
          </p:nvSpPr>
          <p:spPr bwMode="auto">
            <a:xfrm flipV="1">
              <a:off x="2576513" y="2139316"/>
              <a:ext cx="11112"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93" name="Line 241">
              <a:extLst>
                <a:ext uri="{FF2B5EF4-FFF2-40B4-BE49-F238E27FC236}">
                  <a16:creationId xmlns:a16="http://schemas.microsoft.com/office/drawing/2014/main" id="{FA203996-9003-4902-BBD6-89257440C46E}"/>
                </a:ext>
              </a:extLst>
            </p:cNvPr>
            <p:cNvSpPr>
              <a:spLocks noChangeAspect="1" noChangeShapeType="1"/>
            </p:cNvSpPr>
            <p:nvPr/>
          </p:nvSpPr>
          <p:spPr bwMode="auto">
            <a:xfrm flipV="1">
              <a:off x="2593976" y="2115503"/>
              <a:ext cx="4763"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94" name="Line 242">
              <a:extLst>
                <a:ext uri="{FF2B5EF4-FFF2-40B4-BE49-F238E27FC236}">
                  <a16:creationId xmlns:a16="http://schemas.microsoft.com/office/drawing/2014/main" id="{EC0EF938-4D66-4D98-99B2-38DCBE075AB9}"/>
                </a:ext>
              </a:extLst>
            </p:cNvPr>
            <p:cNvSpPr>
              <a:spLocks noChangeAspect="1" noChangeShapeType="1"/>
            </p:cNvSpPr>
            <p:nvPr/>
          </p:nvSpPr>
          <p:spPr bwMode="auto">
            <a:xfrm flipV="1">
              <a:off x="2598738" y="2098041"/>
              <a:ext cx="11112"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95" name="Line 243">
              <a:extLst>
                <a:ext uri="{FF2B5EF4-FFF2-40B4-BE49-F238E27FC236}">
                  <a16:creationId xmlns:a16="http://schemas.microsoft.com/office/drawing/2014/main" id="{3F9E85DA-2EE0-4EF1-BFFF-4E3309427913}"/>
                </a:ext>
              </a:extLst>
            </p:cNvPr>
            <p:cNvSpPr>
              <a:spLocks noChangeAspect="1" noChangeShapeType="1"/>
            </p:cNvSpPr>
            <p:nvPr/>
          </p:nvSpPr>
          <p:spPr bwMode="auto">
            <a:xfrm flipV="1">
              <a:off x="2609850" y="2077404"/>
              <a:ext cx="12700"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96" name="Line 244">
              <a:extLst>
                <a:ext uri="{FF2B5EF4-FFF2-40B4-BE49-F238E27FC236}">
                  <a16:creationId xmlns:a16="http://schemas.microsoft.com/office/drawing/2014/main" id="{C2458BD0-1E08-498A-850E-15559486464A}"/>
                </a:ext>
              </a:extLst>
            </p:cNvPr>
            <p:cNvSpPr>
              <a:spLocks noChangeAspect="1" noChangeShapeType="1"/>
            </p:cNvSpPr>
            <p:nvPr/>
          </p:nvSpPr>
          <p:spPr bwMode="auto">
            <a:xfrm flipV="1">
              <a:off x="2630488" y="2026603"/>
              <a:ext cx="25400"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97" name="Line 245">
              <a:extLst>
                <a:ext uri="{FF2B5EF4-FFF2-40B4-BE49-F238E27FC236}">
                  <a16:creationId xmlns:a16="http://schemas.microsoft.com/office/drawing/2014/main" id="{D1557CFA-916B-4992-A5B7-BC211C2A7722}"/>
                </a:ext>
              </a:extLst>
            </p:cNvPr>
            <p:cNvSpPr>
              <a:spLocks noChangeAspect="1" noChangeShapeType="1"/>
            </p:cNvSpPr>
            <p:nvPr/>
          </p:nvSpPr>
          <p:spPr bwMode="auto">
            <a:xfrm flipV="1">
              <a:off x="2655889" y="2023429"/>
              <a:ext cx="31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98" name="Line 246">
              <a:extLst>
                <a:ext uri="{FF2B5EF4-FFF2-40B4-BE49-F238E27FC236}">
                  <a16:creationId xmlns:a16="http://schemas.microsoft.com/office/drawing/2014/main" id="{1EC7B9C7-6BDF-4952-BEAA-F8EA0BAF5362}"/>
                </a:ext>
              </a:extLst>
            </p:cNvPr>
            <p:cNvSpPr>
              <a:spLocks noChangeAspect="1" noChangeShapeType="1"/>
            </p:cNvSpPr>
            <p:nvPr/>
          </p:nvSpPr>
          <p:spPr bwMode="auto">
            <a:xfrm flipV="1">
              <a:off x="2659064" y="2018666"/>
              <a:ext cx="3175"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799" name="Line 247">
              <a:extLst>
                <a:ext uri="{FF2B5EF4-FFF2-40B4-BE49-F238E27FC236}">
                  <a16:creationId xmlns:a16="http://schemas.microsoft.com/office/drawing/2014/main" id="{6766D752-CEE3-4715-A09A-FC7B6010C15C}"/>
                </a:ext>
              </a:extLst>
            </p:cNvPr>
            <p:cNvSpPr>
              <a:spLocks noChangeAspect="1" noChangeShapeType="1"/>
            </p:cNvSpPr>
            <p:nvPr/>
          </p:nvSpPr>
          <p:spPr bwMode="auto">
            <a:xfrm flipV="1">
              <a:off x="2670175" y="1977390"/>
              <a:ext cx="26988"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00" name="Line 248">
              <a:extLst>
                <a:ext uri="{FF2B5EF4-FFF2-40B4-BE49-F238E27FC236}">
                  <a16:creationId xmlns:a16="http://schemas.microsoft.com/office/drawing/2014/main" id="{90DE4B15-F6C9-4898-B3C4-3514D5231530}"/>
                </a:ext>
              </a:extLst>
            </p:cNvPr>
            <p:cNvSpPr>
              <a:spLocks noChangeAspect="1" noChangeShapeType="1"/>
            </p:cNvSpPr>
            <p:nvPr/>
          </p:nvSpPr>
          <p:spPr bwMode="auto">
            <a:xfrm flipV="1">
              <a:off x="2697163" y="1971040"/>
              <a:ext cx="4762"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01" name="Line 249">
              <a:extLst>
                <a:ext uri="{FF2B5EF4-FFF2-40B4-BE49-F238E27FC236}">
                  <a16:creationId xmlns:a16="http://schemas.microsoft.com/office/drawing/2014/main" id="{15A3EBF7-1664-4B27-95E7-AEAAC512643D}"/>
                </a:ext>
              </a:extLst>
            </p:cNvPr>
            <p:cNvSpPr>
              <a:spLocks noChangeAspect="1" noChangeShapeType="1"/>
            </p:cNvSpPr>
            <p:nvPr/>
          </p:nvSpPr>
          <p:spPr bwMode="auto">
            <a:xfrm flipV="1">
              <a:off x="2701926" y="1967866"/>
              <a:ext cx="4763"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02" name="Line 250">
              <a:extLst>
                <a:ext uri="{FF2B5EF4-FFF2-40B4-BE49-F238E27FC236}">
                  <a16:creationId xmlns:a16="http://schemas.microsoft.com/office/drawing/2014/main" id="{C51C988C-7320-49FF-83C8-61A519B83C1D}"/>
                </a:ext>
              </a:extLst>
            </p:cNvPr>
            <p:cNvSpPr>
              <a:spLocks noChangeAspect="1" noChangeShapeType="1"/>
            </p:cNvSpPr>
            <p:nvPr/>
          </p:nvSpPr>
          <p:spPr bwMode="auto">
            <a:xfrm flipV="1">
              <a:off x="2716213" y="1931354"/>
              <a:ext cx="25400" cy="269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03" name="Line 251">
              <a:extLst>
                <a:ext uri="{FF2B5EF4-FFF2-40B4-BE49-F238E27FC236}">
                  <a16:creationId xmlns:a16="http://schemas.microsoft.com/office/drawing/2014/main" id="{17AC71CA-540E-4751-AF0F-FA4FC3021179}"/>
                </a:ext>
              </a:extLst>
            </p:cNvPr>
            <p:cNvSpPr>
              <a:spLocks noChangeAspect="1" noChangeShapeType="1"/>
            </p:cNvSpPr>
            <p:nvPr/>
          </p:nvSpPr>
          <p:spPr bwMode="auto">
            <a:xfrm flipV="1">
              <a:off x="2741613" y="1925003"/>
              <a:ext cx="6350"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04" name="Line 252">
              <a:extLst>
                <a:ext uri="{FF2B5EF4-FFF2-40B4-BE49-F238E27FC236}">
                  <a16:creationId xmlns:a16="http://schemas.microsoft.com/office/drawing/2014/main" id="{6A8FD260-7A81-43E8-890C-EFC5C6141BB7}"/>
                </a:ext>
              </a:extLst>
            </p:cNvPr>
            <p:cNvSpPr>
              <a:spLocks noChangeAspect="1" noChangeShapeType="1"/>
            </p:cNvSpPr>
            <p:nvPr/>
          </p:nvSpPr>
          <p:spPr bwMode="auto">
            <a:xfrm flipV="1">
              <a:off x="2747963" y="1920241"/>
              <a:ext cx="6350"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05" name="Line 253">
              <a:extLst>
                <a:ext uri="{FF2B5EF4-FFF2-40B4-BE49-F238E27FC236}">
                  <a16:creationId xmlns:a16="http://schemas.microsoft.com/office/drawing/2014/main" id="{044CFAF6-2723-4DAB-8215-00979F690D2C}"/>
                </a:ext>
              </a:extLst>
            </p:cNvPr>
            <p:cNvSpPr>
              <a:spLocks noChangeAspect="1" noChangeShapeType="1"/>
            </p:cNvSpPr>
            <p:nvPr/>
          </p:nvSpPr>
          <p:spPr bwMode="auto">
            <a:xfrm flipV="1">
              <a:off x="2765426" y="1890079"/>
              <a:ext cx="28575"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06" name="Line 254">
              <a:extLst>
                <a:ext uri="{FF2B5EF4-FFF2-40B4-BE49-F238E27FC236}">
                  <a16:creationId xmlns:a16="http://schemas.microsoft.com/office/drawing/2014/main" id="{3C5B66C1-FDD3-4FBF-9C38-E9DB4918A91C}"/>
                </a:ext>
              </a:extLst>
            </p:cNvPr>
            <p:cNvSpPr>
              <a:spLocks noChangeAspect="1" noChangeShapeType="1"/>
            </p:cNvSpPr>
            <p:nvPr/>
          </p:nvSpPr>
          <p:spPr bwMode="auto">
            <a:xfrm flipV="1">
              <a:off x="2794001" y="1885316"/>
              <a:ext cx="9525"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07" name="Line 255">
              <a:extLst>
                <a:ext uri="{FF2B5EF4-FFF2-40B4-BE49-F238E27FC236}">
                  <a16:creationId xmlns:a16="http://schemas.microsoft.com/office/drawing/2014/main" id="{E1BEAF56-B4DE-45DF-BCB3-7A8B300EF0E8}"/>
                </a:ext>
              </a:extLst>
            </p:cNvPr>
            <p:cNvSpPr>
              <a:spLocks noChangeAspect="1" noChangeShapeType="1"/>
            </p:cNvSpPr>
            <p:nvPr/>
          </p:nvSpPr>
          <p:spPr bwMode="auto">
            <a:xfrm flipV="1">
              <a:off x="2803526" y="1882141"/>
              <a:ext cx="4763"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08" name="Line 256">
              <a:extLst>
                <a:ext uri="{FF2B5EF4-FFF2-40B4-BE49-F238E27FC236}">
                  <a16:creationId xmlns:a16="http://schemas.microsoft.com/office/drawing/2014/main" id="{605C456F-A384-46F1-B7CE-A9A1A362BF68}"/>
                </a:ext>
              </a:extLst>
            </p:cNvPr>
            <p:cNvSpPr>
              <a:spLocks noChangeAspect="1" noChangeShapeType="1"/>
            </p:cNvSpPr>
            <p:nvPr/>
          </p:nvSpPr>
          <p:spPr bwMode="auto">
            <a:xfrm flipV="1">
              <a:off x="2819401" y="1863090"/>
              <a:ext cx="22225"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09" name="Line 257">
              <a:extLst>
                <a:ext uri="{FF2B5EF4-FFF2-40B4-BE49-F238E27FC236}">
                  <a16:creationId xmlns:a16="http://schemas.microsoft.com/office/drawing/2014/main" id="{2B797AC6-B602-4EB7-8196-254502C5FD66}"/>
                </a:ext>
              </a:extLst>
            </p:cNvPr>
            <p:cNvSpPr>
              <a:spLocks noChangeAspect="1" noChangeShapeType="1"/>
            </p:cNvSpPr>
            <p:nvPr/>
          </p:nvSpPr>
          <p:spPr bwMode="auto">
            <a:xfrm flipV="1">
              <a:off x="2841626" y="1853566"/>
              <a:ext cx="23813"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10" name="Line 258">
              <a:extLst>
                <a:ext uri="{FF2B5EF4-FFF2-40B4-BE49-F238E27FC236}">
                  <a16:creationId xmlns:a16="http://schemas.microsoft.com/office/drawing/2014/main" id="{68484241-AE88-4DE5-8291-7176D3659280}"/>
                </a:ext>
              </a:extLst>
            </p:cNvPr>
            <p:cNvSpPr>
              <a:spLocks noChangeAspect="1" noChangeShapeType="1"/>
            </p:cNvSpPr>
            <p:nvPr/>
          </p:nvSpPr>
          <p:spPr bwMode="auto">
            <a:xfrm flipV="1">
              <a:off x="2876551" y="1844041"/>
              <a:ext cx="952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11" name="Line 259">
              <a:extLst>
                <a:ext uri="{FF2B5EF4-FFF2-40B4-BE49-F238E27FC236}">
                  <a16:creationId xmlns:a16="http://schemas.microsoft.com/office/drawing/2014/main" id="{B9C8F5F1-3934-4107-B679-EB6413C75C9C}"/>
                </a:ext>
              </a:extLst>
            </p:cNvPr>
            <p:cNvSpPr>
              <a:spLocks noChangeAspect="1" noChangeShapeType="1"/>
            </p:cNvSpPr>
            <p:nvPr/>
          </p:nvSpPr>
          <p:spPr bwMode="auto">
            <a:xfrm flipV="1">
              <a:off x="2886076" y="1839278"/>
              <a:ext cx="15875"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12" name="Line 260">
              <a:extLst>
                <a:ext uri="{FF2B5EF4-FFF2-40B4-BE49-F238E27FC236}">
                  <a16:creationId xmlns:a16="http://schemas.microsoft.com/office/drawing/2014/main" id="{DC1DB6F1-E6A5-451A-9101-C623ABA7E3E2}"/>
                </a:ext>
              </a:extLst>
            </p:cNvPr>
            <p:cNvSpPr>
              <a:spLocks noChangeAspect="1" noChangeShapeType="1"/>
            </p:cNvSpPr>
            <p:nvPr/>
          </p:nvSpPr>
          <p:spPr bwMode="auto">
            <a:xfrm flipV="1">
              <a:off x="2901951" y="1832928"/>
              <a:ext cx="22225"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13" name="Line 261">
              <a:extLst>
                <a:ext uri="{FF2B5EF4-FFF2-40B4-BE49-F238E27FC236}">
                  <a16:creationId xmlns:a16="http://schemas.microsoft.com/office/drawing/2014/main" id="{030805B3-A454-4851-A20A-2C1EBC09B020}"/>
                </a:ext>
              </a:extLst>
            </p:cNvPr>
            <p:cNvSpPr>
              <a:spLocks noChangeAspect="1" noChangeShapeType="1"/>
            </p:cNvSpPr>
            <p:nvPr/>
          </p:nvSpPr>
          <p:spPr bwMode="auto">
            <a:xfrm flipV="1">
              <a:off x="2936876" y="1823403"/>
              <a:ext cx="41275"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14" name="Line 262">
              <a:extLst>
                <a:ext uri="{FF2B5EF4-FFF2-40B4-BE49-F238E27FC236}">
                  <a16:creationId xmlns:a16="http://schemas.microsoft.com/office/drawing/2014/main" id="{192C3D67-DB5C-45FF-9648-D1117CE7518C}"/>
                </a:ext>
              </a:extLst>
            </p:cNvPr>
            <p:cNvSpPr>
              <a:spLocks noChangeAspect="1" noChangeShapeType="1"/>
            </p:cNvSpPr>
            <p:nvPr/>
          </p:nvSpPr>
          <p:spPr bwMode="auto">
            <a:xfrm flipV="1">
              <a:off x="2978150" y="1823404"/>
              <a:ext cx="793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15" name="Line 263">
              <a:extLst>
                <a:ext uri="{FF2B5EF4-FFF2-40B4-BE49-F238E27FC236}">
                  <a16:creationId xmlns:a16="http://schemas.microsoft.com/office/drawing/2014/main" id="{025FF5CF-A081-4161-BB40-C98D9AA49E32}"/>
                </a:ext>
              </a:extLst>
            </p:cNvPr>
            <p:cNvSpPr>
              <a:spLocks noChangeAspect="1" noChangeShapeType="1"/>
            </p:cNvSpPr>
            <p:nvPr/>
          </p:nvSpPr>
          <p:spPr bwMode="auto">
            <a:xfrm flipV="1">
              <a:off x="2998788" y="1821815"/>
              <a:ext cx="25400"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16" name="Line 264">
              <a:extLst>
                <a:ext uri="{FF2B5EF4-FFF2-40B4-BE49-F238E27FC236}">
                  <a16:creationId xmlns:a16="http://schemas.microsoft.com/office/drawing/2014/main" id="{ED053806-A0E1-49F8-8ACA-223381D68D8F}"/>
                </a:ext>
              </a:extLst>
            </p:cNvPr>
            <p:cNvSpPr>
              <a:spLocks noChangeAspect="1" noChangeShapeType="1"/>
            </p:cNvSpPr>
            <p:nvPr/>
          </p:nvSpPr>
          <p:spPr bwMode="auto">
            <a:xfrm>
              <a:off x="3024188" y="1821816"/>
              <a:ext cx="23812"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17" name="Line 265">
              <a:extLst>
                <a:ext uri="{FF2B5EF4-FFF2-40B4-BE49-F238E27FC236}">
                  <a16:creationId xmlns:a16="http://schemas.microsoft.com/office/drawing/2014/main" id="{365AE2A6-E50E-4394-8387-BBEE943823F1}"/>
                </a:ext>
              </a:extLst>
            </p:cNvPr>
            <p:cNvSpPr>
              <a:spLocks noChangeAspect="1" noChangeShapeType="1"/>
            </p:cNvSpPr>
            <p:nvPr/>
          </p:nvSpPr>
          <p:spPr bwMode="auto">
            <a:xfrm>
              <a:off x="3060701" y="1824990"/>
              <a:ext cx="9525"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18" name="Line 266">
              <a:extLst>
                <a:ext uri="{FF2B5EF4-FFF2-40B4-BE49-F238E27FC236}">
                  <a16:creationId xmlns:a16="http://schemas.microsoft.com/office/drawing/2014/main" id="{20A7A494-9EFF-4657-B842-64CE21CC7E96}"/>
                </a:ext>
              </a:extLst>
            </p:cNvPr>
            <p:cNvSpPr>
              <a:spLocks noChangeAspect="1" noChangeShapeType="1"/>
            </p:cNvSpPr>
            <p:nvPr/>
          </p:nvSpPr>
          <p:spPr bwMode="auto">
            <a:xfrm>
              <a:off x="3070225" y="1826578"/>
              <a:ext cx="39688"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19" name="Line 267">
              <a:extLst>
                <a:ext uri="{FF2B5EF4-FFF2-40B4-BE49-F238E27FC236}">
                  <a16:creationId xmlns:a16="http://schemas.microsoft.com/office/drawing/2014/main" id="{679A8AC2-9610-4CC7-B25C-637E0D0FFB16}"/>
                </a:ext>
              </a:extLst>
            </p:cNvPr>
            <p:cNvSpPr>
              <a:spLocks noChangeAspect="1" noChangeShapeType="1"/>
            </p:cNvSpPr>
            <p:nvPr/>
          </p:nvSpPr>
          <p:spPr bwMode="auto">
            <a:xfrm>
              <a:off x="3122614" y="1836104"/>
              <a:ext cx="14287"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20" name="Line 268">
              <a:extLst>
                <a:ext uri="{FF2B5EF4-FFF2-40B4-BE49-F238E27FC236}">
                  <a16:creationId xmlns:a16="http://schemas.microsoft.com/office/drawing/2014/main" id="{27626BFD-BD23-46B9-96C1-78C61A13BB7B}"/>
                </a:ext>
              </a:extLst>
            </p:cNvPr>
            <p:cNvSpPr>
              <a:spLocks noChangeAspect="1" noChangeShapeType="1"/>
            </p:cNvSpPr>
            <p:nvPr/>
          </p:nvSpPr>
          <p:spPr bwMode="auto">
            <a:xfrm>
              <a:off x="3136900" y="1839278"/>
              <a:ext cx="26988"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21" name="Line 269">
              <a:extLst>
                <a:ext uri="{FF2B5EF4-FFF2-40B4-BE49-F238E27FC236}">
                  <a16:creationId xmlns:a16="http://schemas.microsoft.com/office/drawing/2014/main" id="{C01F606B-2F19-4391-A600-EDCC58725341}"/>
                </a:ext>
              </a:extLst>
            </p:cNvPr>
            <p:cNvSpPr>
              <a:spLocks noChangeAspect="1" noChangeShapeType="1"/>
            </p:cNvSpPr>
            <p:nvPr/>
          </p:nvSpPr>
          <p:spPr bwMode="auto">
            <a:xfrm>
              <a:off x="3163888" y="1845629"/>
              <a:ext cx="6350"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22" name="Line 270">
              <a:extLst>
                <a:ext uri="{FF2B5EF4-FFF2-40B4-BE49-F238E27FC236}">
                  <a16:creationId xmlns:a16="http://schemas.microsoft.com/office/drawing/2014/main" id="{724A8392-22C8-4C90-91D9-DDCE075BAA46}"/>
                </a:ext>
              </a:extLst>
            </p:cNvPr>
            <p:cNvSpPr>
              <a:spLocks noChangeAspect="1" noChangeShapeType="1"/>
            </p:cNvSpPr>
            <p:nvPr/>
          </p:nvSpPr>
          <p:spPr bwMode="auto">
            <a:xfrm>
              <a:off x="3182939" y="1853566"/>
              <a:ext cx="26987"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23" name="Line 271">
              <a:extLst>
                <a:ext uri="{FF2B5EF4-FFF2-40B4-BE49-F238E27FC236}">
                  <a16:creationId xmlns:a16="http://schemas.microsoft.com/office/drawing/2014/main" id="{854D67F5-435A-49A3-80BB-3DBF5270310C}"/>
                </a:ext>
              </a:extLst>
            </p:cNvPr>
            <p:cNvSpPr>
              <a:spLocks noChangeAspect="1" noChangeShapeType="1"/>
            </p:cNvSpPr>
            <p:nvPr/>
          </p:nvSpPr>
          <p:spPr bwMode="auto">
            <a:xfrm>
              <a:off x="3209925" y="1863090"/>
              <a:ext cx="19050"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24" name="Line 272">
              <a:extLst>
                <a:ext uri="{FF2B5EF4-FFF2-40B4-BE49-F238E27FC236}">
                  <a16:creationId xmlns:a16="http://schemas.microsoft.com/office/drawing/2014/main" id="{C22E81E2-8E95-4E35-8852-A48FB0F425A5}"/>
                </a:ext>
              </a:extLst>
            </p:cNvPr>
            <p:cNvSpPr>
              <a:spLocks noChangeAspect="1" noChangeShapeType="1"/>
            </p:cNvSpPr>
            <p:nvPr/>
          </p:nvSpPr>
          <p:spPr bwMode="auto">
            <a:xfrm>
              <a:off x="3241675" y="1877378"/>
              <a:ext cx="12700"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25" name="Line 273">
              <a:extLst>
                <a:ext uri="{FF2B5EF4-FFF2-40B4-BE49-F238E27FC236}">
                  <a16:creationId xmlns:a16="http://schemas.microsoft.com/office/drawing/2014/main" id="{8BDB87E3-74D2-4033-860F-5A5133343D57}"/>
                </a:ext>
              </a:extLst>
            </p:cNvPr>
            <p:cNvSpPr>
              <a:spLocks noChangeAspect="1" noChangeShapeType="1"/>
            </p:cNvSpPr>
            <p:nvPr/>
          </p:nvSpPr>
          <p:spPr bwMode="auto">
            <a:xfrm>
              <a:off x="3254376" y="1883729"/>
              <a:ext cx="3175"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26" name="Line 274">
              <a:extLst>
                <a:ext uri="{FF2B5EF4-FFF2-40B4-BE49-F238E27FC236}">
                  <a16:creationId xmlns:a16="http://schemas.microsoft.com/office/drawing/2014/main" id="{97886382-C4C8-4816-96B6-CB04357BBB23}"/>
                </a:ext>
              </a:extLst>
            </p:cNvPr>
            <p:cNvSpPr>
              <a:spLocks noChangeAspect="1" noChangeShapeType="1"/>
            </p:cNvSpPr>
            <p:nvPr/>
          </p:nvSpPr>
          <p:spPr bwMode="auto">
            <a:xfrm>
              <a:off x="3257551" y="1885315"/>
              <a:ext cx="30163"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27" name="Line 275">
              <a:extLst>
                <a:ext uri="{FF2B5EF4-FFF2-40B4-BE49-F238E27FC236}">
                  <a16:creationId xmlns:a16="http://schemas.microsoft.com/office/drawing/2014/main" id="{0037F19B-C2B7-4608-B175-C6FB3991CA62}"/>
                </a:ext>
              </a:extLst>
            </p:cNvPr>
            <p:cNvSpPr>
              <a:spLocks noChangeAspect="1" noChangeShapeType="1"/>
            </p:cNvSpPr>
            <p:nvPr/>
          </p:nvSpPr>
          <p:spPr bwMode="auto">
            <a:xfrm>
              <a:off x="3298825" y="1907540"/>
              <a:ext cx="1588"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28" name="Line 276">
              <a:extLst>
                <a:ext uri="{FF2B5EF4-FFF2-40B4-BE49-F238E27FC236}">
                  <a16:creationId xmlns:a16="http://schemas.microsoft.com/office/drawing/2014/main" id="{D912C57A-D59A-46E3-865B-C79C43BDBEB6}"/>
                </a:ext>
              </a:extLst>
            </p:cNvPr>
            <p:cNvSpPr>
              <a:spLocks noChangeAspect="1" noChangeShapeType="1"/>
            </p:cNvSpPr>
            <p:nvPr/>
          </p:nvSpPr>
          <p:spPr bwMode="auto">
            <a:xfrm>
              <a:off x="3300413" y="1907541"/>
              <a:ext cx="36512" cy="238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29" name="Line 277">
              <a:extLst>
                <a:ext uri="{FF2B5EF4-FFF2-40B4-BE49-F238E27FC236}">
                  <a16:creationId xmlns:a16="http://schemas.microsoft.com/office/drawing/2014/main" id="{29E7F016-FCC2-4680-8383-466FAF6B63A0}"/>
                </a:ext>
              </a:extLst>
            </p:cNvPr>
            <p:cNvSpPr>
              <a:spLocks noChangeAspect="1" noChangeShapeType="1"/>
            </p:cNvSpPr>
            <p:nvPr/>
          </p:nvSpPr>
          <p:spPr bwMode="auto">
            <a:xfrm>
              <a:off x="3336925" y="1931354"/>
              <a:ext cx="6350"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30" name="Line 278">
              <a:extLst>
                <a:ext uri="{FF2B5EF4-FFF2-40B4-BE49-F238E27FC236}">
                  <a16:creationId xmlns:a16="http://schemas.microsoft.com/office/drawing/2014/main" id="{99DC486C-B77D-4D4A-9DB6-A88E44A3108E}"/>
                </a:ext>
              </a:extLst>
            </p:cNvPr>
            <p:cNvSpPr>
              <a:spLocks noChangeAspect="1" noChangeShapeType="1"/>
            </p:cNvSpPr>
            <p:nvPr/>
          </p:nvSpPr>
          <p:spPr bwMode="auto">
            <a:xfrm>
              <a:off x="3352800" y="1940879"/>
              <a:ext cx="39688" cy="269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31" name="Line 279">
              <a:extLst>
                <a:ext uri="{FF2B5EF4-FFF2-40B4-BE49-F238E27FC236}">
                  <a16:creationId xmlns:a16="http://schemas.microsoft.com/office/drawing/2014/main" id="{B6C15221-617B-4F28-880B-1D9F1EA46AE2}"/>
                </a:ext>
              </a:extLst>
            </p:cNvPr>
            <p:cNvSpPr>
              <a:spLocks noChangeAspect="1" noChangeShapeType="1"/>
            </p:cNvSpPr>
            <p:nvPr/>
          </p:nvSpPr>
          <p:spPr bwMode="auto">
            <a:xfrm>
              <a:off x="3392488" y="1967866"/>
              <a:ext cx="4762"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32" name="Line 280">
              <a:extLst>
                <a:ext uri="{FF2B5EF4-FFF2-40B4-BE49-F238E27FC236}">
                  <a16:creationId xmlns:a16="http://schemas.microsoft.com/office/drawing/2014/main" id="{596316AA-4819-42AA-A874-4C09EB3B0348}"/>
                </a:ext>
              </a:extLst>
            </p:cNvPr>
            <p:cNvSpPr>
              <a:spLocks noChangeAspect="1" noChangeShapeType="1"/>
            </p:cNvSpPr>
            <p:nvPr/>
          </p:nvSpPr>
          <p:spPr bwMode="auto">
            <a:xfrm>
              <a:off x="3406775" y="1978979"/>
              <a:ext cx="33338"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33" name="Line 281">
              <a:extLst>
                <a:ext uri="{FF2B5EF4-FFF2-40B4-BE49-F238E27FC236}">
                  <a16:creationId xmlns:a16="http://schemas.microsoft.com/office/drawing/2014/main" id="{47DF5841-6958-4257-A6EC-26244195B7F7}"/>
                </a:ext>
              </a:extLst>
            </p:cNvPr>
            <p:cNvSpPr>
              <a:spLocks noChangeAspect="1" noChangeShapeType="1"/>
            </p:cNvSpPr>
            <p:nvPr/>
          </p:nvSpPr>
          <p:spPr bwMode="auto">
            <a:xfrm>
              <a:off x="3440114" y="2001204"/>
              <a:ext cx="9525"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34" name="Line 282">
              <a:extLst>
                <a:ext uri="{FF2B5EF4-FFF2-40B4-BE49-F238E27FC236}">
                  <a16:creationId xmlns:a16="http://schemas.microsoft.com/office/drawing/2014/main" id="{B46E7636-8D16-470E-AAEE-0B9D77947591}"/>
                </a:ext>
              </a:extLst>
            </p:cNvPr>
            <p:cNvSpPr>
              <a:spLocks noChangeAspect="1" noChangeShapeType="1"/>
            </p:cNvSpPr>
            <p:nvPr/>
          </p:nvSpPr>
          <p:spPr bwMode="auto">
            <a:xfrm>
              <a:off x="3460751" y="2018666"/>
              <a:ext cx="4763"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35" name="Line 283">
              <a:extLst>
                <a:ext uri="{FF2B5EF4-FFF2-40B4-BE49-F238E27FC236}">
                  <a16:creationId xmlns:a16="http://schemas.microsoft.com/office/drawing/2014/main" id="{854D499D-E203-4545-BEDC-D862B325A83E}"/>
                </a:ext>
              </a:extLst>
            </p:cNvPr>
            <p:cNvSpPr>
              <a:spLocks noChangeAspect="1" noChangeShapeType="1"/>
            </p:cNvSpPr>
            <p:nvPr/>
          </p:nvSpPr>
          <p:spPr bwMode="auto">
            <a:xfrm>
              <a:off x="3465514" y="2023429"/>
              <a:ext cx="20637"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36" name="Line 284">
              <a:extLst>
                <a:ext uri="{FF2B5EF4-FFF2-40B4-BE49-F238E27FC236}">
                  <a16:creationId xmlns:a16="http://schemas.microsoft.com/office/drawing/2014/main" id="{9BBFF29E-BAF1-4FCF-A9C5-335FD105DDE5}"/>
                </a:ext>
              </a:extLst>
            </p:cNvPr>
            <p:cNvSpPr>
              <a:spLocks noChangeAspect="1" noChangeShapeType="1"/>
            </p:cNvSpPr>
            <p:nvPr/>
          </p:nvSpPr>
          <p:spPr bwMode="auto">
            <a:xfrm>
              <a:off x="3486150" y="2039303"/>
              <a:ext cx="14288"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37" name="Line 285">
              <a:extLst>
                <a:ext uri="{FF2B5EF4-FFF2-40B4-BE49-F238E27FC236}">
                  <a16:creationId xmlns:a16="http://schemas.microsoft.com/office/drawing/2014/main" id="{52A10710-664C-4983-A9BC-35DD03BD0C46}"/>
                </a:ext>
              </a:extLst>
            </p:cNvPr>
            <p:cNvSpPr>
              <a:spLocks noChangeAspect="1" noChangeShapeType="1"/>
            </p:cNvSpPr>
            <p:nvPr/>
          </p:nvSpPr>
          <p:spPr bwMode="auto">
            <a:xfrm>
              <a:off x="3511550" y="2061529"/>
              <a:ext cx="7938"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38" name="Line 286">
              <a:extLst>
                <a:ext uri="{FF2B5EF4-FFF2-40B4-BE49-F238E27FC236}">
                  <a16:creationId xmlns:a16="http://schemas.microsoft.com/office/drawing/2014/main" id="{438DE918-2E76-458F-BB34-2D96B42AB98D}"/>
                </a:ext>
              </a:extLst>
            </p:cNvPr>
            <p:cNvSpPr>
              <a:spLocks noChangeAspect="1" noChangeShapeType="1"/>
            </p:cNvSpPr>
            <p:nvPr/>
          </p:nvSpPr>
          <p:spPr bwMode="auto">
            <a:xfrm>
              <a:off x="3519488" y="2069466"/>
              <a:ext cx="12700"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39" name="Line 287">
              <a:extLst>
                <a:ext uri="{FF2B5EF4-FFF2-40B4-BE49-F238E27FC236}">
                  <a16:creationId xmlns:a16="http://schemas.microsoft.com/office/drawing/2014/main" id="{B19FEF9A-94EE-4E5A-BC03-1445CA20792D}"/>
                </a:ext>
              </a:extLst>
            </p:cNvPr>
            <p:cNvSpPr>
              <a:spLocks noChangeAspect="1" noChangeShapeType="1"/>
            </p:cNvSpPr>
            <p:nvPr/>
          </p:nvSpPr>
          <p:spPr bwMode="auto">
            <a:xfrm>
              <a:off x="3532188" y="2078990"/>
              <a:ext cx="17462"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40" name="Line 288">
              <a:extLst>
                <a:ext uri="{FF2B5EF4-FFF2-40B4-BE49-F238E27FC236}">
                  <a16:creationId xmlns:a16="http://schemas.microsoft.com/office/drawing/2014/main" id="{4F8E6632-C867-41DC-8DFD-B2FBB18C3C8A}"/>
                </a:ext>
              </a:extLst>
            </p:cNvPr>
            <p:cNvSpPr>
              <a:spLocks noChangeAspect="1" noChangeShapeType="1"/>
            </p:cNvSpPr>
            <p:nvPr/>
          </p:nvSpPr>
          <p:spPr bwMode="auto">
            <a:xfrm>
              <a:off x="3559176" y="2105979"/>
              <a:ext cx="9525"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41" name="Line 289">
              <a:extLst>
                <a:ext uri="{FF2B5EF4-FFF2-40B4-BE49-F238E27FC236}">
                  <a16:creationId xmlns:a16="http://schemas.microsoft.com/office/drawing/2014/main" id="{28722040-E282-403F-99B5-12A7A1C9AF68}"/>
                </a:ext>
              </a:extLst>
            </p:cNvPr>
            <p:cNvSpPr>
              <a:spLocks noChangeAspect="1" noChangeShapeType="1"/>
            </p:cNvSpPr>
            <p:nvPr/>
          </p:nvSpPr>
          <p:spPr bwMode="auto">
            <a:xfrm>
              <a:off x="3568700" y="2115504"/>
              <a:ext cx="7938"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42" name="Line 290">
              <a:extLst>
                <a:ext uri="{FF2B5EF4-FFF2-40B4-BE49-F238E27FC236}">
                  <a16:creationId xmlns:a16="http://schemas.microsoft.com/office/drawing/2014/main" id="{8D197A95-03B7-4664-9B98-CDC8354FF1EE}"/>
                </a:ext>
              </a:extLst>
            </p:cNvPr>
            <p:cNvSpPr>
              <a:spLocks noChangeAspect="1" noChangeShapeType="1"/>
            </p:cNvSpPr>
            <p:nvPr/>
          </p:nvSpPr>
          <p:spPr bwMode="auto">
            <a:xfrm>
              <a:off x="3576639" y="2125029"/>
              <a:ext cx="20637"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43" name="Line 291">
              <a:extLst>
                <a:ext uri="{FF2B5EF4-FFF2-40B4-BE49-F238E27FC236}">
                  <a16:creationId xmlns:a16="http://schemas.microsoft.com/office/drawing/2014/main" id="{82DE6D68-872F-452B-9F2F-F1C184E2AF3C}"/>
                </a:ext>
              </a:extLst>
            </p:cNvPr>
            <p:cNvSpPr>
              <a:spLocks noChangeAspect="1" noChangeShapeType="1"/>
            </p:cNvSpPr>
            <p:nvPr/>
          </p:nvSpPr>
          <p:spPr bwMode="auto">
            <a:xfrm>
              <a:off x="3606801" y="2156778"/>
              <a:ext cx="3175"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44" name="Line 292">
              <a:extLst>
                <a:ext uri="{FF2B5EF4-FFF2-40B4-BE49-F238E27FC236}">
                  <a16:creationId xmlns:a16="http://schemas.microsoft.com/office/drawing/2014/main" id="{6076F992-8F3B-49AB-B1F9-21DD724D9A3D}"/>
                </a:ext>
              </a:extLst>
            </p:cNvPr>
            <p:cNvSpPr>
              <a:spLocks noChangeAspect="1" noChangeShapeType="1"/>
            </p:cNvSpPr>
            <p:nvPr/>
          </p:nvSpPr>
          <p:spPr bwMode="auto">
            <a:xfrm>
              <a:off x="3609975" y="2161541"/>
              <a:ext cx="12700"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45" name="Line 293">
              <a:extLst>
                <a:ext uri="{FF2B5EF4-FFF2-40B4-BE49-F238E27FC236}">
                  <a16:creationId xmlns:a16="http://schemas.microsoft.com/office/drawing/2014/main" id="{5EF5C750-C5EA-428D-AA74-CE6EB83DDF96}"/>
                </a:ext>
              </a:extLst>
            </p:cNvPr>
            <p:cNvSpPr>
              <a:spLocks noChangeAspect="1" noChangeShapeType="1"/>
            </p:cNvSpPr>
            <p:nvPr/>
          </p:nvSpPr>
          <p:spPr bwMode="auto">
            <a:xfrm>
              <a:off x="3622676" y="2177416"/>
              <a:ext cx="17463"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46" name="Line 294">
              <a:extLst>
                <a:ext uri="{FF2B5EF4-FFF2-40B4-BE49-F238E27FC236}">
                  <a16:creationId xmlns:a16="http://schemas.microsoft.com/office/drawing/2014/main" id="{DEC2D302-D52E-4572-96AE-E2B426A81340}"/>
                </a:ext>
              </a:extLst>
            </p:cNvPr>
            <p:cNvSpPr>
              <a:spLocks noChangeAspect="1" noChangeShapeType="1"/>
            </p:cNvSpPr>
            <p:nvPr/>
          </p:nvSpPr>
          <p:spPr bwMode="auto">
            <a:xfrm>
              <a:off x="3649663" y="2212340"/>
              <a:ext cx="19050" cy="333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47" name="Line 295">
              <a:extLst>
                <a:ext uri="{FF2B5EF4-FFF2-40B4-BE49-F238E27FC236}">
                  <a16:creationId xmlns:a16="http://schemas.microsoft.com/office/drawing/2014/main" id="{67C2A9AD-3F94-45DD-BE74-D87664E424A1}"/>
                </a:ext>
              </a:extLst>
            </p:cNvPr>
            <p:cNvSpPr>
              <a:spLocks noChangeAspect="1" noChangeShapeType="1"/>
            </p:cNvSpPr>
            <p:nvPr/>
          </p:nvSpPr>
          <p:spPr bwMode="auto">
            <a:xfrm>
              <a:off x="3668713" y="2245678"/>
              <a:ext cx="4762"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48" name="Line 296">
              <a:extLst>
                <a:ext uri="{FF2B5EF4-FFF2-40B4-BE49-F238E27FC236}">
                  <a16:creationId xmlns:a16="http://schemas.microsoft.com/office/drawing/2014/main" id="{CDFF6E6F-6683-4FBD-94B9-CEEEF41BE51E}"/>
                </a:ext>
              </a:extLst>
            </p:cNvPr>
            <p:cNvSpPr>
              <a:spLocks noChangeAspect="1" noChangeShapeType="1"/>
            </p:cNvSpPr>
            <p:nvPr/>
          </p:nvSpPr>
          <p:spPr bwMode="auto">
            <a:xfrm>
              <a:off x="3673476" y="2252029"/>
              <a:ext cx="3175"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49" name="Line 297">
              <a:extLst>
                <a:ext uri="{FF2B5EF4-FFF2-40B4-BE49-F238E27FC236}">
                  <a16:creationId xmlns:a16="http://schemas.microsoft.com/office/drawing/2014/main" id="{F53C1967-0043-42F8-A354-8B2420457471}"/>
                </a:ext>
              </a:extLst>
            </p:cNvPr>
            <p:cNvSpPr>
              <a:spLocks noChangeAspect="1" noChangeShapeType="1"/>
            </p:cNvSpPr>
            <p:nvPr/>
          </p:nvSpPr>
          <p:spPr bwMode="auto">
            <a:xfrm>
              <a:off x="3684589" y="2274254"/>
              <a:ext cx="9525"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50" name="Line 298">
              <a:extLst>
                <a:ext uri="{FF2B5EF4-FFF2-40B4-BE49-F238E27FC236}">
                  <a16:creationId xmlns:a16="http://schemas.microsoft.com/office/drawing/2014/main" id="{8B291375-C3C7-4471-AC11-057027CC8B17}"/>
                </a:ext>
              </a:extLst>
            </p:cNvPr>
            <p:cNvSpPr>
              <a:spLocks noChangeAspect="1" noChangeShapeType="1"/>
            </p:cNvSpPr>
            <p:nvPr/>
          </p:nvSpPr>
          <p:spPr bwMode="auto">
            <a:xfrm>
              <a:off x="3694113" y="2296478"/>
              <a:ext cx="11112"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51" name="Line 299">
              <a:extLst>
                <a:ext uri="{FF2B5EF4-FFF2-40B4-BE49-F238E27FC236}">
                  <a16:creationId xmlns:a16="http://schemas.microsoft.com/office/drawing/2014/main" id="{EA61BD1A-6E30-4CE9-B946-0D94D8A2259A}"/>
                </a:ext>
              </a:extLst>
            </p:cNvPr>
            <p:cNvSpPr>
              <a:spLocks noChangeAspect="1" noChangeShapeType="1"/>
            </p:cNvSpPr>
            <p:nvPr/>
          </p:nvSpPr>
          <p:spPr bwMode="auto">
            <a:xfrm>
              <a:off x="3711575" y="2340929"/>
              <a:ext cx="0"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52" name="Line 300">
              <a:extLst>
                <a:ext uri="{FF2B5EF4-FFF2-40B4-BE49-F238E27FC236}">
                  <a16:creationId xmlns:a16="http://schemas.microsoft.com/office/drawing/2014/main" id="{1BF7F725-6C01-4509-933D-44DED960626C}"/>
                </a:ext>
              </a:extLst>
            </p:cNvPr>
            <p:cNvSpPr>
              <a:spLocks noChangeAspect="1" noChangeShapeType="1"/>
            </p:cNvSpPr>
            <p:nvPr/>
          </p:nvSpPr>
          <p:spPr bwMode="auto">
            <a:xfrm>
              <a:off x="3711576" y="2342515"/>
              <a:ext cx="4763"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53" name="Line 301">
              <a:extLst>
                <a:ext uri="{FF2B5EF4-FFF2-40B4-BE49-F238E27FC236}">
                  <a16:creationId xmlns:a16="http://schemas.microsoft.com/office/drawing/2014/main" id="{E1A5A59E-E9E0-472C-8F98-933A5D99D3DF}"/>
                </a:ext>
              </a:extLst>
            </p:cNvPr>
            <p:cNvSpPr>
              <a:spLocks noChangeAspect="1" noChangeShapeType="1"/>
            </p:cNvSpPr>
            <p:nvPr/>
          </p:nvSpPr>
          <p:spPr bwMode="auto">
            <a:xfrm>
              <a:off x="3716339" y="2356803"/>
              <a:ext cx="7937"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54" name="Line 302">
              <a:extLst>
                <a:ext uri="{FF2B5EF4-FFF2-40B4-BE49-F238E27FC236}">
                  <a16:creationId xmlns:a16="http://schemas.microsoft.com/office/drawing/2014/main" id="{A06CE60E-EE50-4859-A54C-AFBDAA64F043}"/>
                </a:ext>
              </a:extLst>
            </p:cNvPr>
            <p:cNvSpPr>
              <a:spLocks noChangeAspect="1" noChangeShapeType="1"/>
            </p:cNvSpPr>
            <p:nvPr/>
          </p:nvSpPr>
          <p:spPr bwMode="auto">
            <a:xfrm>
              <a:off x="3724276" y="2388554"/>
              <a:ext cx="3175"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55" name="Line 303">
              <a:extLst>
                <a:ext uri="{FF2B5EF4-FFF2-40B4-BE49-F238E27FC236}">
                  <a16:creationId xmlns:a16="http://schemas.microsoft.com/office/drawing/2014/main" id="{5731C16F-ADCB-4377-8696-3F5492B77A88}"/>
                </a:ext>
              </a:extLst>
            </p:cNvPr>
            <p:cNvSpPr>
              <a:spLocks noChangeAspect="1" noChangeShapeType="1"/>
            </p:cNvSpPr>
            <p:nvPr/>
          </p:nvSpPr>
          <p:spPr bwMode="auto">
            <a:xfrm>
              <a:off x="3730626" y="2413954"/>
              <a:ext cx="3175"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56" name="Line 304">
              <a:extLst>
                <a:ext uri="{FF2B5EF4-FFF2-40B4-BE49-F238E27FC236}">
                  <a16:creationId xmlns:a16="http://schemas.microsoft.com/office/drawing/2014/main" id="{C8DC5ADF-41F8-44C7-A585-DA4E737FDF8F}"/>
                </a:ext>
              </a:extLst>
            </p:cNvPr>
            <p:cNvSpPr>
              <a:spLocks noChangeAspect="1" noChangeShapeType="1"/>
            </p:cNvSpPr>
            <p:nvPr/>
          </p:nvSpPr>
          <p:spPr bwMode="auto">
            <a:xfrm>
              <a:off x="3733801" y="2434590"/>
              <a:ext cx="4763"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57" name="Line 305">
              <a:extLst>
                <a:ext uri="{FF2B5EF4-FFF2-40B4-BE49-F238E27FC236}">
                  <a16:creationId xmlns:a16="http://schemas.microsoft.com/office/drawing/2014/main" id="{201BB357-E2AC-470D-8577-4AAB5F5E87E3}"/>
                </a:ext>
              </a:extLst>
            </p:cNvPr>
            <p:cNvSpPr>
              <a:spLocks noChangeAspect="1" noChangeShapeType="1"/>
            </p:cNvSpPr>
            <p:nvPr/>
          </p:nvSpPr>
          <p:spPr bwMode="auto">
            <a:xfrm>
              <a:off x="3740150" y="2486979"/>
              <a:ext cx="1588" cy="396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58" name="Line 306">
              <a:extLst>
                <a:ext uri="{FF2B5EF4-FFF2-40B4-BE49-F238E27FC236}">
                  <a16:creationId xmlns:a16="http://schemas.microsoft.com/office/drawing/2014/main" id="{D26B7F1B-BD6E-4BF4-AF58-F19B1433DA01}"/>
                </a:ext>
              </a:extLst>
            </p:cNvPr>
            <p:cNvSpPr>
              <a:spLocks noChangeAspect="1" noChangeShapeType="1"/>
            </p:cNvSpPr>
            <p:nvPr/>
          </p:nvSpPr>
          <p:spPr bwMode="auto">
            <a:xfrm flipH="1">
              <a:off x="3741739" y="2526665"/>
              <a:ext cx="1587"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59" name="Line 307">
              <a:extLst>
                <a:ext uri="{FF2B5EF4-FFF2-40B4-BE49-F238E27FC236}">
                  <a16:creationId xmlns:a16="http://schemas.microsoft.com/office/drawing/2014/main" id="{35CC9833-1A7A-4A1B-802A-EC44E6CE255B}"/>
                </a:ext>
              </a:extLst>
            </p:cNvPr>
            <p:cNvSpPr>
              <a:spLocks noChangeAspect="1" noChangeShapeType="1"/>
            </p:cNvSpPr>
            <p:nvPr/>
          </p:nvSpPr>
          <p:spPr bwMode="auto">
            <a:xfrm flipH="1">
              <a:off x="3741739" y="2563179"/>
              <a:ext cx="1587"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60" name="Line 308">
              <a:extLst>
                <a:ext uri="{FF2B5EF4-FFF2-40B4-BE49-F238E27FC236}">
                  <a16:creationId xmlns:a16="http://schemas.microsoft.com/office/drawing/2014/main" id="{EF6E5729-84CC-4F50-82FC-A7DD97822273}"/>
                </a:ext>
              </a:extLst>
            </p:cNvPr>
            <p:cNvSpPr>
              <a:spLocks noChangeAspect="1" noChangeShapeType="1"/>
            </p:cNvSpPr>
            <p:nvPr/>
          </p:nvSpPr>
          <p:spPr bwMode="auto">
            <a:xfrm flipH="1">
              <a:off x="3738564" y="2572704"/>
              <a:ext cx="3175"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61" name="Line 309">
              <a:extLst>
                <a:ext uri="{FF2B5EF4-FFF2-40B4-BE49-F238E27FC236}">
                  <a16:creationId xmlns:a16="http://schemas.microsoft.com/office/drawing/2014/main" id="{E5D88BD3-1185-4958-9F23-F57477C0FD23}"/>
                </a:ext>
              </a:extLst>
            </p:cNvPr>
            <p:cNvSpPr>
              <a:spLocks noChangeAspect="1" noChangeShapeType="1"/>
            </p:cNvSpPr>
            <p:nvPr/>
          </p:nvSpPr>
          <p:spPr bwMode="auto">
            <a:xfrm flipH="1">
              <a:off x="3738563" y="2618741"/>
              <a:ext cx="0"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62" name="Line 310">
              <a:extLst>
                <a:ext uri="{FF2B5EF4-FFF2-40B4-BE49-F238E27FC236}">
                  <a16:creationId xmlns:a16="http://schemas.microsoft.com/office/drawing/2014/main" id="{ED51A2D4-C7F7-4406-8BFA-61B9B2FE3DE4}"/>
                </a:ext>
              </a:extLst>
            </p:cNvPr>
            <p:cNvSpPr>
              <a:spLocks noChangeAspect="1" noChangeShapeType="1"/>
            </p:cNvSpPr>
            <p:nvPr/>
          </p:nvSpPr>
          <p:spPr bwMode="auto">
            <a:xfrm flipH="1">
              <a:off x="3730626" y="2637790"/>
              <a:ext cx="4763"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63" name="Line 311">
              <a:extLst>
                <a:ext uri="{FF2B5EF4-FFF2-40B4-BE49-F238E27FC236}">
                  <a16:creationId xmlns:a16="http://schemas.microsoft.com/office/drawing/2014/main" id="{43AE35A4-8404-4AD8-B50A-860225C2DC52}"/>
                </a:ext>
              </a:extLst>
            </p:cNvPr>
            <p:cNvSpPr>
              <a:spLocks noChangeAspect="1" noChangeShapeType="1"/>
            </p:cNvSpPr>
            <p:nvPr/>
          </p:nvSpPr>
          <p:spPr bwMode="auto">
            <a:xfrm flipH="1">
              <a:off x="3724275" y="2664778"/>
              <a:ext cx="6350" cy="301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64" name="Line 312">
              <a:extLst>
                <a:ext uri="{FF2B5EF4-FFF2-40B4-BE49-F238E27FC236}">
                  <a16:creationId xmlns:a16="http://schemas.microsoft.com/office/drawing/2014/main" id="{425F005A-9D95-4D82-A141-D81FE93D369B}"/>
                </a:ext>
              </a:extLst>
            </p:cNvPr>
            <p:cNvSpPr>
              <a:spLocks noChangeAspect="1" noChangeShapeType="1"/>
            </p:cNvSpPr>
            <p:nvPr/>
          </p:nvSpPr>
          <p:spPr bwMode="auto">
            <a:xfrm flipH="1">
              <a:off x="3716338" y="2710815"/>
              <a:ext cx="4762"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65" name="Line 313">
              <a:extLst>
                <a:ext uri="{FF2B5EF4-FFF2-40B4-BE49-F238E27FC236}">
                  <a16:creationId xmlns:a16="http://schemas.microsoft.com/office/drawing/2014/main" id="{0AECD9C3-934B-4A3E-A46D-46B0638E11BE}"/>
                </a:ext>
              </a:extLst>
            </p:cNvPr>
            <p:cNvSpPr>
              <a:spLocks noChangeAspect="1" noChangeShapeType="1"/>
            </p:cNvSpPr>
            <p:nvPr/>
          </p:nvSpPr>
          <p:spPr bwMode="auto">
            <a:xfrm flipH="1">
              <a:off x="3708400" y="2731453"/>
              <a:ext cx="7938"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66" name="Line 314">
              <a:extLst>
                <a:ext uri="{FF2B5EF4-FFF2-40B4-BE49-F238E27FC236}">
                  <a16:creationId xmlns:a16="http://schemas.microsoft.com/office/drawing/2014/main" id="{2A4DDDAE-E533-458B-8EA0-08F4E8822228}"/>
                </a:ext>
              </a:extLst>
            </p:cNvPr>
            <p:cNvSpPr>
              <a:spLocks noChangeAspect="1" noChangeShapeType="1"/>
            </p:cNvSpPr>
            <p:nvPr/>
          </p:nvSpPr>
          <p:spPr bwMode="auto">
            <a:xfrm flipH="1">
              <a:off x="3703638" y="2756854"/>
              <a:ext cx="4762"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67" name="Line 315">
              <a:extLst>
                <a:ext uri="{FF2B5EF4-FFF2-40B4-BE49-F238E27FC236}">
                  <a16:creationId xmlns:a16="http://schemas.microsoft.com/office/drawing/2014/main" id="{A048C972-2E0E-4942-8CD9-69F783D381AF}"/>
                </a:ext>
              </a:extLst>
            </p:cNvPr>
            <p:cNvSpPr>
              <a:spLocks noChangeAspect="1" noChangeShapeType="1"/>
            </p:cNvSpPr>
            <p:nvPr/>
          </p:nvSpPr>
          <p:spPr bwMode="auto">
            <a:xfrm flipH="1">
              <a:off x="3692525" y="2780666"/>
              <a:ext cx="7938"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68" name="Line 316">
              <a:extLst>
                <a:ext uri="{FF2B5EF4-FFF2-40B4-BE49-F238E27FC236}">
                  <a16:creationId xmlns:a16="http://schemas.microsoft.com/office/drawing/2014/main" id="{8701A3C2-2247-4337-A709-FB9265BB7B47}"/>
                </a:ext>
              </a:extLst>
            </p:cNvPr>
            <p:cNvSpPr>
              <a:spLocks noChangeAspect="1" noChangeShapeType="1"/>
            </p:cNvSpPr>
            <p:nvPr/>
          </p:nvSpPr>
          <p:spPr bwMode="auto">
            <a:xfrm flipH="1">
              <a:off x="3678239" y="2802890"/>
              <a:ext cx="14287" cy="333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69" name="Line 317">
              <a:extLst>
                <a:ext uri="{FF2B5EF4-FFF2-40B4-BE49-F238E27FC236}">
                  <a16:creationId xmlns:a16="http://schemas.microsoft.com/office/drawing/2014/main" id="{47442276-F7CF-4B71-B114-E5F4A25259E4}"/>
                </a:ext>
              </a:extLst>
            </p:cNvPr>
            <p:cNvSpPr>
              <a:spLocks noChangeAspect="1" noChangeShapeType="1"/>
            </p:cNvSpPr>
            <p:nvPr/>
          </p:nvSpPr>
          <p:spPr bwMode="auto">
            <a:xfrm flipH="1">
              <a:off x="3668713" y="2847341"/>
              <a:ext cx="4762"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70" name="Line 318">
              <a:extLst>
                <a:ext uri="{FF2B5EF4-FFF2-40B4-BE49-F238E27FC236}">
                  <a16:creationId xmlns:a16="http://schemas.microsoft.com/office/drawing/2014/main" id="{B00974E7-4C56-47A7-94AE-9B52ABF1752E}"/>
                </a:ext>
              </a:extLst>
            </p:cNvPr>
            <p:cNvSpPr>
              <a:spLocks noChangeAspect="1" noChangeShapeType="1"/>
            </p:cNvSpPr>
            <p:nvPr/>
          </p:nvSpPr>
          <p:spPr bwMode="auto">
            <a:xfrm flipH="1">
              <a:off x="3651251" y="2856866"/>
              <a:ext cx="17463" cy="365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71" name="Line 319">
              <a:extLst>
                <a:ext uri="{FF2B5EF4-FFF2-40B4-BE49-F238E27FC236}">
                  <a16:creationId xmlns:a16="http://schemas.microsoft.com/office/drawing/2014/main" id="{ED58E24B-48CA-4CF1-BE85-976533005237}"/>
                </a:ext>
              </a:extLst>
            </p:cNvPr>
            <p:cNvSpPr>
              <a:spLocks noChangeAspect="1" noChangeShapeType="1"/>
            </p:cNvSpPr>
            <p:nvPr/>
          </p:nvSpPr>
          <p:spPr bwMode="auto">
            <a:xfrm flipH="1">
              <a:off x="3648076" y="2893379"/>
              <a:ext cx="3175"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72" name="Line 320">
              <a:extLst>
                <a:ext uri="{FF2B5EF4-FFF2-40B4-BE49-F238E27FC236}">
                  <a16:creationId xmlns:a16="http://schemas.microsoft.com/office/drawing/2014/main" id="{FBFA7FC1-512A-429B-80B6-B4E766DB67EC}"/>
                </a:ext>
              </a:extLst>
            </p:cNvPr>
            <p:cNvSpPr>
              <a:spLocks noChangeAspect="1" noChangeShapeType="1"/>
            </p:cNvSpPr>
            <p:nvPr/>
          </p:nvSpPr>
          <p:spPr bwMode="auto">
            <a:xfrm flipH="1">
              <a:off x="3629026" y="2914016"/>
              <a:ext cx="11113" cy="238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73" name="Line 321">
              <a:extLst>
                <a:ext uri="{FF2B5EF4-FFF2-40B4-BE49-F238E27FC236}">
                  <a16:creationId xmlns:a16="http://schemas.microsoft.com/office/drawing/2014/main" id="{0A1D94C3-40DC-44AE-879A-4F8A0C64770E}"/>
                </a:ext>
              </a:extLst>
            </p:cNvPr>
            <p:cNvSpPr>
              <a:spLocks noChangeAspect="1" noChangeShapeType="1"/>
            </p:cNvSpPr>
            <p:nvPr/>
          </p:nvSpPr>
          <p:spPr bwMode="auto">
            <a:xfrm flipH="1">
              <a:off x="3622675" y="2937829"/>
              <a:ext cx="6350"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74" name="Line 322">
              <a:extLst>
                <a:ext uri="{FF2B5EF4-FFF2-40B4-BE49-F238E27FC236}">
                  <a16:creationId xmlns:a16="http://schemas.microsoft.com/office/drawing/2014/main" id="{9379E305-8136-4569-9BD1-7B7C099A8FF4}"/>
                </a:ext>
              </a:extLst>
            </p:cNvPr>
            <p:cNvSpPr>
              <a:spLocks noChangeAspect="1" noChangeShapeType="1"/>
            </p:cNvSpPr>
            <p:nvPr/>
          </p:nvSpPr>
          <p:spPr bwMode="auto">
            <a:xfrm flipH="1">
              <a:off x="3614739" y="2947353"/>
              <a:ext cx="7937"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75" name="Line 323">
              <a:extLst>
                <a:ext uri="{FF2B5EF4-FFF2-40B4-BE49-F238E27FC236}">
                  <a16:creationId xmlns:a16="http://schemas.microsoft.com/office/drawing/2014/main" id="{A0EBAB0A-FEF0-4A5C-9412-1828F8241EB8}"/>
                </a:ext>
              </a:extLst>
            </p:cNvPr>
            <p:cNvSpPr>
              <a:spLocks noChangeAspect="1" noChangeShapeType="1"/>
            </p:cNvSpPr>
            <p:nvPr/>
          </p:nvSpPr>
          <p:spPr bwMode="auto">
            <a:xfrm flipH="1">
              <a:off x="3605214" y="2977515"/>
              <a:ext cx="3175"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76" name="Line 324">
              <a:extLst>
                <a:ext uri="{FF2B5EF4-FFF2-40B4-BE49-F238E27FC236}">
                  <a16:creationId xmlns:a16="http://schemas.microsoft.com/office/drawing/2014/main" id="{FC8BEEDB-FF21-4DF2-AC96-61E60A704D85}"/>
                </a:ext>
              </a:extLst>
            </p:cNvPr>
            <p:cNvSpPr>
              <a:spLocks noChangeAspect="1" noChangeShapeType="1"/>
            </p:cNvSpPr>
            <p:nvPr/>
          </p:nvSpPr>
          <p:spPr bwMode="auto">
            <a:xfrm flipH="1">
              <a:off x="3581401" y="2983865"/>
              <a:ext cx="23813"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77" name="Line 325">
              <a:extLst>
                <a:ext uri="{FF2B5EF4-FFF2-40B4-BE49-F238E27FC236}">
                  <a16:creationId xmlns:a16="http://schemas.microsoft.com/office/drawing/2014/main" id="{321C470E-DF94-4CCD-9345-D28C9E278193}"/>
                </a:ext>
              </a:extLst>
            </p:cNvPr>
            <p:cNvSpPr>
              <a:spLocks noChangeAspect="1" noChangeShapeType="1"/>
            </p:cNvSpPr>
            <p:nvPr/>
          </p:nvSpPr>
          <p:spPr bwMode="auto">
            <a:xfrm flipH="1">
              <a:off x="3556000" y="3041016"/>
              <a:ext cx="19050"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78" name="Line 326">
              <a:extLst>
                <a:ext uri="{FF2B5EF4-FFF2-40B4-BE49-F238E27FC236}">
                  <a16:creationId xmlns:a16="http://schemas.microsoft.com/office/drawing/2014/main" id="{1EDAB086-D05A-435F-8FB1-7C7DB6659BD6}"/>
                </a:ext>
              </a:extLst>
            </p:cNvPr>
            <p:cNvSpPr>
              <a:spLocks noChangeAspect="1" noChangeShapeType="1"/>
            </p:cNvSpPr>
            <p:nvPr/>
          </p:nvSpPr>
          <p:spPr bwMode="auto">
            <a:xfrm flipH="1">
              <a:off x="3548064" y="3075941"/>
              <a:ext cx="7937"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79" name="Line 327">
              <a:extLst>
                <a:ext uri="{FF2B5EF4-FFF2-40B4-BE49-F238E27FC236}">
                  <a16:creationId xmlns:a16="http://schemas.microsoft.com/office/drawing/2014/main" id="{BF484B67-97D6-450E-B4B6-EE0A23F4240E}"/>
                </a:ext>
              </a:extLst>
            </p:cNvPr>
            <p:cNvSpPr>
              <a:spLocks noChangeAspect="1" noChangeShapeType="1"/>
            </p:cNvSpPr>
            <p:nvPr/>
          </p:nvSpPr>
          <p:spPr bwMode="auto">
            <a:xfrm flipH="1">
              <a:off x="3532189" y="3102928"/>
              <a:ext cx="9525"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80" name="Line 328">
              <a:extLst>
                <a:ext uri="{FF2B5EF4-FFF2-40B4-BE49-F238E27FC236}">
                  <a16:creationId xmlns:a16="http://schemas.microsoft.com/office/drawing/2014/main" id="{931AAFE0-1777-436D-B5A3-FD4B2E6665DB}"/>
                </a:ext>
              </a:extLst>
            </p:cNvPr>
            <p:cNvSpPr>
              <a:spLocks noChangeAspect="1" noChangeShapeType="1"/>
            </p:cNvSpPr>
            <p:nvPr/>
          </p:nvSpPr>
          <p:spPr bwMode="auto">
            <a:xfrm flipH="1">
              <a:off x="3530600" y="3120390"/>
              <a:ext cx="15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81" name="Line 329">
              <a:extLst>
                <a:ext uri="{FF2B5EF4-FFF2-40B4-BE49-F238E27FC236}">
                  <a16:creationId xmlns:a16="http://schemas.microsoft.com/office/drawing/2014/main" id="{B747A5B9-BEC5-4FFF-AF1F-61E0F3AEC304}"/>
                </a:ext>
              </a:extLst>
            </p:cNvPr>
            <p:cNvSpPr>
              <a:spLocks noChangeAspect="1" noChangeShapeType="1"/>
            </p:cNvSpPr>
            <p:nvPr/>
          </p:nvSpPr>
          <p:spPr bwMode="auto">
            <a:xfrm flipH="1">
              <a:off x="3513138" y="3121978"/>
              <a:ext cx="17462"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82" name="Line 330">
              <a:extLst>
                <a:ext uri="{FF2B5EF4-FFF2-40B4-BE49-F238E27FC236}">
                  <a16:creationId xmlns:a16="http://schemas.microsoft.com/office/drawing/2014/main" id="{67700C38-849E-4E81-AAC0-3D2C80395C83}"/>
                </a:ext>
              </a:extLst>
            </p:cNvPr>
            <p:cNvSpPr>
              <a:spLocks noChangeAspect="1" noChangeShapeType="1"/>
            </p:cNvSpPr>
            <p:nvPr/>
          </p:nvSpPr>
          <p:spPr bwMode="auto">
            <a:xfrm flipH="1">
              <a:off x="3505200" y="3166429"/>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83" name="Line 331">
              <a:extLst>
                <a:ext uri="{FF2B5EF4-FFF2-40B4-BE49-F238E27FC236}">
                  <a16:creationId xmlns:a16="http://schemas.microsoft.com/office/drawing/2014/main" id="{936A3B3F-76E6-4C2F-BB28-4CEAA89B00D3}"/>
                </a:ext>
              </a:extLst>
            </p:cNvPr>
            <p:cNvSpPr>
              <a:spLocks noChangeAspect="1" noChangeShapeType="1"/>
            </p:cNvSpPr>
            <p:nvPr/>
          </p:nvSpPr>
          <p:spPr bwMode="auto">
            <a:xfrm flipH="1">
              <a:off x="3486150" y="3168015"/>
              <a:ext cx="19050"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84" name="Line 332">
              <a:extLst>
                <a:ext uri="{FF2B5EF4-FFF2-40B4-BE49-F238E27FC236}">
                  <a16:creationId xmlns:a16="http://schemas.microsoft.com/office/drawing/2014/main" id="{B1466D92-1A68-432E-913F-EC4184922901}"/>
                </a:ext>
              </a:extLst>
            </p:cNvPr>
            <p:cNvSpPr>
              <a:spLocks noChangeAspect="1" noChangeShapeType="1"/>
            </p:cNvSpPr>
            <p:nvPr/>
          </p:nvSpPr>
          <p:spPr bwMode="auto">
            <a:xfrm flipH="1">
              <a:off x="3481388" y="3206115"/>
              <a:ext cx="4762"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85" name="Line 333">
              <a:extLst>
                <a:ext uri="{FF2B5EF4-FFF2-40B4-BE49-F238E27FC236}">
                  <a16:creationId xmlns:a16="http://schemas.microsoft.com/office/drawing/2014/main" id="{076B5BB0-83FA-4D9E-83F6-9E99B30E8280}"/>
                </a:ext>
              </a:extLst>
            </p:cNvPr>
            <p:cNvSpPr>
              <a:spLocks noChangeAspect="1" noChangeShapeType="1"/>
            </p:cNvSpPr>
            <p:nvPr/>
          </p:nvSpPr>
          <p:spPr bwMode="auto">
            <a:xfrm flipH="1">
              <a:off x="3478214" y="3214054"/>
              <a:ext cx="31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86" name="Line 334">
              <a:extLst>
                <a:ext uri="{FF2B5EF4-FFF2-40B4-BE49-F238E27FC236}">
                  <a16:creationId xmlns:a16="http://schemas.microsoft.com/office/drawing/2014/main" id="{B9719960-2954-4EDC-86F5-74220E2BE18E}"/>
                </a:ext>
              </a:extLst>
            </p:cNvPr>
            <p:cNvSpPr>
              <a:spLocks noChangeAspect="1" noChangeShapeType="1"/>
            </p:cNvSpPr>
            <p:nvPr/>
          </p:nvSpPr>
          <p:spPr bwMode="auto">
            <a:xfrm flipH="1">
              <a:off x="3455989" y="3228340"/>
              <a:ext cx="15875"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87" name="Line 335">
              <a:extLst>
                <a:ext uri="{FF2B5EF4-FFF2-40B4-BE49-F238E27FC236}">
                  <a16:creationId xmlns:a16="http://schemas.microsoft.com/office/drawing/2014/main" id="{0A1C81A5-A967-47AD-9445-B813D5D090AA}"/>
                </a:ext>
              </a:extLst>
            </p:cNvPr>
            <p:cNvSpPr>
              <a:spLocks noChangeAspect="1" noChangeShapeType="1"/>
            </p:cNvSpPr>
            <p:nvPr/>
          </p:nvSpPr>
          <p:spPr bwMode="auto">
            <a:xfrm flipH="1">
              <a:off x="3443288" y="3260090"/>
              <a:ext cx="12700"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88" name="Line 336">
              <a:extLst>
                <a:ext uri="{FF2B5EF4-FFF2-40B4-BE49-F238E27FC236}">
                  <a16:creationId xmlns:a16="http://schemas.microsoft.com/office/drawing/2014/main" id="{3718191C-2077-407F-8AA4-49CEA84A9D77}"/>
                </a:ext>
              </a:extLst>
            </p:cNvPr>
            <p:cNvSpPr>
              <a:spLocks noChangeAspect="1" noChangeShapeType="1"/>
            </p:cNvSpPr>
            <p:nvPr/>
          </p:nvSpPr>
          <p:spPr bwMode="auto">
            <a:xfrm flipH="1">
              <a:off x="3425826" y="3290254"/>
              <a:ext cx="9525"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89" name="Line 337">
              <a:extLst>
                <a:ext uri="{FF2B5EF4-FFF2-40B4-BE49-F238E27FC236}">
                  <a16:creationId xmlns:a16="http://schemas.microsoft.com/office/drawing/2014/main" id="{ECB34A53-DAB5-4E4B-B22B-46430927082D}"/>
                </a:ext>
              </a:extLst>
            </p:cNvPr>
            <p:cNvSpPr>
              <a:spLocks noChangeAspect="1" noChangeShapeType="1"/>
            </p:cNvSpPr>
            <p:nvPr/>
          </p:nvSpPr>
          <p:spPr bwMode="auto">
            <a:xfrm flipH="1">
              <a:off x="3403601" y="3306128"/>
              <a:ext cx="22225" cy="301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90" name="Line 338">
              <a:extLst>
                <a:ext uri="{FF2B5EF4-FFF2-40B4-BE49-F238E27FC236}">
                  <a16:creationId xmlns:a16="http://schemas.microsoft.com/office/drawing/2014/main" id="{1426E972-F04C-42B8-B80D-20312C688C33}"/>
                </a:ext>
              </a:extLst>
            </p:cNvPr>
            <p:cNvSpPr>
              <a:spLocks noChangeAspect="1" noChangeShapeType="1"/>
            </p:cNvSpPr>
            <p:nvPr/>
          </p:nvSpPr>
          <p:spPr bwMode="auto">
            <a:xfrm flipH="1">
              <a:off x="3394075" y="3347404"/>
              <a:ext cx="1588"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91" name="Line 339">
              <a:extLst>
                <a:ext uri="{FF2B5EF4-FFF2-40B4-BE49-F238E27FC236}">
                  <a16:creationId xmlns:a16="http://schemas.microsoft.com/office/drawing/2014/main" id="{6AE769A6-2351-4CE9-A0B3-D3EBFB150E87}"/>
                </a:ext>
              </a:extLst>
            </p:cNvPr>
            <p:cNvSpPr>
              <a:spLocks noChangeAspect="1" noChangeShapeType="1"/>
            </p:cNvSpPr>
            <p:nvPr/>
          </p:nvSpPr>
          <p:spPr bwMode="auto">
            <a:xfrm flipH="1">
              <a:off x="3392489" y="3350579"/>
              <a:ext cx="1587"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92" name="Line 340">
              <a:extLst>
                <a:ext uri="{FF2B5EF4-FFF2-40B4-BE49-F238E27FC236}">
                  <a16:creationId xmlns:a16="http://schemas.microsoft.com/office/drawing/2014/main" id="{D10D19FA-CB93-43CB-97E3-3884F038D0DE}"/>
                </a:ext>
              </a:extLst>
            </p:cNvPr>
            <p:cNvSpPr>
              <a:spLocks noChangeAspect="1" noChangeShapeType="1"/>
            </p:cNvSpPr>
            <p:nvPr/>
          </p:nvSpPr>
          <p:spPr bwMode="auto">
            <a:xfrm flipH="1">
              <a:off x="3360738" y="3352166"/>
              <a:ext cx="31750" cy="365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93" name="Line 341">
              <a:extLst>
                <a:ext uri="{FF2B5EF4-FFF2-40B4-BE49-F238E27FC236}">
                  <a16:creationId xmlns:a16="http://schemas.microsoft.com/office/drawing/2014/main" id="{80A0D587-B99B-4346-A943-873D7B79B7F3}"/>
                </a:ext>
              </a:extLst>
            </p:cNvPr>
            <p:cNvSpPr>
              <a:spLocks noChangeAspect="1" noChangeShapeType="1"/>
            </p:cNvSpPr>
            <p:nvPr/>
          </p:nvSpPr>
          <p:spPr bwMode="auto">
            <a:xfrm flipH="1">
              <a:off x="3346451" y="3399790"/>
              <a:ext cx="4763"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94" name="Line 342">
              <a:extLst>
                <a:ext uri="{FF2B5EF4-FFF2-40B4-BE49-F238E27FC236}">
                  <a16:creationId xmlns:a16="http://schemas.microsoft.com/office/drawing/2014/main" id="{6DE6C96D-4318-4481-A198-EE69E072821B}"/>
                </a:ext>
              </a:extLst>
            </p:cNvPr>
            <p:cNvSpPr>
              <a:spLocks noChangeAspect="1" noChangeShapeType="1"/>
            </p:cNvSpPr>
            <p:nvPr/>
          </p:nvSpPr>
          <p:spPr bwMode="auto">
            <a:xfrm flipH="1">
              <a:off x="3309938" y="3401379"/>
              <a:ext cx="36512" cy="333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95" name="Line 343">
              <a:extLst>
                <a:ext uri="{FF2B5EF4-FFF2-40B4-BE49-F238E27FC236}">
                  <a16:creationId xmlns:a16="http://schemas.microsoft.com/office/drawing/2014/main" id="{22B2BC83-7A01-4810-B379-44E66699855C}"/>
                </a:ext>
              </a:extLst>
            </p:cNvPr>
            <p:cNvSpPr>
              <a:spLocks noChangeAspect="1" noChangeShapeType="1"/>
            </p:cNvSpPr>
            <p:nvPr/>
          </p:nvSpPr>
          <p:spPr bwMode="auto">
            <a:xfrm flipH="1">
              <a:off x="3298825" y="3442654"/>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96" name="Line 344">
              <a:extLst>
                <a:ext uri="{FF2B5EF4-FFF2-40B4-BE49-F238E27FC236}">
                  <a16:creationId xmlns:a16="http://schemas.microsoft.com/office/drawing/2014/main" id="{B23293B4-110F-46E5-B027-E16D4D0382C0}"/>
                </a:ext>
              </a:extLst>
            </p:cNvPr>
            <p:cNvSpPr>
              <a:spLocks noChangeAspect="1" noChangeShapeType="1"/>
            </p:cNvSpPr>
            <p:nvPr/>
          </p:nvSpPr>
          <p:spPr bwMode="auto">
            <a:xfrm flipH="1">
              <a:off x="3255963" y="3442654"/>
              <a:ext cx="42862"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97" name="Line 345">
              <a:extLst>
                <a:ext uri="{FF2B5EF4-FFF2-40B4-BE49-F238E27FC236}">
                  <a16:creationId xmlns:a16="http://schemas.microsoft.com/office/drawing/2014/main" id="{52E12C6F-B3A2-4310-9363-FE093B362C2A}"/>
                </a:ext>
              </a:extLst>
            </p:cNvPr>
            <p:cNvSpPr>
              <a:spLocks noChangeAspect="1" noChangeShapeType="1"/>
            </p:cNvSpPr>
            <p:nvPr/>
          </p:nvSpPr>
          <p:spPr bwMode="auto">
            <a:xfrm flipH="1">
              <a:off x="3224214" y="3477578"/>
              <a:ext cx="20637"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98" name="Line 346">
              <a:extLst>
                <a:ext uri="{FF2B5EF4-FFF2-40B4-BE49-F238E27FC236}">
                  <a16:creationId xmlns:a16="http://schemas.microsoft.com/office/drawing/2014/main" id="{F121BC61-D259-4891-B079-DA1E57A7B482}"/>
                </a:ext>
              </a:extLst>
            </p:cNvPr>
            <p:cNvSpPr>
              <a:spLocks noChangeAspect="1" noChangeShapeType="1"/>
            </p:cNvSpPr>
            <p:nvPr/>
          </p:nvSpPr>
          <p:spPr bwMode="auto">
            <a:xfrm flipH="1">
              <a:off x="3209925" y="3488690"/>
              <a:ext cx="14288"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899" name="Line 347">
              <a:extLst>
                <a:ext uri="{FF2B5EF4-FFF2-40B4-BE49-F238E27FC236}">
                  <a16:creationId xmlns:a16="http://schemas.microsoft.com/office/drawing/2014/main" id="{9D4E40D2-7E2E-4FCC-B196-EEEB6F1EA058}"/>
                </a:ext>
              </a:extLst>
            </p:cNvPr>
            <p:cNvSpPr>
              <a:spLocks noChangeAspect="1" noChangeShapeType="1"/>
            </p:cNvSpPr>
            <p:nvPr/>
          </p:nvSpPr>
          <p:spPr bwMode="auto">
            <a:xfrm flipH="1">
              <a:off x="3200401" y="3496629"/>
              <a:ext cx="952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00" name="Line 348">
              <a:extLst>
                <a:ext uri="{FF2B5EF4-FFF2-40B4-BE49-F238E27FC236}">
                  <a16:creationId xmlns:a16="http://schemas.microsoft.com/office/drawing/2014/main" id="{E8BDD0A1-B7D7-4FA9-A72F-F1B809259CB0}"/>
                </a:ext>
              </a:extLst>
            </p:cNvPr>
            <p:cNvSpPr>
              <a:spLocks noChangeAspect="1" noChangeShapeType="1"/>
            </p:cNvSpPr>
            <p:nvPr/>
          </p:nvSpPr>
          <p:spPr bwMode="auto">
            <a:xfrm flipH="1">
              <a:off x="3163888" y="3504566"/>
              <a:ext cx="23812"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01" name="Line 349">
              <a:extLst>
                <a:ext uri="{FF2B5EF4-FFF2-40B4-BE49-F238E27FC236}">
                  <a16:creationId xmlns:a16="http://schemas.microsoft.com/office/drawing/2014/main" id="{CF0B0C75-B94F-4395-8AE7-B044EA207328}"/>
                </a:ext>
              </a:extLst>
            </p:cNvPr>
            <p:cNvSpPr>
              <a:spLocks noChangeAspect="1" noChangeShapeType="1"/>
            </p:cNvSpPr>
            <p:nvPr/>
          </p:nvSpPr>
          <p:spPr bwMode="auto">
            <a:xfrm flipH="1">
              <a:off x="3138488" y="3515678"/>
              <a:ext cx="25400"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02" name="Line 350">
              <a:extLst>
                <a:ext uri="{FF2B5EF4-FFF2-40B4-BE49-F238E27FC236}">
                  <a16:creationId xmlns:a16="http://schemas.microsoft.com/office/drawing/2014/main" id="{6067FA3E-1499-4020-AB2C-1FF8B93DCF39}"/>
                </a:ext>
              </a:extLst>
            </p:cNvPr>
            <p:cNvSpPr>
              <a:spLocks noChangeAspect="1" noChangeShapeType="1"/>
            </p:cNvSpPr>
            <p:nvPr/>
          </p:nvSpPr>
          <p:spPr bwMode="auto">
            <a:xfrm flipH="1">
              <a:off x="3117851" y="3525204"/>
              <a:ext cx="11113"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03" name="Line 351">
              <a:extLst>
                <a:ext uri="{FF2B5EF4-FFF2-40B4-BE49-F238E27FC236}">
                  <a16:creationId xmlns:a16="http://schemas.microsoft.com/office/drawing/2014/main" id="{AE59AE94-73BF-45D1-9F7D-80748846865D}"/>
                </a:ext>
              </a:extLst>
            </p:cNvPr>
            <p:cNvSpPr>
              <a:spLocks noChangeAspect="1" noChangeShapeType="1"/>
            </p:cNvSpPr>
            <p:nvPr/>
          </p:nvSpPr>
          <p:spPr bwMode="auto">
            <a:xfrm flipH="1">
              <a:off x="3078164" y="3526790"/>
              <a:ext cx="39687"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04" name="Line 352">
              <a:extLst>
                <a:ext uri="{FF2B5EF4-FFF2-40B4-BE49-F238E27FC236}">
                  <a16:creationId xmlns:a16="http://schemas.microsoft.com/office/drawing/2014/main" id="{03EA490C-65B7-4D62-9F7A-87D3545C9BED}"/>
                </a:ext>
              </a:extLst>
            </p:cNvPr>
            <p:cNvSpPr>
              <a:spLocks noChangeAspect="1" noChangeShapeType="1"/>
            </p:cNvSpPr>
            <p:nvPr/>
          </p:nvSpPr>
          <p:spPr bwMode="auto">
            <a:xfrm flipH="1">
              <a:off x="3024189" y="3534729"/>
              <a:ext cx="412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05" name="Line 353">
              <a:extLst>
                <a:ext uri="{FF2B5EF4-FFF2-40B4-BE49-F238E27FC236}">
                  <a16:creationId xmlns:a16="http://schemas.microsoft.com/office/drawing/2014/main" id="{FB586476-2145-4912-83AD-DB121A9B1654}"/>
                </a:ext>
              </a:extLst>
            </p:cNvPr>
            <p:cNvSpPr>
              <a:spLocks noChangeAspect="1" noChangeShapeType="1"/>
            </p:cNvSpPr>
            <p:nvPr/>
          </p:nvSpPr>
          <p:spPr bwMode="auto">
            <a:xfrm flipH="1" flipV="1">
              <a:off x="3016250" y="3537904"/>
              <a:ext cx="793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06" name="Line 354">
              <a:extLst>
                <a:ext uri="{FF2B5EF4-FFF2-40B4-BE49-F238E27FC236}">
                  <a16:creationId xmlns:a16="http://schemas.microsoft.com/office/drawing/2014/main" id="{12DFA6A5-C212-4130-9344-9455509E3632}"/>
                </a:ext>
              </a:extLst>
            </p:cNvPr>
            <p:cNvSpPr>
              <a:spLocks noChangeAspect="1" noChangeShapeType="1"/>
            </p:cNvSpPr>
            <p:nvPr/>
          </p:nvSpPr>
          <p:spPr bwMode="auto">
            <a:xfrm flipH="1" flipV="1">
              <a:off x="2978150" y="3534729"/>
              <a:ext cx="25400"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07" name="Line 355">
              <a:extLst>
                <a:ext uri="{FF2B5EF4-FFF2-40B4-BE49-F238E27FC236}">
                  <a16:creationId xmlns:a16="http://schemas.microsoft.com/office/drawing/2014/main" id="{E13E892C-7830-4693-B454-D48C3741806C}"/>
                </a:ext>
              </a:extLst>
            </p:cNvPr>
            <p:cNvSpPr>
              <a:spLocks noChangeAspect="1" noChangeShapeType="1"/>
            </p:cNvSpPr>
            <p:nvPr/>
          </p:nvSpPr>
          <p:spPr bwMode="auto">
            <a:xfrm flipH="1" flipV="1">
              <a:off x="2879725" y="3488690"/>
              <a:ext cx="6350"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08" name="Line 356">
              <a:extLst>
                <a:ext uri="{FF2B5EF4-FFF2-40B4-BE49-F238E27FC236}">
                  <a16:creationId xmlns:a16="http://schemas.microsoft.com/office/drawing/2014/main" id="{BEE08ABB-AF99-4636-9B8E-F76C2E77575B}"/>
                </a:ext>
              </a:extLst>
            </p:cNvPr>
            <p:cNvSpPr>
              <a:spLocks noChangeAspect="1" noChangeShapeType="1"/>
            </p:cNvSpPr>
            <p:nvPr/>
          </p:nvSpPr>
          <p:spPr bwMode="auto">
            <a:xfrm flipH="1" flipV="1">
              <a:off x="2841625" y="3469640"/>
              <a:ext cx="38100"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09" name="Line 357">
              <a:extLst>
                <a:ext uri="{FF2B5EF4-FFF2-40B4-BE49-F238E27FC236}">
                  <a16:creationId xmlns:a16="http://schemas.microsoft.com/office/drawing/2014/main" id="{4EDE080E-E496-4F26-A59C-85698F221ED8}"/>
                </a:ext>
              </a:extLst>
            </p:cNvPr>
            <p:cNvSpPr>
              <a:spLocks noChangeAspect="1" noChangeShapeType="1"/>
            </p:cNvSpPr>
            <p:nvPr/>
          </p:nvSpPr>
          <p:spPr bwMode="auto">
            <a:xfrm flipH="1" flipV="1">
              <a:off x="2800351" y="3442653"/>
              <a:ext cx="28575"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10" name="Line 358">
              <a:extLst>
                <a:ext uri="{FF2B5EF4-FFF2-40B4-BE49-F238E27FC236}">
                  <a16:creationId xmlns:a16="http://schemas.microsoft.com/office/drawing/2014/main" id="{A9F1A1B2-39C1-4A33-84AC-9AE8D821C453}"/>
                </a:ext>
              </a:extLst>
            </p:cNvPr>
            <p:cNvSpPr>
              <a:spLocks noChangeAspect="1" noChangeShapeType="1"/>
            </p:cNvSpPr>
            <p:nvPr/>
          </p:nvSpPr>
          <p:spPr bwMode="auto">
            <a:xfrm flipH="1" flipV="1">
              <a:off x="2794000" y="3437891"/>
              <a:ext cx="6350"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11" name="Line 359">
              <a:extLst>
                <a:ext uri="{FF2B5EF4-FFF2-40B4-BE49-F238E27FC236}">
                  <a16:creationId xmlns:a16="http://schemas.microsoft.com/office/drawing/2014/main" id="{3CC2C9F6-74FC-4A64-AAE5-428685FD9AAF}"/>
                </a:ext>
              </a:extLst>
            </p:cNvPr>
            <p:cNvSpPr>
              <a:spLocks noChangeAspect="1" noChangeShapeType="1"/>
            </p:cNvSpPr>
            <p:nvPr/>
          </p:nvSpPr>
          <p:spPr bwMode="auto">
            <a:xfrm flipH="1" flipV="1">
              <a:off x="2787650" y="3431540"/>
              <a:ext cx="6350"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12" name="Line 360">
              <a:extLst>
                <a:ext uri="{FF2B5EF4-FFF2-40B4-BE49-F238E27FC236}">
                  <a16:creationId xmlns:a16="http://schemas.microsoft.com/office/drawing/2014/main" id="{297FAA14-E605-4893-9095-0ED82F1C0819}"/>
                </a:ext>
              </a:extLst>
            </p:cNvPr>
            <p:cNvSpPr>
              <a:spLocks noChangeAspect="1" noChangeShapeType="1"/>
            </p:cNvSpPr>
            <p:nvPr/>
          </p:nvSpPr>
          <p:spPr bwMode="auto">
            <a:xfrm flipH="1" flipV="1">
              <a:off x="2747964" y="3398203"/>
              <a:ext cx="28575" cy="238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13" name="Line 361">
              <a:extLst>
                <a:ext uri="{FF2B5EF4-FFF2-40B4-BE49-F238E27FC236}">
                  <a16:creationId xmlns:a16="http://schemas.microsoft.com/office/drawing/2014/main" id="{9CE94255-092B-4E29-AB25-CB66773DC3E5}"/>
                </a:ext>
              </a:extLst>
            </p:cNvPr>
            <p:cNvSpPr>
              <a:spLocks noChangeAspect="1" noChangeShapeType="1"/>
            </p:cNvSpPr>
            <p:nvPr/>
          </p:nvSpPr>
          <p:spPr bwMode="auto">
            <a:xfrm flipH="1" flipV="1">
              <a:off x="2746375" y="3396615"/>
              <a:ext cx="15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14" name="Line 362">
              <a:extLst>
                <a:ext uri="{FF2B5EF4-FFF2-40B4-BE49-F238E27FC236}">
                  <a16:creationId xmlns:a16="http://schemas.microsoft.com/office/drawing/2014/main" id="{0BB18D7C-2567-4DD3-BE8D-5C04B61F477D}"/>
                </a:ext>
              </a:extLst>
            </p:cNvPr>
            <p:cNvSpPr>
              <a:spLocks noChangeAspect="1" noChangeShapeType="1"/>
            </p:cNvSpPr>
            <p:nvPr/>
          </p:nvSpPr>
          <p:spPr bwMode="auto">
            <a:xfrm flipH="1" flipV="1">
              <a:off x="2736851" y="3385503"/>
              <a:ext cx="9525"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15" name="Line 363">
              <a:extLst>
                <a:ext uri="{FF2B5EF4-FFF2-40B4-BE49-F238E27FC236}">
                  <a16:creationId xmlns:a16="http://schemas.microsoft.com/office/drawing/2014/main" id="{A063FA10-EC67-4034-B31B-C8E747443058}"/>
                </a:ext>
              </a:extLst>
            </p:cNvPr>
            <p:cNvSpPr>
              <a:spLocks noChangeAspect="1" noChangeShapeType="1"/>
            </p:cNvSpPr>
            <p:nvPr/>
          </p:nvSpPr>
          <p:spPr bwMode="auto">
            <a:xfrm flipH="1" flipV="1">
              <a:off x="2706689" y="3350578"/>
              <a:ext cx="20637"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16" name="Line 364">
              <a:extLst>
                <a:ext uri="{FF2B5EF4-FFF2-40B4-BE49-F238E27FC236}">
                  <a16:creationId xmlns:a16="http://schemas.microsoft.com/office/drawing/2014/main" id="{34F3C327-F0D5-4F86-B298-82039EA690D7}"/>
                </a:ext>
              </a:extLst>
            </p:cNvPr>
            <p:cNvSpPr>
              <a:spLocks noChangeAspect="1" noChangeShapeType="1"/>
            </p:cNvSpPr>
            <p:nvPr/>
          </p:nvSpPr>
          <p:spPr bwMode="auto">
            <a:xfrm flipH="1" flipV="1">
              <a:off x="2701926" y="3345816"/>
              <a:ext cx="4763"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17" name="Line 365">
              <a:extLst>
                <a:ext uri="{FF2B5EF4-FFF2-40B4-BE49-F238E27FC236}">
                  <a16:creationId xmlns:a16="http://schemas.microsoft.com/office/drawing/2014/main" id="{A1CEDF39-96D8-4C68-ACB5-E4D9BC04222F}"/>
                </a:ext>
              </a:extLst>
            </p:cNvPr>
            <p:cNvSpPr>
              <a:spLocks noChangeAspect="1" noChangeShapeType="1"/>
            </p:cNvSpPr>
            <p:nvPr/>
          </p:nvSpPr>
          <p:spPr bwMode="auto">
            <a:xfrm flipH="1" flipV="1">
              <a:off x="2692401" y="3334703"/>
              <a:ext cx="9525"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18" name="Line 366">
              <a:extLst>
                <a:ext uri="{FF2B5EF4-FFF2-40B4-BE49-F238E27FC236}">
                  <a16:creationId xmlns:a16="http://schemas.microsoft.com/office/drawing/2014/main" id="{2110782F-8F62-4C7E-A8F6-C3351894AC01}"/>
                </a:ext>
              </a:extLst>
            </p:cNvPr>
            <p:cNvSpPr>
              <a:spLocks noChangeAspect="1" noChangeShapeType="1"/>
            </p:cNvSpPr>
            <p:nvPr/>
          </p:nvSpPr>
          <p:spPr bwMode="auto">
            <a:xfrm flipH="1" flipV="1">
              <a:off x="2670175" y="3306129"/>
              <a:ext cx="14288"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19" name="Line 367">
              <a:extLst>
                <a:ext uri="{FF2B5EF4-FFF2-40B4-BE49-F238E27FC236}">
                  <a16:creationId xmlns:a16="http://schemas.microsoft.com/office/drawing/2014/main" id="{5859B1D0-F430-4151-905B-0D1AEDC7F912}"/>
                </a:ext>
              </a:extLst>
            </p:cNvPr>
            <p:cNvSpPr>
              <a:spLocks noChangeAspect="1" noChangeShapeType="1"/>
            </p:cNvSpPr>
            <p:nvPr/>
          </p:nvSpPr>
          <p:spPr bwMode="auto">
            <a:xfrm flipH="1" flipV="1">
              <a:off x="2655889" y="3282316"/>
              <a:ext cx="14287" cy="238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20" name="Line 368">
              <a:extLst>
                <a:ext uri="{FF2B5EF4-FFF2-40B4-BE49-F238E27FC236}">
                  <a16:creationId xmlns:a16="http://schemas.microsoft.com/office/drawing/2014/main" id="{F45A225F-3B27-49C2-BC8A-135461EF1281}"/>
                </a:ext>
              </a:extLst>
            </p:cNvPr>
            <p:cNvSpPr>
              <a:spLocks noChangeAspect="1" noChangeShapeType="1"/>
            </p:cNvSpPr>
            <p:nvPr/>
          </p:nvSpPr>
          <p:spPr bwMode="auto">
            <a:xfrm flipH="1" flipV="1">
              <a:off x="2652714" y="3275965"/>
              <a:ext cx="3175"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21" name="Line 369">
              <a:extLst>
                <a:ext uri="{FF2B5EF4-FFF2-40B4-BE49-F238E27FC236}">
                  <a16:creationId xmlns:a16="http://schemas.microsoft.com/office/drawing/2014/main" id="{C44CFD7E-CC13-4466-ADFC-03235451A23D}"/>
                </a:ext>
              </a:extLst>
            </p:cNvPr>
            <p:cNvSpPr>
              <a:spLocks noChangeAspect="1" noChangeShapeType="1"/>
            </p:cNvSpPr>
            <p:nvPr/>
          </p:nvSpPr>
          <p:spPr bwMode="auto">
            <a:xfrm flipH="1" flipV="1">
              <a:off x="2643189" y="3260091"/>
              <a:ext cx="1587"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22" name="Line 370">
              <a:extLst>
                <a:ext uri="{FF2B5EF4-FFF2-40B4-BE49-F238E27FC236}">
                  <a16:creationId xmlns:a16="http://schemas.microsoft.com/office/drawing/2014/main" id="{2915E528-F841-4D87-9BCF-C2554659FFBE}"/>
                </a:ext>
              </a:extLst>
            </p:cNvPr>
            <p:cNvSpPr>
              <a:spLocks noChangeAspect="1" noChangeShapeType="1"/>
            </p:cNvSpPr>
            <p:nvPr/>
          </p:nvSpPr>
          <p:spPr bwMode="auto">
            <a:xfrm flipH="1" flipV="1">
              <a:off x="2617788" y="3214054"/>
              <a:ext cx="25400"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23" name="Line 371">
              <a:extLst>
                <a:ext uri="{FF2B5EF4-FFF2-40B4-BE49-F238E27FC236}">
                  <a16:creationId xmlns:a16="http://schemas.microsoft.com/office/drawing/2014/main" id="{1BE19300-6550-4A71-B80D-282FEB691D86}"/>
                </a:ext>
              </a:extLst>
            </p:cNvPr>
            <p:cNvSpPr>
              <a:spLocks noChangeAspect="1" noChangeShapeType="1"/>
            </p:cNvSpPr>
            <p:nvPr/>
          </p:nvSpPr>
          <p:spPr bwMode="auto">
            <a:xfrm flipH="1" flipV="1">
              <a:off x="2609850" y="3199765"/>
              <a:ext cx="1588"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24" name="Line 372">
              <a:extLst>
                <a:ext uri="{FF2B5EF4-FFF2-40B4-BE49-F238E27FC236}">
                  <a16:creationId xmlns:a16="http://schemas.microsoft.com/office/drawing/2014/main" id="{D6204F1C-A080-4A82-A83C-0F1314382809}"/>
                </a:ext>
              </a:extLst>
            </p:cNvPr>
            <p:cNvSpPr>
              <a:spLocks noChangeAspect="1" noChangeShapeType="1"/>
            </p:cNvSpPr>
            <p:nvPr/>
          </p:nvSpPr>
          <p:spPr bwMode="auto">
            <a:xfrm flipH="1" flipV="1">
              <a:off x="2595564" y="3168015"/>
              <a:ext cx="14287"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25" name="Line 373">
              <a:extLst>
                <a:ext uri="{FF2B5EF4-FFF2-40B4-BE49-F238E27FC236}">
                  <a16:creationId xmlns:a16="http://schemas.microsoft.com/office/drawing/2014/main" id="{938A001F-AAD6-4857-8FF9-D449F304AC37}"/>
                </a:ext>
              </a:extLst>
            </p:cNvPr>
            <p:cNvSpPr>
              <a:spLocks noChangeAspect="1" noChangeShapeType="1"/>
            </p:cNvSpPr>
            <p:nvPr/>
          </p:nvSpPr>
          <p:spPr bwMode="auto">
            <a:xfrm flipH="1" flipV="1">
              <a:off x="2587625" y="3148965"/>
              <a:ext cx="7938"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26" name="Line 374">
              <a:extLst>
                <a:ext uri="{FF2B5EF4-FFF2-40B4-BE49-F238E27FC236}">
                  <a16:creationId xmlns:a16="http://schemas.microsoft.com/office/drawing/2014/main" id="{FBFA0A74-BCC9-4FDC-A666-271CEEA68AC0}"/>
                </a:ext>
              </a:extLst>
            </p:cNvPr>
            <p:cNvSpPr>
              <a:spLocks noChangeAspect="1" noChangeShapeType="1"/>
            </p:cNvSpPr>
            <p:nvPr/>
          </p:nvSpPr>
          <p:spPr bwMode="auto">
            <a:xfrm flipH="1" flipV="1">
              <a:off x="2576513" y="3121979"/>
              <a:ext cx="4762"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27" name="Line 375">
              <a:extLst>
                <a:ext uri="{FF2B5EF4-FFF2-40B4-BE49-F238E27FC236}">
                  <a16:creationId xmlns:a16="http://schemas.microsoft.com/office/drawing/2014/main" id="{69CBD00B-74EA-43EF-9E40-BE014C64F0D5}"/>
                </a:ext>
              </a:extLst>
            </p:cNvPr>
            <p:cNvSpPr>
              <a:spLocks noChangeAspect="1" noChangeShapeType="1"/>
            </p:cNvSpPr>
            <p:nvPr/>
          </p:nvSpPr>
          <p:spPr bwMode="auto">
            <a:xfrm flipH="1" flipV="1">
              <a:off x="2563813" y="3090228"/>
              <a:ext cx="12700"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28" name="Line 376">
              <a:extLst>
                <a:ext uri="{FF2B5EF4-FFF2-40B4-BE49-F238E27FC236}">
                  <a16:creationId xmlns:a16="http://schemas.microsoft.com/office/drawing/2014/main" id="{39C172D5-C6DF-479B-BB74-979CC2E65B37}"/>
                </a:ext>
              </a:extLst>
            </p:cNvPr>
            <p:cNvSpPr>
              <a:spLocks noChangeAspect="1" noChangeShapeType="1"/>
            </p:cNvSpPr>
            <p:nvPr/>
          </p:nvSpPr>
          <p:spPr bwMode="auto">
            <a:xfrm flipH="1" flipV="1">
              <a:off x="2560639" y="3080704"/>
              <a:ext cx="3175"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29" name="Line 377">
              <a:extLst>
                <a:ext uri="{FF2B5EF4-FFF2-40B4-BE49-F238E27FC236}">
                  <a16:creationId xmlns:a16="http://schemas.microsoft.com/office/drawing/2014/main" id="{90FB77C5-0433-4FA6-987C-2BEC987F5877}"/>
                </a:ext>
              </a:extLst>
            </p:cNvPr>
            <p:cNvSpPr>
              <a:spLocks noChangeAspect="1" noChangeShapeType="1"/>
            </p:cNvSpPr>
            <p:nvPr/>
          </p:nvSpPr>
          <p:spPr bwMode="auto">
            <a:xfrm flipH="1" flipV="1">
              <a:off x="2544763" y="3029903"/>
              <a:ext cx="11112" cy="365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30" name="Line 378">
              <a:extLst>
                <a:ext uri="{FF2B5EF4-FFF2-40B4-BE49-F238E27FC236}">
                  <a16:creationId xmlns:a16="http://schemas.microsoft.com/office/drawing/2014/main" id="{817A569B-6F05-426E-8C5E-38BD02C0D486}"/>
                </a:ext>
              </a:extLst>
            </p:cNvPr>
            <p:cNvSpPr>
              <a:spLocks noChangeAspect="1" noChangeShapeType="1"/>
            </p:cNvSpPr>
            <p:nvPr/>
          </p:nvSpPr>
          <p:spPr bwMode="auto">
            <a:xfrm flipH="1" flipV="1">
              <a:off x="2536825" y="3010853"/>
              <a:ext cx="7938"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31" name="Line 379">
              <a:extLst>
                <a:ext uri="{FF2B5EF4-FFF2-40B4-BE49-F238E27FC236}">
                  <a16:creationId xmlns:a16="http://schemas.microsoft.com/office/drawing/2014/main" id="{6FE96BD0-4F1D-4970-8278-C2ABB83E6C38}"/>
                </a:ext>
              </a:extLst>
            </p:cNvPr>
            <p:cNvSpPr>
              <a:spLocks noChangeAspect="1" noChangeShapeType="1"/>
            </p:cNvSpPr>
            <p:nvPr/>
          </p:nvSpPr>
          <p:spPr bwMode="auto">
            <a:xfrm flipH="1" flipV="1">
              <a:off x="2530476" y="2983865"/>
              <a:ext cx="4763"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32" name="Line 380">
              <a:extLst>
                <a:ext uri="{FF2B5EF4-FFF2-40B4-BE49-F238E27FC236}">
                  <a16:creationId xmlns:a16="http://schemas.microsoft.com/office/drawing/2014/main" id="{EDBD4384-B968-46D9-8FBE-016C9A587F1D}"/>
                </a:ext>
              </a:extLst>
            </p:cNvPr>
            <p:cNvSpPr>
              <a:spLocks noChangeAspect="1" noChangeShapeType="1"/>
            </p:cNvSpPr>
            <p:nvPr/>
          </p:nvSpPr>
          <p:spPr bwMode="auto">
            <a:xfrm flipH="1" flipV="1">
              <a:off x="2519363" y="2937829"/>
              <a:ext cx="11112"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33" name="Line 381">
              <a:extLst>
                <a:ext uri="{FF2B5EF4-FFF2-40B4-BE49-F238E27FC236}">
                  <a16:creationId xmlns:a16="http://schemas.microsoft.com/office/drawing/2014/main" id="{D9FF1095-4B8E-49BC-ABE6-7D9B3AD0AF74}"/>
                </a:ext>
              </a:extLst>
            </p:cNvPr>
            <p:cNvSpPr>
              <a:spLocks noChangeAspect="1" noChangeShapeType="1"/>
            </p:cNvSpPr>
            <p:nvPr/>
          </p:nvSpPr>
          <p:spPr bwMode="auto">
            <a:xfrm flipH="1" flipV="1">
              <a:off x="2508250" y="2893378"/>
              <a:ext cx="7938" cy="301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34" name="Line 382">
              <a:extLst>
                <a:ext uri="{FF2B5EF4-FFF2-40B4-BE49-F238E27FC236}">
                  <a16:creationId xmlns:a16="http://schemas.microsoft.com/office/drawing/2014/main" id="{8827B207-5C8A-4D57-9516-F402BF76813B}"/>
                </a:ext>
              </a:extLst>
            </p:cNvPr>
            <p:cNvSpPr>
              <a:spLocks noChangeAspect="1" noChangeShapeType="1"/>
            </p:cNvSpPr>
            <p:nvPr/>
          </p:nvSpPr>
          <p:spPr bwMode="auto">
            <a:xfrm flipH="1" flipV="1">
              <a:off x="2505076" y="2866390"/>
              <a:ext cx="3175"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35" name="Line 383">
              <a:extLst>
                <a:ext uri="{FF2B5EF4-FFF2-40B4-BE49-F238E27FC236}">
                  <a16:creationId xmlns:a16="http://schemas.microsoft.com/office/drawing/2014/main" id="{8FAEA06C-44C9-4F12-9A7F-53B3E5DA8747}"/>
                </a:ext>
              </a:extLst>
            </p:cNvPr>
            <p:cNvSpPr>
              <a:spLocks noChangeAspect="1" noChangeShapeType="1"/>
            </p:cNvSpPr>
            <p:nvPr/>
          </p:nvSpPr>
          <p:spPr bwMode="auto">
            <a:xfrm flipH="1" flipV="1">
              <a:off x="2500314" y="2847341"/>
              <a:ext cx="1587"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36" name="Line 384">
              <a:extLst>
                <a:ext uri="{FF2B5EF4-FFF2-40B4-BE49-F238E27FC236}">
                  <a16:creationId xmlns:a16="http://schemas.microsoft.com/office/drawing/2014/main" id="{E3ECD330-7620-4BA0-89A3-C1EA0D046CEA}"/>
                </a:ext>
              </a:extLst>
            </p:cNvPr>
            <p:cNvSpPr>
              <a:spLocks noChangeAspect="1" noChangeShapeType="1"/>
            </p:cNvSpPr>
            <p:nvPr/>
          </p:nvSpPr>
          <p:spPr bwMode="auto">
            <a:xfrm flipH="1" flipV="1">
              <a:off x="2495551" y="2802890"/>
              <a:ext cx="4763"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37" name="Line 385">
              <a:extLst>
                <a:ext uri="{FF2B5EF4-FFF2-40B4-BE49-F238E27FC236}">
                  <a16:creationId xmlns:a16="http://schemas.microsoft.com/office/drawing/2014/main" id="{A29141ED-18A2-40F4-BE6A-5EF18C8E43FF}"/>
                </a:ext>
              </a:extLst>
            </p:cNvPr>
            <p:cNvSpPr>
              <a:spLocks noChangeAspect="1" noChangeShapeType="1"/>
            </p:cNvSpPr>
            <p:nvPr/>
          </p:nvSpPr>
          <p:spPr bwMode="auto">
            <a:xfrm flipH="1" flipV="1">
              <a:off x="2493964" y="2791778"/>
              <a:ext cx="1587"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38" name="Line 386">
              <a:extLst>
                <a:ext uri="{FF2B5EF4-FFF2-40B4-BE49-F238E27FC236}">
                  <a16:creationId xmlns:a16="http://schemas.microsoft.com/office/drawing/2014/main" id="{E2DA3599-0FE4-4189-ACEB-9767B9233EC8}"/>
                </a:ext>
              </a:extLst>
            </p:cNvPr>
            <p:cNvSpPr>
              <a:spLocks noChangeAspect="1" noChangeShapeType="1"/>
            </p:cNvSpPr>
            <p:nvPr/>
          </p:nvSpPr>
          <p:spPr bwMode="auto">
            <a:xfrm flipH="1" flipV="1">
              <a:off x="2490789" y="2756853"/>
              <a:ext cx="1587"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39" name="Line 387">
              <a:extLst>
                <a:ext uri="{FF2B5EF4-FFF2-40B4-BE49-F238E27FC236}">
                  <a16:creationId xmlns:a16="http://schemas.microsoft.com/office/drawing/2014/main" id="{00076280-3090-405E-97C2-B1FCF9119A31}"/>
                </a:ext>
              </a:extLst>
            </p:cNvPr>
            <p:cNvSpPr>
              <a:spLocks noChangeAspect="1" noChangeShapeType="1"/>
            </p:cNvSpPr>
            <p:nvPr/>
          </p:nvSpPr>
          <p:spPr bwMode="auto">
            <a:xfrm flipH="1" flipV="1">
              <a:off x="2489200" y="2715579"/>
              <a:ext cx="1588" cy="412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40" name="Line 388">
              <a:extLst>
                <a:ext uri="{FF2B5EF4-FFF2-40B4-BE49-F238E27FC236}">
                  <a16:creationId xmlns:a16="http://schemas.microsoft.com/office/drawing/2014/main" id="{62D664B9-B342-4159-B640-4DE645159970}"/>
                </a:ext>
              </a:extLst>
            </p:cNvPr>
            <p:cNvSpPr>
              <a:spLocks noChangeAspect="1" noChangeShapeType="1"/>
            </p:cNvSpPr>
            <p:nvPr/>
          </p:nvSpPr>
          <p:spPr bwMode="auto">
            <a:xfrm flipH="1" flipV="1">
              <a:off x="2487614" y="2664778"/>
              <a:ext cx="1587" cy="365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41" name="Line 389">
              <a:extLst>
                <a:ext uri="{FF2B5EF4-FFF2-40B4-BE49-F238E27FC236}">
                  <a16:creationId xmlns:a16="http://schemas.microsoft.com/office/drawing/2014/main" id="{2B82CF5E-666E-4745-875D-85C1FA8DDCFB}"/>
                </a:ext>
              </a:extLst>
            </p:cNvPr>
            <p:cNvSpPr>
              <a:spLocks noChangeAspect="1" noChangeShapeType="1"/>
            </p:cNvSpPr>
            <p:nvPr/>
          </p:nvSpPr>
          <p:spPr bwMode="auto">
            <a:xfrm flipV="1">
              <a:off x="2487614" y="2640966"/>
              <a:ext cx="1587" cy="238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42" name="Line 390">
              <a:extLst>
                <a:ext uri="{FF2B5EF4-FFF2-40B4-BE49-F238E27FC236}">
                  <a16:creationId xmlns:a16="http://schemas.microsoft.com/office/drawing/2014/main" id="{24A9FB49-BB44-48A8-A378-DA2BE41E5562}"/>
                </a:ext>
              </a:extLst>
            </p:cNvPr>
            <p:cNvSpPr>
              <a:spLocks noChangeAspect="1" noChangeShapeType="1"/>
            </p:cNvSpPr>
            <p:nvPr/>
          </p:nvSpPr>
          <p:spPr bwMode="auto">
            <a:xfrm flipV="1">
              <a:off x="2487614" y="2618740"/>
              <a:ext cx="1587"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43" name="Line 391">
              <a:extLst>
                <a:ext uri="{FF2B5EF4-FFF2-40B4-BE49-F238E27FC236}">
                  <a16:creationId xmlns:a16="http://schemas.microsoft.com/office/drawing/2014/main" id="{A3316D27-9935-49C9-BEF0-923977EACDBD}"/>
                </a:ext>
              </a:extLst>
            </p:cNvPr>
            <p:cNvSpPr>
              <a:spLocks noChangeAspect="1" noChangeShapeType="1"/>
            </p:cNvSpPr>
            <p:nvPr/>
          </p:nvSpPr>
          <p:spPr bwMode="auto">
            <a:xfrm flipV="1">
              <a:off x="2487614" y="2572704"/>
              <a:ext cx="3175"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44" name="Line 392">
              <a:extLst>
                <a:ext uri="{FF2B5EF4-FFF2-40B4-BE49-F238E27FC236}">
                  <a16:creationId xmlns:a16="http://schemas.microsoft.com/office/drawing/2014/main" id="{3CB237FC-3766-4AE5-9904-31E6079E1F50}"/>
                </a:ext>
              </a:extLst>
            </p:cNvPr>
            <p:cNvSpPr>
              <a:spLocks noChangeAspect="1" noChangeShapeType="1"/>
            </p:cNvSpPr>
            <p:nvPr/>
          </p:nvSpPr>
          <p:spPr bwMode="auto">
            <a:xfrm flipV="1">
              <a:off x="2490788" y="2566353"/>
              <a:ext cx="0"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45" name="Line 393">
              <a:extLst>
                <a:ext uri="{FF2B5EF4-FFF2-40B4-BE49-F238E27FC236}">
                  <a16:creationId xmlns:a16="http://schemas.microsoft.com/office/drawing/2014/main" id="{85A83F89-CCC3-4FBA-8CBE-C56DA8C65345}"/>
                </a:ext>
              </a:extLst>
            </p:cNvPr>
            <p:cNvSpPr>
              <a:spLocks noChangeAspect="1" noChangeShapeType="1"/>
            </p:cNvSpPr>
            <p:nvPr/>
          </p:nvSpPr>
          <p:spPr bwMode="auto">
            <a:xfrm flipV="1">
              <a:off x="2490789" y="2526666"/>
              <a:ext cx="3175" cy="238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46" name="Line 394">
              <a:extLst>
                <a:ext uri="{FF2B5EF4-FFF2-40B4-BE49-F238E27FC236}">
                  <a16:creationId xmlns:a16="http://schemas.microsoft.com/office/drawing/2014/main" id="{8BEE7B54-F766-4B18-A9C7-4AF45BDECC9C}"/>
                </a:ext>
              </a:extLst>
            </p:cNvPr>
            <p:cNvSpPr>
              <a:spLocks noChangeAspect="1" noChangeShapeType="1"/>
            </p:cNvSpPr>
            <p:nvPr/>
          </p:nvSpPr>
          <p:spPr bwMode="auto">
            <a:xfrm flipV="1">
              <a:off x="2493963" y="2491741"/>
              <a:ext cx="4762"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47" name="Line 395">
              <a:extLst>
                <a:ext uri="{FF2B5EF4-FFF2-40B4-BE49-F238E27FC236}">
                  <a16:creationId xmlns:a16="http://schemas.microsoft.com/office/drawing/2014/main" id="{F75A8608-057B-4B03-AE14-3F8C3CB6F09A}"/>
                </a:ext>
              </a:extLst>
            </p:cNvPr>
            <p:cNvSpPr>
              <a:spLocks noChangeAspect="1" noChangeShapeType="1"/>
            </p:cNvSpPr>
            <p:nvPr/>
          </p:nvSpPr>
          <p:spPr bwMode="auto">
            <a:xfrm flipV="1">
              <a:off x="2500314" y="2434591"/>
              <a:ext cx="7937" cy="428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48" name="Line 396">
              <a:extLst>
                <a:ext uri="{FF2B5EF4-FFF2-40B4-BE49-F238E27FC236}">
                  <a16:creationId xmlns:a16="http://schemas.microsoft.com/office/drawing/2014/main" id="{2814CA21-BC4D-4B03-B61B-EBB009DD1CFE}"/>
                </a:ext>
              </a:extLst>
            </p:cNvPr>
            <p:cNvSpPr>
              <a:spLocks noChangeAspect="1" noChangeShapeType="1"/>
            </p:cNvSpPr>
            <p:nvPr/>
          </p:nvSpPr>
          <p:spPr bwMode="auto">
            <a:xfrm flipV="1">
              <a:off x="2508250" y="2417128"/>
              <a:ext cx="1588"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49" name="Line 397">
              <a:extLst>
                <a:ext uri="{FF2B5EF4-FFF2-40B4-BE49-F238E27FC236}">
                  <a16:creationId xmlns:a16="http://schemas.microsoft.com/office/drawing/2014/main" id="{8B65A24F-FBB0-465E-BE46-FEEB067D3CD0}"/>
                </a:ext>
              </a:extLst>
            </p:cNvPr>
            <p:cNvSpPr>
              <a:spLocks noChangeAspect="1" noChangeShapeType="1"/>
            </p:cNvSpPr>
            <p:nvPr/>
          </p:nvSpPr>
          <p:spPr bwMode="auto">
            <a:xfrm flipV="1">
              <a:off x="2514601" y="2388554"/>
              <a:ext cx="3175"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50" name="Line 398">
              <a:extLst>
                <a:ext uri="{FF2B5EF4-FFF2-40B4-BE49-F238E27FC236}">
                  <a16:creationId xmlns:a16="http://schemas.microsoft.com/office/drawing/2014/main" id="{E9E1CDD4-CFA5-4D51-A27B-AC5DDFD66B4A}"/>
                </a:ext>
              </a:extLst>
            </p:cNvPr>
            <p:cNvSpPr>
              <a:spLocks noChangeAspect="1" noChangeShapeType="1"/>
            </p:cNvSpPr>
            <p:nvPr/>
          </p:nvSpPr>
          <p:spPr bwMode="auto">
            <a:xfrm flipV="1">
              <a:off x="2517775" y="2386965"/>
              <a:ext cx="0"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51" name="Line 399">
              <a:extLst>
                <a:ext uri="{FF2B5EF4-FFF2-40B4-BE49-F238E27FC236}">
                  <a16:creationId xmlns:a16="http://schemas.microsoft.com/office/drawing/2014/main" id="{56E54110-42AC-4A7F-8602-E6D073268ECA}"/>
                </a:ext>
              </a:extLst>
            </p:cNvPr>
            <p:cNvSpPr>
              <a:spLocks noChangeAspect="1" noChangeShapeType="1"/>
            </p:cNvSpPr>
            <p:nvPr/>
          </p:nvSpPr>
          <p:spPr bwMode="auto">
            <a:xfrm flipV="1">
              <a:off x="2517776" y="2345691"/>
              <a:ext cx="9525" cy="412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52" name="Line 400">
              <a:extLst>
                <a:ext uri="{FF2B5EF4-FFF2-40B4-BE49-F238E27FC236}">
                  <a16:creationId xmlns:a16="http://schemas.microsoft.com/office/drawing/2014/main" id="{80ADFECE-ADF1-4AE7-B9E8-D81983C8A28D}"/>
                </a:ext>
              </a:extLst>
            </p:cNvPr>
            <p:cNvSpPr>
              <a:spLocks noChangeAspect="1" noChangeShapeType="1"/>
            </p:cNvSpPr>
            <p:nvPr/>
          </p:nvSpPr>
          <p:spPr bwMode="auto">
            <a:xfrm flipV="1">
              <a:off x="2532064" y="2296479"/>
              <a:ext cx="9525"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53" name="Line 401">
              <a:extLst>
                <a:ext uri="{FF2B5EF4-FFF2-40B4-BE49-F238E27FC236}">
                  <a16:creationId xmlns:a16="http://schemas.microsoft.com/office/drawing/2014/main" id="{6099F3E5-C557-4258-B6CE-9AE41081A71A}"/>
                </a:ext>
              </a:extLst>
            </p:cNvPr>
            <p:cNvSpPr>
              <a:spLocks noChangeAspect="1" noChangeShapeType="1"/>
            </p:cNvSpPr>
            <p:nvPr/>
          </p:nvSpPr>
          <p:spPr bwMode="auto">
            <a:xfrm flipV="1">
              <a:off x="2541589" y="2275840"/>
              <a:ext cx="7937"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54" name="Line 402">
              <a:extLst>
                <a:ext uri="{FF2B5EF4-FFF2-40B4-BE49-F238E27FC236}">
                  <a16:creationId xmlns:a16="http://schemas.microsoft.com/office/drawing/2014/main" id="{3C8BDC5E-50DD-4DFE-9C33-5E042D7954A4}"/>
                </a:ext>
              </a:extLst>
            </p:cNvPr>
            <p:cNvSpPr>
              <a:spLocks noChangeAspect="1" noChangeShapeType="1"/>
            </p:cNvSpPr>
            <p:nvPr/>
          </p:nvSpPr>
          <p:spPr bwMode="auto">
            <a:xfrm flipV="1">
              <a:off x="2554288" y="2250441"/>
              <a:ext cx="4762"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55" name="Line 403">
              <a:extLst>
                <a:ext uri="{FF2B5EF4-FFF2-40B4-BE49-F238E27FC236}">
                  <a16:creationId xmlns:a16="http://schemas.microsoft.com/office/drawing/2014/main" id="{4B64E310-EFED-412F-801E-6987084392B4}"/>
                </a:ext>
              </a:extLst>
            </p:cNvPr>
            <p:cNvSpPr>
              <a:spLocks noChangeAspect="1" noChangeShapeType="1"/>
            </p:cNvSpPr>
            <p:nvPr/>
          </p:nvSpPr>
          <p:spPr bwMode="auto">
            <a:xfrm flipV="1">
              <a:off x="2559051" y="2239328"/>
              <a:ext cx="4763"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56" name="Line 404">
              <a:extLst>
                <a:ext uri="{FF2B5EF4-FFF2-40B4-BE49-F238E27FC236}">
                  <a16:creationId xmlns:a16="http://schemas.microsoft.com/office/drawing/2014/main" id="{1C607AF6-2C4D-4565-B837-A3AE2A9A637E}"/>
                </a:ext>
              </a:extLst>
            </p:cNvPr>
            <p:cNvSpPr>
              <a:spLocks noChangeAspect="1" noChangeShapeType="1"/>
            </p:cNvSpPr>
            <p:nvPr/>
          </p:nvSpPr>
          <p:spPr bwMode="auto">
            <a:xfrm flipV="1">
              <a:off x="2563813" y="2205990"/>
              <a:ext cx="12700" cy="333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57" name="Line 405">
              <a:extLst>
                <a:ext uri="{FF2B5EF4-FFF2-40B4-BE49-F238E27FC236}">
                  <a16:creationId xmlns:a16="http://schemas.microsoft.com/office/drawing/2014/main" id="{8FC4756D-1711-4EE2-8154-A24790C68384}"/>
                </a:ext>
              </a:extLst>
            </p:cNvPr>
            <p:cNvSpPr>
              <a:spLocks noChangeAspect="1" noChangeShapeType="1"/>
            </p:cNvSpPr>
            <p:nvPr/>
          </p:nvSpPr>
          <p:spPr bwMode="auto">
            <a:xfrm flipV="1">
              <a:off x="2582864" y="2159954"/>
              <a:ext cx="15875"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58" name="Line 406">
              <a:extLst>
                <a:ext uri="{FF2B5EF4-FFF2-40B4-BE49-F238E27FC236}">
                  <a16:creationId xmlns:a16="http://schemas.microsoft.com/office/drawing/2014/main" id="{3D48B4F3-89B4-4A12-BDDC-7B7AF69CEC5C}"/>
                </a:ext>
              </a:extLst>
            </p:cNvPr>
            <p:cNvSpPr>
              <a:spLocks noChangeAspect="1" noChangeShapeType="1"/>
            </p:cNvSpPr>
            <p:nvPr/>
          </p:nvSpPr>
          <p:spPr bwMode="auto">
            <a:xfrm flipV="1">
              <a:off x="2598739" y="2142491"/>
              <a:ext cx="9525"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59" name="Line 407">
              <a:extLst>
                <a:ext uri="{FF2B5EF4-FFF2-40B4-BE49-F238E27FC236}">
                  <a16:creationId xmlns:a16="http://schemas.microsoft.com/office/drawing/2014/main" id="{E934F36C-DA25-41A9-8E8D-08189916CD57}"/>
                </a:ext>
              </a:extLst>
            </p:cNvPr>
            <p:cNvSpPr>
              <a:spLocks noChangeAspect="1" noChangeShapeType="1"/>
            </p:cNvSpPr>
            <p:nvPr/>
          </p:nvSpPr>
          <p:spPr bwMode="auto">
            <a:xfrm flipV="1">
              <a:off x="2614614" y="2115504"/>
              <a:ext cx="7937"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60" name="Line 408">
              <a:extLst>
                <a:ext uri="{FF2B5EF4-FFF2-40B4-BE49-F238E27FC236}">
                  <a16:creationId xmlns:a16="http://schemas.microsoft.com/office/drawing/2014/main" id="{0351208B-9E95-43E5-9786-21BBD775F5C0}"/>
                </a:ext>
              </a:extLst>
            </p:cNvPr>
            <p:cNvSpPr>
              <a:spLocks noChangeAspect="1" noChangeShapeType="1"/>
            </p:cNvSpPr>
            <p:nvPr/>
          </p:nvSpPr>
          <p:spPr bwMode="auto">
            <a:xfrm flipV="1">
              <a:off x="2622551" y="2080579"/>
              <a:ext cx="22225"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61" name="Line 409">
              <a:extLst>
                <a:ext uri="{FF2B5EF4-FFF2-40B4-BE49-F238E27FC236}">
                  <a16:creationId xmlns:a16="http://schemas.microsoft.com/office/drawing/2014/main" id="{36A209AC-9BF3-4889-AC15-1D0638746A90}"/>
                </a:ext>
              </a:extLst>
            </p:cNvPr>
            <p:cNvSpPr>
              <a:spLocks noChangeAspect="1" noChangeShapeType="1"/>
            </p:cNvSpPr>
            <p:nvPr/>
          </p:nvSpPr>
          <p:spPr bwMode="auto">
            <a:xfrm flipV="1">
              <a:off x="2651125" y="2069465"/>
              <a:ext cx="1588"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62" name="Line 410">
              <a:extLst>
                <a:ext uri="{FF2B5EF4-FFF2-40B4-BE49-F238E27FC236}">
                  <a16:creationId xmlns:a16="http://schemas.microsoft.com/office/drawing/2014/main" id="{CE89C2BD-718D-49A4-8554-4E61B2621D9C}"/>
                </a:ext>
              </a:extLst>
            </p:cNvPr>
            <p:cNvSpPr>
              <a:spLocks noChangeAspect="1" noChangeShapeType="1"/>
            </p:cNvSpPr>
            <p:nvPr/>
          </p:nvSpPr>
          <p:spPr bwMode="auto">
            <a:xfrm flipV="1">
              <a:off x="2652714" y="2063115"/>
              <a:ext cx="3175"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63" name="Line 411">
              <a:extLst>
                <a:ext uri="{FF2B5EF4-FFF2-40B4-BE49-F238E27FC236}">
                  <a16:creationId xmlns:a16="http://schemas.microsoft.com/office/drawing/2014/main" id="{E1EC9AC4-83F5-48DE-B8A0-576ED2F241BD}"/>
                </a:ext>
              </a:extLst>
            </p:cNvPr>
            <p:cNvSpPr>
              <a:spLocks noChangeAspect="1" noChangeShapeType="1"/>
            </p:cNvSpPr>
            <p:nvPr/>
          </p:nvSpPr>
          <p:spPr bwMode="auto">
            <a:xfrm flipV="1">
              <a:off x="2655889" y="2025015"/>
              <a:ext cx="28575"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64" name="Line 412">
              <a:extLst>
                <a:ext uri="{FF2B5EF4-FFF2-40B4-BE49-F238E27FC236}">
                  <a16:creationId xmlns:a16="http://schemas.microsoft.com/office/drawing/2014/main" id="{5A889208-18CF-4F9B-B0C6-FF0AF09B40C7}"/>
                </a:ext>
              </a:extLst>
            </p:cNvPr>
            <p:cNvSpPr>
              <a:spLocks noChangeAspect="1" noChangeShapeType="1"/>
            </p:cNvSpPr>
            <p:nvPr/>
          </p:nvSpPr>
          <p:spPr bwMode="auto">
            <a:xfrm flipV="1">
              <a:off x="2693989" y="2004379"/>
              <a:ext cx="7937"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65" name="Line 413">
              <a:extLst>
                <a:ext uri="{FF2B5EF4-FFF2-40B4-BE49-F238E27FC236}">
                  <a16:creationId xmlns:a16="http://schemas.microsoft.com/office/drawing/2014/main" id="{F55EAA51-60D5-46C5-8495-A6AD0560EB92}"/>
                </a:ext>
              </a:extLst>
            </p:cNvPr>
            <p:cNvSpPr>
              <a:spLocks noChangeAspect="1" noChangeShapeType="1"/>
            </p:cNvSpPr>
            <p:nvPr/>
          </p:nvSpPr>
          <p:spPr bwMode="auto">
            <a:xfrm flipV="1">
              <a:off x="2701925" y="1977390"/>
              <a:ext cx="25400"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66" name="Line 414">
              <a:extLst>
                <a:ext uri="{FF2B5EF4-FFF2-40B4-BE49-F238E27FC236}">
                  <a16:creationId xmlns:a16="http://schemas.microsoft.com/office/drawing/2014/main" id="{CC4F064D-902F-48D2-947B-A382C86B7BE5}"/>
                </a:ext>
              </a:extLst>
            </p:cNvPr>
            <p:cNvSpPr>
              <a:spLocks noChangeAspect="1" noChangeShapeType="1"/>
            </p:cNvSpPr>
            <p:nvPr/>
          </p:nvSpPr>
          <p:spPr bwMode="auto">
            <a:xfrm flipV="1">
              <a:off x="2727325" y="1972628"/>
              <a:ext cx="1588"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67" name="Line 415">
              <a:extLst>
                <a:ext uri="{FF2B5EF4-FFF2-40B4-BE49-F238E27FC236}">
                  <a16:creationId xmlns:a16="http://schemas.microsoft.com/office/drawing/2014/main" id="{208B54B2-9693-495E-A7F3-1549AC93753C}"/>
                </a:ext>
              </a:extLst>
            </p:cNvPr>
            <p:cNvSpPr>
              <a:spLocks noChangeAspect="1" noChangeShapeType="1"/>
            </p:cNvSpPr>
            <p:nvPr/>
          </p:nvSpPr>
          <p:spPr bwMode="auto">
            <a:xfrm flipV="1">
              <a:off x="2740025" y="1956753"/>
              <a:ext cx="7938"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68" name="Line 416">
              <a:extLst>
                <a:ext uri="{FF2B5EF4-FFF2-40B4-BE49-F238E27FC236}">
                  <a16:creationId xmlns:a16="http://schemas.microsoft.com/office/drawing/2014/main" id="{163EF91E-5180-4414-A155-A592CC084522}"/>
                </a:ext>
              </a:extLst>
            </p:cNvPr>
            <p:cNvSpPr>
              <a:spLocks noChangeAspect="1" noChangeShapeType="1"/>
            </p:cNvSpPr>
            <p:nvPr/>
          </p:nvSpPr>
          <p:spPr bwMode="auto">
            <a:xfrm flipV="1">
              <a:off x="2747963" y="1931353"/>
              <a:ext cx="30162"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69" name="Line 417">
              <a:extLst>
                <a:ext uri="{FF2B5EF4-FFF2-40B4-BE49-F238E27FC236}">
                  <a16:creationId xmlns:a16="http://schemas.microsoft.com/office/drawing/2014/main" id="{8A0D6C75-9792-4A13-B87D-D3C8F71EF522}"/>
                </a:ext>
              </a:extLst>
            </p:cNvPr>
            <p:cNvSpPr>
              <a:spLocks noChangeAspect="1" noChangeShapeType="1"/>
            </p:cNvSpPr>
            <p:nvPr/>
          </p:nvSpPr>
          <p:spPr bwMode="auto">
            <a:xfrm flipV="1">
              <a:off x="2778126" y="1929765"/>
              <a:ext cx="3175"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70" name="Line 418">
              <a:extLst>
                <a:ext uri="{FF2B5EF4-FFF2-40B4-BE49-F238E27FC236}">
                  <a16:creationId xmlns:a16="http://schemas.microsoft.com/office/drawing/2014/main" id="{9B744EAA-2FB5-45E0-A4A0-9AC219C8586F}"/>
                </a:ext>
              </a:extLst>
            </p:cNvPr>
            <p:cNvSpPr>
              <a:spLocks noChangeAspect="1" noChangeShapeType="1"/>
            </p:cNvSpPr>
            <p:nvPr/>
          </p:nvSpPr>
          <p:spPr bwMode="auto">
            <a:xfrm flipV="1">
              <a:off x="2790825" y="1918654"/>
              <a:ext cx="1588"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71" name="Line 419">
              <a:extLst>
                <a:ext uri="{FF2B5EF4-FFF2-40B4-BE49-F238E27FC236}">
                  <a16:creationId xmlns:a16="http://schemas.microsoft.com/office/drawing/2014/main" id="{D8C07EBE-7F9D-4FC7-A877-9C33E8E21EA8}"/>
                </a:ext>
              </a:extLst>
            </p:cNvPr>
            <p:cNvSpPr>
              <a:spLocks noChangeAspect="1" noChangeShapeType="1"/>
            </p:cNvSpPr>
            <p:nvPr/>
          </p:nvSpPr>
          <p:spPr bwMode="auto">
            <a:xfrm flipV="1">
              <a:off x="2792413" y="1893253"/>
              <a:ext cx="42862"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72" name="Line 420">
              <a:extLst>
                <a:ext uri="{FF2B5EF4-FFF2-40B4-BE49-F238E27FC236}">
                  <a16:creationId xmlns:a16="http://schemas.microsoft.com/office/drawing/2014/main" id="{20DB5CD7-DA79-4550-BB28-50EE2DC61243}"/>
                </a:ext>
              </a:extLst>
            </p:cNvPr>
            <p:cNvSpPr>
              <a:spLocks noChangeAspect="1" noChangeShapeType="1"/>
            </p:cNvSpPr>
            <p:nvPr/>
          </p:nvSpPr>
          <p:spPr bwMode="auto">
            <a:xfrm flipV="1">
              <a:off x="2846389" y="1885316"/>
              <a:ext cx="31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73" name="Line 421">
              <a:extLst>
                <a:ext uri="{FF2B5EF4-FFF2-40B4-BE49-F238E27FC236}">
                  <a16:creationId xmlns:a16="http://schemas.microsoft.com/office/drawing/2014/main" id="{74B217E6-9F20-46C7-9257-33582CC77E9F}"/>
                </a:ext>
              </a:extLst>
            </p:cNvPr>
            <p:cNvSpPr>
              <a:spLocks noChangeAspect="1" noChangeShapeType="1"/>
            </p:cNvSpPr>
            <p:nvPr/>
          </p:nvSpPr>
          <p:spPr bwMode="auto">
            <a:xfrm flipV="1">
              <a:off x="2849563" y="1869441"/>
              <a:ext cx="36512"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74" name="Line 422">
              <a:extLst>
                <a:ext uri="{FF2B5EF4-FFF2-40B4-BE49-F238E27FC236}">
                  <a16:creationId xmlns:a16="http://schemas.microsoft.com/office/drawing/2014/main" id="{4F134979-9E24-4D22-8DD8-EFD4424E36AE}"/>
                </a:ext>
              </a:extLst>
            </p:cNvPr>
            <p:cNvSpPr>
              <a:spLocks noChangeAspect="1" noChangeShapeType="1"/>
            </p:cNvSpPr>
            <p:nvPr/>
          </p:nvSpPr>
          <p:spPr bwMode="auto">
            <a:xfrm flipV="1">
              <a:off x="2886075" y="1866266"/>
              <a:ext cx="6350"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75" name="Line 423">
              <a:extLst>
                <a:ext uri="{FF2B5EF4-FFF2-40B4-BE49-F238E27FC236}">
                  <a16:creationId xmlns:a16="http://schemas.microsoft.com/office/drawing/2014/main" id="{8A3167ED-3194-4E32-8029-A6E3290E582C}"/>
                </a:ext>
              </a:extLst>
            </p:cNvPr>
            <p:cNvSpPr>
              <a:spLocks noChangeAspect="1" noChangeShapeType="1"/>
            </p:cNvSpPr>
            <p:nvPr/>
          </p:nvSpPr>
          <p:spPr bwMode="auto">
            <a:xfrm flipV="1">
              <a:off x="2905125" y="1855153"/>
              <a:ext cx="26988"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76" name="Line 424">
              <a:extLst>
                <a:ext uri="{FF2B5EF4-FFF2-40B4-BE49-F238E27FC236}">
                  <a16:creationId xmlns:a16="http://schemas.microsoft.com/office/drawing/2014/main" id="{67BA1A25-DE3B-4C76-8979-49A75DFF6FA9}"/>
                </a:ext>
              </a:extLst>
            </p:cNvPr>
            <p:cNvSpPr>
              <a:spLocks noChangeAspect="1" noChangeShapeType="1"/>
            </p:cNvSpPr>
            <p:nvPr/>
          </p:nvSpPr>
          <p:spPr bwMode="auto">
            <a:xfrm flipV="1">
              <a:off x="2932114" y="1851979"/>
              <a:ext cx="2222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77" name="Line 425">
              <a:extLst>
                <a:ext uri="{FF2B5EF4-FFF2-40B4-BE49-F238E27FC236}">
                  <a16:creationId xmlns:a16="http://schemas.microsoft.com/office/drawing/2014/main" id="{E4AE4BC7-6431-40C3-AF3B-776B707AE8BE}"/>
                </a:ext>
              </a:extLst>
            </p:cNvPr>
            <p:cNvSpPr>
              <a:spLocks noChangeAspect="1" noChangeShapeType="1"/>
            </p:cNvSpPr>
            <p:nvPr/>
          </p:nvSpPr>
          <p:spPr bwMode="auto">
            <a:xfrm flipV="1">
              <a:off x="2965450" y="1845629"/>
              <a:ext cx="12700"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78" name="Line 426">
              <a:extLst>
                <a:ext uri="{FF2B5EF4-FFF2-40B4-BE49-F238E27FC236}">
                  <a16:creationId xmlns:a16="http://schemas.microsoft.com/office/drawing/2014/main" id="{379FB5BE-4B47-4475-957B-044022DB908C}"/>
                </a:ext>
              </a:extLst>
            </p:cNvPr>
            <p:cNvSpPr>
              <a:spLocks noChangeAspect="1" noChangeShapeType="1"/>
            </p:cNvSpPr>
            <p:nvPr/>
          </p:nvSpPr>
          <p:spPr bwMode="auto">
            <a:xfrm flipV="1">
              <a:off x="2978150" y="1844040"/>
              <a:ext cx="38100"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79" name="Line 427">
              <a:extLst>
                <a:ext uri="{FF2B5EF4-FFF2-40B4-BE49-F238E27FC236}">
                  <a16:creationId xmlns:a16="http://schemas.microsoft.com/office/drawing/2014/main" id="{BEECBA62-8D28-4237-8F94-95A709917077}"/>
                </a:ext>
              </a:extLst>
            </p:cNvPr>
            <p:cNvSpPr>
              <a:spLocks noChangeAspect="1" noChangeShapeType="1"/>
            </p:cNvSpPr>
            <p:nvPr/>
          </p:nvSpPr>
          <p:spPr bwMode="auto">
            <a:xfrm>
              <a:off x="3027363" y="1844040"/>
              <a:ext cx="42862"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80" name="Line 428">
              <a:extLst>
                <a:ext uri="{FF2B5EF4-FFF2-40B4-BE49-F238E27FC236}">
                  <a16:creationId xmlns:a16="http://schemas.microsoft.com/office/drawing/2014/main" id="{511F9880-B1CF-4BC2-ADD1-1C049863C570}"/>
                </a:ext>
              </a:extLst>
            </p:cNvPr>
            <p:cNvSpPr>
              <a:spLocks noChangeAspect="1" noChangeShapeType="1"/>
            </p:cNvSpPr>
            <p:nvPr/>
          </p:nvSpPr>
          <p:spPr bwMode="auto">
            <a:xfrm>
              <a:off x="3070225" y="1845629"/>
              <a:ext cx="793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81" name="Line 429">
              <a:extLst>
                <a:ext uri="{FF2B5EF4-FFF2-40B4-BE49-F238E27FC236}">
                  <a16:creationId xmlns:a16="http://schemas.microsoft.com/office/drawing/2014/main" id="{A6B955AB-8EDF-453A-87A2-9B3E9A24CD3A}"/>
                </a:ext>
              </a:extLst>
            </p:cNvPr>
            <p:cNvSpPr>
              <a:spLocks noChangeAspect="1" noChangeShapeType="1"/>
            </p:cNvSpPr>
            <p:nvPr/>
          </p:nvSpPr>
          <p:spPr bwMode="auto">
            <a:xfrm>
              <a:off x="3089275" y="1848803"/>
              <a:ext cx="26988"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82" name="Line 430">
              <a:extLst>
                <a:ext uri="{FF2B5EF4-FFF2-40B4-BE49-F238E27FC236}">
                  <a16:creationId xmlns:a16="http://schemas.microsoft.com/office/drawing/2014/main" id="{0BBF2219-00FF-4022-8076-7F5AC210A1E7}"/>
                </a:ext>
              </a:extLst>
            </p:cNvPr>
            <p:cNvSpPr>
              <a:spLocks noChangeAspect="1" noChangeShapeType="1"/>
            </p:cNvSpPr>
            <p:nvPr/>
          </p:nvSpPr>
          <p:spPr bwMode="auto">
            <a:xfrm>
              <a:off x="3116264" y="1853566"/>
              <a:ext cx="22225"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83" name="Line 431">
              <a:extLst>
                <a:ext uri="{FF2B5EF4-FFF2-40B4-BE49-F238E27FC236}">
                  <a16:creationId xmlns:a16="http://schemas.microsoft.com/office/drawing/2014/main" id="{0013BBB3-2E1E-48AD-B988-C543800632F8}"/>
                </a:ext>
              </a:extLst>
            </p:cNvPr>
            <p:cNvSpPr>
              <a:spLocks noChangeAspect="1" noChangeShapeType="1"/>
            </p:cNvSpPr>
            <p:nvPr/>
          </p:nvSpPr>
          <p:spPr bwMode="auto">
            <a:xfrm>
              <a:off x="3151188" y="1861504"/>
              <a:ext cx="11112"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84" name="Line 432">
              <a:extLst>
                <a:ext uri="{FF2B5EF4-FFF2-40B4-BE49-F238E27FC236}">
                  <a16:creationId xmlns:a16="http://schemas.microsoft.com/office/drawing/2014/main" id="{1775724B-3F2F-4DC9-B781-617864552F7E}"/>
                </a:ext>
              </a:extLst>
            </p:cNvPr>
            <p:cNvSpPr>
              <a:spLocks noChangeAspect="1" noChangeShapeType="1"/>
            </p:cNvSpPr>
            <p:nvPr/>
          </p:nvSpPr>
          <p:spPr bwMode="auto">
            <a:xfrm>
              <a:off x="3162301" y="1864678"/>
              <a:ext cx="36513"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85" name="Line 433">
              <a:extLst>
                <a:ext uri="{FF2B5EF4-FFF2-40B4-BE49-F238E27FC236}">
                  <a16:creationId xmlns:a16="http://schemas.microsoft.com/office/drawing/2014/main" id="{A36D38B9-692E-4FC8-95DA-751FD59A2124}"/>
                </a:ext>
              </a:extLst>
            </p:cNvPr>
            <p:cNvSpPr>
              <a:spLocks noChangeAspect="1" noChangeShapeType="1"/>
            </p:cNvSpPr>
            <p:nvPr/>
          </p:nvSpPr>
          <p:spPr bwMode="auto">
            <a:xfrm>
              <a:off x="3209926" y="1880553"/>
              <a:ext cx="9525"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86" name="Line 434">
              <a:extLst>
                <a:ext uri="{FF2B5EF4-FFF2-40B4-BE49-F238E27FC236}">
                  <a16:creationId xmlns:a16="http://schemas.microsoft.com/office/drawing/2014/main" id="{FE0AB80E-F268-4693-BD6D-4FF51A4D7E69}"/>
                </a:ext>
              </a:extLst>
            </p:cNvPr>
            <p:cNvSpPr>
              <a:spLocks noChangeAspect="1" noChangeShapeType="1"/>
            </p:cNvSpPr>
            <p:nvPr/>
          </p:nvSpPr>
          <p:spPr bwMode="auto">
            <a:xfrm>
              <a:off x="3219451" y="1885315"/>
              <a:ext cx="34925"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87" name="Line 435">
              <a:extLst>
                <a:ext uri="{FF2B5EF4-FFF2-40B4-BE49-F238E27FC236}">
                  <a16:creationId xmlns:a16="http://schemas.microsoft.com/office/drawing/2014/main" id="{1FA54E0B-B47A-42B4-B89D-3E2D8AB21EAD}"/>
                </a:ext>
              </a:extLst>
            </p:cNvPr>
            <p:cNvSpPr>
              <a:spLocks noChangeAspect="1" noChangeShapeType="1"/>
            </p:cNvSpPr>
            <p:nvPr/>
          </p:nvSpPr>
          <p:spPr bwMode="auto">
            <a:xfrm>
              <a:off x="3254376" y="1899604"/>
              <a:ext cx="3175"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88" name="Line 436">
              <a:extLst>
                <a:ext uri="{FF2B5EF4-FFF2-40B4-BE49-F238E27FC236}">
                  <a16:creationId xmlns:a16="http://schemas.microsoft.com/office/drawing/2014/main" id="{2670045E-9392-4130-9EA1-DCCF1EF5709A}"/>
                </a:ext>
              </a:extLst>
            </p:cNvPr>
            <p:cNvSpPr>
              <a:spLocks noChangeAspect="1" noChangeShapeType="1"/>
            </p:cNvSpPr>
            <p:nvPr/>
          </p:nvSpPr>
          <p:spPr bwMode="auto">
            <a:xfrm>
              <a:off x="3268663" y="1907541"/>
              <a:ext cx="31750"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89" name="Line 437">
              <a:extLst>
                <a:ext uri="{FF2B5EF4-FFF2-40B4-BE49-F238E27FC236}">
                  <a16:creationId xmlns:a16="http://schemas.microsoft.com/office/drawing/2014/main" id="{CBEDE241-586D-4910-A1E4-A40C06724B03}"/>
                </a:ext>
              </a:extLst>
            </p:cNvPr>
            <p:cNvSpPr>
              <a:spLocks noChangeAspect="1" noChangeShapeType="1"/>
            </p:cNvSpPr>
            <p:nvPr/>
          </p:nvSpPr>
          <p:spPr bwMode="auto">
            <a:xfrm>
              <a:off x="3300413" y="1925003"/>
              <a:ext cx="11112"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90" name="Line 438">
              <a:extLst>
                <a:ext uri="{FF2B5EF4-FFF2-40B4-BE49-F238E27FC236}">
                  <a16:creationId xmlns:a16="http://schemas.microsoft.com/office/drawing/2014/main" id="{9C84E1BD-358F-40B0-86E0-C4BE7B332B2B}"/>
                </a:ext>
              </a:extLst>
            </p:cNvPr>
            <p:cNvSpPr>
              <a:spLocks noChangeAspect="1" noChangeShapeType="1"/>
            </p:cNvSpPr>
            <p:nvPr/>
          </p:nvSpPr>
          <p:spPr bwMode="auto">
            <a:xfrm>
              <a:off x="3311526" y="1931354"/>
              <a:ext cx="3175"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91" name="Line 439">
              <a:extLst>
                <a:ext uri="{FF2B5EF4-FFF2-40B4-BE49-F238E27FC236}">
                  <a16:creationId xmlns:a16="http://schemas.microsoft.com/office/drawing/2014/main" id="{F5AD9B0F-3E52-45AC-958F-DAD3828CE994}"/>
                </a:ext>
              </a:extLst>
            </p:cNvPr>
            <p:cNvSpPr>
              <a:spLocks noChangeAspect="1" noChangeShapeType="1"/>
            </p:cNvSpPr>
            <p:nvPr/>
          </p:nvSpPr>
          <p:spPr bwMode="auto">
            <a:xfrm>
              <a:off x="3324226" y="1939290"/>
              <a:ext cx="22225"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92" name="Line 440">
              <a:extLst>
                <a:ext uri="{FF2B5EF4-FFF2-40B4-BE49-F238E27FC236}">
                  <a16:creationId xmlns:a16="http://schemas.microsoft.com/office/drawing/2014/main" id="{41BCEFD0-6703-4ECB-8625-78C2EF74A969}"/>
                </a:ext>
              </a:extLst>
            </p:cNvPr>
            <p:cNvSpPr>
              <a:spLocks noChangeAspect="1" noChangeShapeType="1"/>
            </p:cNvSpPr>
            <p:nvPr/>
          </p:nvSpPr>
          <p:spPr bwMode="auto">
            <a:xfrm>
              <a:off x="3346451" y="1951991"/>
              <a:ext cx="22225"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93" name="Line 441">
              <a:extLst>
                <a:ext uri="{FF2B5EF4-FFF2-40B4-BE49-F238E27FC236}">
                  <a16:creationId xmlns:a16="http://schemas.microsoft.com/office/drawing/2014/main" id="{942A60A0-6BF8-47E8-9CAF-DD9D8F47E846}"/>
                </a:ext>
              </a:extLst>
            </p:cNvPr>
            <p:cNvSpPr>
              <a:spLocks noChangeAspect="1" noChangeShapeType="1"/>
            </p:cNvSpPr>
            <p:nvPr/>
          </p:nvSpPr>
          <p:spPr bwMode="auto">
            <a:xfrm>
              <a:off x="3379789" y="1974216"/>
              <a:ext cx="31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94" name="Line 442">
              <a:extLst>
                <a:ext uri="{FF2B5EF4-FFF2-40B4-BE49-F238E27FC236}">
                  <a16:creationId xmlns:a16="http://schemas.microsoft.com/office/drawing/2014/main" id="{1A459EBC-0FC5-41CD-AE3F-6276A9170DE6}"/>
                </a:ext>
              </a:extLst>
            </p:cNvPr>
            <p:cNvSpPr>
              <a:spLocks noChangeAspect="1" noChangeShapeType="1"/>
            </p:cNvSpPr>
            <p:nvPr/>
          </p:nvSpPr>
          <p:spPr bwMode="auto">
            <a:xfrm>
              <a:off x="3382964" y="1977390"/>
              <a:ext cx="9525"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95" name="Line 443">
              <a:extLst>
                <a:ext uri="{FF2B5EF4-FFF2-40B4-BE49-F238E27FC236}">
                  <a16:creationId xmlns:a16="http://schemas.microsoft.com/office/drawing/2014/main" id="{573E10AE-6B6C-4763-8397-BD260EE2F110}"/>
                </a:ext>
              </a:extLst>
            </p:cNvPr>
            <p:cNvSpPr>
              <a:spLocks noChangeAspect="1" noChangeShapeType="1"/>
            </p:cNvSpPr>
            <p:nvPr/>
          </p:nvSpPr>
          <p:spPr bwMode="auto">
            <a:xfrm>
              <a:off x="3392488" y="1983741"/>
              <a:ext cx="30162"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96" name="Line 444">
              <a:extLst>
                <a:ext uri="{FF2B5EF4-FFF2-40B4-BE49-F238E27FC236}">
                  <a16:creationId xmlns:a16="http://schemas.microsoft.com/office/drawing/2014/main" id="{5A9DCFB0-E590-4D69-B015-FE9A7D9005AE}"/>
                </a:ext>
              </a:extLst>
            </p:cNvPr>
            <p:cNvSpPr>
              <a:spLocks noChangeAspect="1" noChangeShapeType="1"/>
            </p:cNvSpPr>
            <p:nvPr/>
          </p:nvSpPr>
          <p:spPr bwMode="auto">
            <a:xfrm>
              <a:off x="3432175" y="2013904"/>
              <a:ext cx="7938"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97" name="Line 445">
              <a:extLst>
                <a:ext uri="{FF2B5EF4-FFF2-40B4-BE49-F238E27FC236}">
                  <a16:creationId xmlns:a16="http://schemas.microsoft.com/office/drawing/2014/main" id="{7586E236-E111-4019-A6F6-9C5807C2FC9F}"/>
                </a:ext>
              </a:extLst>
            </p:cNvPr>
            <p:cNvSpPr>
              <a:spLocks noChangeAspect="1" noChangeShapeType="1"/>
            </p:cNvSpPr>
            <p:nvPr/>
          </p:nvSpPr>
          <p:spPr bwMode="auto">
            <a:xfrm>
              <a:off x="3440113" y="2017078"/>
              <a:ext cx="6350"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98" name="Line 446">
              <a:extLst>
                <a:ext uri="{FF2B5EF4-FFF2-40B4-BE49-F238E27FC236}">
                  <a16:creationId xmlns:a16="http://schemas.microsoft.com/office/drawing/2014/main" id="{3DFF82F9-CB6A-4988-A355-5D68A290AA72}"/>
                </a:ext>
              </a:extLst>
            </p:cNvPr>
            <p:cNvSpPr>
              <a:spLocks noChangeAspect="1" noChangeShapeType="1"/>
            </p:cNvSpPr>
            <p:nvPr/>
          </p:nvSpPr>
          <p:spPr bwMode="auto">
            <a:xfrm>
              <a:off x="3446464" y="2023429"/>
              <a:ext cx="28575"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7999" name="Line 447">
              <a:extLst>
                <a:ext uri="{FF2B5EF4-FFF2-40B4-BE49-F238E27FC236}">
                  <a16:creationId xmlns:a16="http://schemas.microsoft.com/office/drawing/2014/main" id="{175771E3-F4DF-4E2D-A7A0-9B84C00ABAF6}"/>
                </a:ext>
              </a:extLst>
            </p:cNvPr>
            <p:cNvSpPr>
              <a:spLocks noChangeAspect="1" noChangeShapeType="1"/>
            </p:cNvSpPr>
            <p:nvPr/>
          </p:nvSpPr>
          <p:spPr bwMode="auto">
            <a:xfrm>
              <a:off x="3486151" y="2053591"/>
              <a:ext cx="15875"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00" name="Line 448">
              <a:extLst>
                <a:ext uri="{FF2B5EF4-FFF2-40B4-BE49-F238E27FC236}">
                  <a16:creationId xmlns:a16="http://schemas.microsoft.com/office/drawing/2014/main" id="{FFAB7294-5EB7-436D-8DE2-064E946F212E}"/>
                </a:ext>
              </a:extLst>
            </p:cNvPr>
            <p:cNvSpPr>
              <a:spLocks noChangeAspect="1" noChangeShapeType="1"/>
            </p:cNvSpPr>
            <p:nvPr/>
          </p:nvSpPr>
          <p:spPr bwMode="auto">
            <a:xfrm>
              <a:off x="3502026" y="2069465"/>
              <a:ext cx="23813"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01" name="Line 449">
              <a:extLst>
                <a:ext uri="{FF2B5EF4-FFF2-40B4-BE49-F238E27FC236}">
                  <a16:creationId xmlns:a16="http://schemas.microsoft.com/office/drawing/2014/main" id="{40ECA450-FC52-4BFC-902F-98FAE6C02BE0}"/>
                </a:ext>
              </a:extLst>
            </p:cNvPr>
            <p:cNvSpPr>
              <a:spLocks noChangeAspect="1" noChangeShapeType="1"/>
            </p:cNvSpPr>
            <p:nvPr/>
          </p:nvSpPr>
          <p:spPr bwMode="auto">
            <a:xfrm>
              <a:off x="3535364" y="2098041"/>
              <a:ext cx="15875"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02" name="Line 450">
              <a:extLst>
                <a:ext uri="{FF2B5EF4-FFF2-40B4-BE49-F238E27FC236}">
                  <a16:creationId xmlns:a16="http://schemas.microsoft.com/office/drawing/2014/main" id="{13056373-02EB-49AB-973D-1CBC6C5B6E81}"/>
                </a:ext>
              </a:extLst>
            </p:cNvPr>
            <p:cNvSpPr>
              <a:spLocks noChangeAspect="1" noChangeShapeType="1"/>
            </p:cNvSpPr>
            <p:nvPr/>
          </p:nvSpPr>
          <p:spPr bwMode="auto">
            <a:xfrm>
              <a:off x="3551239" y="2115504"/>
              <a:ext cx="22225"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03" name="Line 451">
              <a:extLst>
                <a:ext uri="{FF2B5EF4-FFF2-40B4-BE49-F238E27FC236}">
                  <a16:creationId xmlns:a16="http://schemas.microsoft.com/office/drawing/2014/main" id="{70A03E35-E06E-45B0-96A3-5CC5AF8C1EE0}"/>
                </a:ext>
              </a:extLst>
            </p:cNvPr>
            <p:cNvSpPr>
              <a:spLocks noChangeAspect="1" noChangeShapeType="1"/>
            </p:cNvSpPr>
            <p:nvPr/>
          </p:nvSpPr>
          <p:spPr bwMode="auto">
            <a:xfrm>
              <a:off x="3582988" y="2147253"/>
              <a:ext cx="11112"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04" name="Line 452">
              <a:extLst>
                <a:ext uri="{FF2B5EF4-FFF2-40B4-BE49-F238E27FC236}">
                  <a16:creationId xmlns:a16="http://schemas.microsoft.com/office/drawing/2014/main" id="{984FAB7D-D2E4-4396-95AE-02E8118C86BD}"/>
                </a:ext>
              </a:extLst>
            </p:cNvPr>
            <p:cNvSpPr>
              <a:spLocks noChangeAspect="1" noChangeShapeType="1"/>
            </p:cNvSpPr>
            <p:nvPr/>
          </p:nvSpPr>
          <p:spPr bwMode="auto">
            <a:xfrm>
              <a:off x="3594101" y="2159953"/>
              <a:ext cx="23813" cy="301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05" name="Line 453">
              <a:extLst>
                <a:ext uri="{FF2B5EF4-FFF2-40B4-BE49-F238E27FC236}">
                  <a16:creationId xmlns:a16="http://schemas.microsoft.com/office/drawing/2014/main" id="{B790F0DD-986B-4938-86A8-1B2756F9960C}"/>
                </a:ext>
              </a:extLst>
            </p:cNvPr>
            <p:cNvSpPr>
              <a:spLocks noChangeAspect="1" noChangeShapeType="1"/>
            </p:cNvSpPr>
            <p:nvPr/>
          </p:nvSpPr>
          <p:spPr bwMode="auto">
            <a:xfrm>
              <a:off x="3625851" y="2201228"/>
              <a:ext cx="4763"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06" name="Line 454">
              <a:extLst>
                <a:ext uri="{FF2B5EF4-FFF2-40B4-BE49-F238E27FC236}">
                  <a16:creationId xmlns:a16="http://schemas.microsoft.com/office/drawing/2014/main" id="{7BE89DD8-9D34-41BF-9842-7187E7DC49DB}"/>
                </a:ext>
              </a:extLst>
            </p:cNvPr>
            <p:cNvSpPr>
              <a:spLocks noChangeAspect="1" noChangeShapeType="1"/>
            </p:cNvSpPr>
            <p:nvPr/>
          </p:nvSpPr>
          <p:spPr bwMode="auto">
            <a:xfrm>
              <a:off x="3630614" y="2205991"/>
              <a:ext cx="26987" cy="428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07" name="Line 455">
              <a:extLst>
                <a:ext uri="{FF2B5EF4-FFF2-40B4-BE49-F238E27FC236}">
                  <a16:creationId xmlns:a16="http://schemas.microsoft.com/office/drawing/2014/main" id="{1A59A2A5-29F3-4587-AF7B-F94ABFD48FC8}"/>
                </a:ext>
              </a:extLst>
            </p:cNvPr>
            <p:cNvSpPr>
              <a:spLocks noChangeAspect="1" noChangeShapeType="1"/>
            </p:cNvSpPr>
            <p:nvPr/>
          </p:nvSpPr>
          <p:spPr bwMode="auto">
            <a:xfrm>
              <a:off x="3663951" y="2259965"/>
              <a:ext cx="4763"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08" name="Line 456">
              <a:extLst>
                <a:ext uri="{FF2B5EF4-FFF2-40B4-BE49-F238E27FC236}">
                  <a16:creationId xmlns:a16="http://schemas.microsoft.com/office/drawing/2014/main" id="{632FDB19-14D1-4012-B795-207B295274CB}"/>
                </a:ext>
              </a:extLst>
            </p:cNvPr>
            <p:cNvSpPr>
              <a:spLocks noChangeAspect="1" noChangeShapeType="1"/>
            </p:cNvSpPr>
            <p:nvPr/>
          </p:nvSpPr>
          <p:spPr bwMode="auto">
            <a:xfrm>
              <a:off x="3668714" y="2272666"/>
              <a:ext cx="14287" cy="238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09" name="Line 457">
              <a:extLst>
                <a:ext uri="{FF2B5EF4-FFF2-40B4-BE49-F238E27FC236}">
                  <a16:creationId xmlns:a16="http://schemas.microsoft.com/office/drawing/2014/main" id="{98716D04-E3DC-4235-91F6-59BDE43A6F6C}"/>
                </a:ext>
              </a:extLst>
            </p:cNvPr>
            <p:cNvSpPr>
              <a:spLocks noChangeAspect="1" noChangeShapeType="1"/>
            </p:cNvSpPr>
            <p:nvPr/>
          </p:nvSpPr>
          <p:spPr bwMode="auto">
            <a:xfrm>
              <a:off x="3683001" y="2296478"/>
              <a:ext cx="4763"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10" name="Line 458">
              <a:extLst>
                <a:ext uri="{FF2B5EF4-FFF2-40B4-BE49-F238E27FC236}">
                  <a16:creationId xmlns:a16="http://schemas.microsoft.com/office/drawing/2014/main" id="{0EB364C3-749C-412F-8807-FF81FD936907}"/>
                </a:ext>
              </a:extLst>
            </p:cNvPr>
            <p:cNvSpPr>
              <a:spLocks noChangeAspect="1" noChangeShapeType="1"/>
            </p:cNvSpPr>
            <p:nvPr/>
          </p:nvSpPr>
          <p:spPr bwMode="auto">
            <a:xfrm>
              <a:off x="3694113" y="2326641"/>
              <a:ext cx="4762"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11" name="Line 459">
              <a:extLst>
                <a:ext uri="{FF2B5EF4-FFF2-40B4-BE49-F238E27FC236}">
                  <a16:creationId xmlns:a16="http://schemas.microsoft.com/office/drawing/2014/main" id="{B5C92120-FFE2-4C74-BFAB-8DB10FA4DEC1}"/>
                </a:ext>
              </a:extLst>
            </p:cNvPr>
            <p:cNvSpPr>
              <a:spLocks noChangeAspect="1" noChangeShapeType="1"/>
            </p:cNvSpPr>
            <p:nvPr/>
          </p:nvSpPr>
          <p:spPr bwMode="auto">
            <a:xfrm>
              <a:off x="3698875" y="2342516"/>
              <a:ext cx="12700" cy="412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12" name="Line 460">
              <a:extLst>
                <a:ext uri="{FF2B5EF4-FFF2-40B4-BE49-F238E27FC236}">
                  <a16:creationId xmlns:a16="http://schemas.microsoft.com/office/drawing/2014/main" id="{6E001AD8-A094-452B-9846-211F7EFE0F12}"/>
                </a:ext>
              </a:extLst>
            </p:cNvPr>
            <p:cNvSpPr>
              <a:spLocks noChangeAspect="1" noChangeShapeType="1"/>
            </p:cNvSpPr>
            <p:nvPr/>
          </p:nvSpPr>
          <p:spPr bwMode="auto">
            <a:xfrm>
              <a:off x="3714750" y="2396491"/>
              <a:ext cx="1588"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13" name="Line 461">
              <a:extLst>
                <a:ext uri="{FF2B5EF4-FFF2-40B4-BE49-F238E27FC236}">
                  <a16:creationId xmlns:a16="http://schemas.microsoft.com/office/drawing/2014/main" id="{14165890-8C32-4205-96DE-A71C8629ECD2}"/>
                </a:ext>
              </a:extLst>
            </p:cNvPr>
            <p:cNvSpPr>
              <a:spLocks noChangeAspect="1" noChangeShapeType="1"/>
            </p:cNvSpPr>
            <p:nvPr/>
          </p:nvSpPr>
          <p:spPr bwMode="auto">
            <a:xfrm>
              <a:off x="3716338" y="2401254"/>
              <a:ext cx="6350" cy="333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14" name="Line 462">
              <a:extLst>
                <a:ext uri="{FF2B5EF4-FFF2-40B4-BE49-F238E27FC236}">
                  <a16:creationId xmlns:a16="http://schemas.microsoft.com/office/drawing/2014/main" id="{132FACDC-F13B-4416-B951-1FE3BDF5B61D}"/>
                </a:ext>
              </a:extLst>
            </p:cNvPr>
            <p:cNvSpPr>
              <a:spLocks noChangeAspect="1" noChangeShapeType="1"/>
            </p:cNvSpPr>
            <p:nvPr/>
          </p:nvSpPr>
          <p:spPr bwMode="auto">
            <a:xfrm>
              <a:off x="3722689" y="2434591"/>
              <a:ext cx="3175"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15" name="Line 463">
              <a:extLst>
                <a:ext uri="{FF2B5EF4-FFF2-40B4-BE49-F238E27FC236}">
                  <a16:creationId xmlns:a16="http://schemas.microsoft.com/office/drawing/2014/main" id="{CE0DAE9D-BB92-4C4D-9BB0-F4B9F99F464B}"/>
                </a:ext>
              </a:extLst>
            </p:cNvPr>
            <p:cNvSpPr>
              <a:spLocks noChangeAspect="1" noChangeShapeType="1"/>
            </p:cNvSpPr>
            <p:nvPr/>
          </p:nvSpPr>
          <p:spPr bwMode="auto">
            <a:xfrm>
              <a:off x="3727450" y="2471104"/>
              <a:ext cx="1588"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16" name="Line 464">
              <a:extLst>
                <a:ext uri="{FF2B5EF4-FFF2-40B4-BE49-F238E27FC236}">
                  <a16:creationId xmlns:a16="http://schemas.microsoft.com/office/drawing/2014/main" id="{50B22B5A-AE70-4210-B024-36E82466E266}"/>
                </a:ext>
              </a:extLst>
            </p:cNvPr>
            <p:cNvSpPr>
              <a:spLocks noChangeAspect="1" noChangeShapeType="1"/>
            </p:cNvSpPr>
            <p:nvPr/>
          </p:nvSpPr>
          <p:spPr bwMode="auto">
            <a:xfrm>
              <a:off x="3729039" y="2480629"/>
              <a:ext cx="1587"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17" name="Line 465">
              <a:extLst>
                <a:ext uri="{FF2B5EF4-FFF2-40B4-BE49-F238E27FC236}">
                  <a16:creationId xmlns:a16="http://schemas.microsoft.com/office/drawing/2014/main" id="{0A43877A-4B8C-4F00-AC45-FA1854FB5FD9}"/>
                </a:ext>
              </a:extLst>
            </p:cNvPr>
            <p:cNvSpPr>
              <a:spLocks noChangeAspect="1" noChangeShapeType="1"/>
            </p:cNvSpPr>
            <p:nvPr/>
          </p:nvSpPr>
          <p:spPr bwMode="auto">
            <a:xfrm>
              <a:off x="3730625" y="2526666"/>
              <a:ext cx="1588"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18" name="Line 466">
              <a:extLst>
                <a:ext uri="{FF2B5EF4-FFF2-40B4-BE49-F238E27FC236}">
                  <a16:creationId xmlns:a16="http://schemas.microsoft.com/office/drawing/2014/main" id="{E8F69D6E-DE01-409E-A8CB-12BE11F93424}"/>
                </a:ext>
              </a:extLst>
            </p:cNvPr>
            <p:cNvSpPr>
              <a:spLocks noChangeAspect="1" noChangeShapeType="1"/>
            </p:cNvSpPr>
            <p:nvPr/>
          </p:nvSpPr>
          <p:spPr bwMode="auto">
            <a:xfrm flipH="1">
              <a:off x="3730625" y="2545715"/>
              <a:ext cx="1588"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19" name="Line 467">
              <a:extLst>
                <a:ext uri="{FF2B5EF4-FFF2-40B4-BE49-F238E27FC236}">
                  <a16:creationId xmlns:a16="http://schemas.microsoft.com/office/drawing/2014/main" id="{4BE40EF3-CC60-44ED-8B43-9FB0C3BF67DD}"/>
                </a:ext>
              </a:extLst>
            </p:cNvPr>
            <p:cNvSpPr>
              <a:spLocks noChangeAspect="1" noChangeShapeType="1"/>
            </p:cNvSpPr>
            <p:nvPr/>
          </p:nvSpPr>
          <p:spPr bwMode="auto">
            <a:xfrm flipH="1">
              <a:off x="3729039" y="2572704"/>
              <a:ext cx="1587" cy="333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20" name="Line 468">
              <a:extLst>
                <a:ext uri="{FF2B5EF4-FFF2-40B4-BE49-F238E27FC236}">
                  <a16:creationId xmlns:a16="http://schemas.microsoft.com/office/drawing/2014/main" id="{E3D1EA0C-4B27-4D3E-85FE-C2875689771E}"/>
                </a:ext>
              </a:extLst>
            </p:cNvPr>
            <p:cNvSpPr>
              <a:spLocks noChangeAspect="1" noChangeShapeType="1"/>
            </p:cNvSpPr>
            <p:nvPr/>
          </p:nvSpPr>
          <p:spPr bwMode="auto">
            <a:xfrm flipH="1">
              <a:off x="3721100" y="2620328"/>
              <a:ext cx="6350"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21" name="Line 469">
              <a:extLst>
                <a:ext uri="{FF2B5EF4-FFF2-40B4-BE49-F238E27FC236}">
                  <a16:creationId xmlns:a16="http://schemas.microsoft.com/office/drawing/2014/main" id="{42586E32-B400-490C-908D-4D4512A2A2AC}"/>
                </a:ext>
              </a:extLst>
            </p:cNvPr>
            <p:cNvSpPr>
              <a:spLocks noChangeAspect="1" noChangeShapeType="1"/>
            </p:cNvSpPr>
            <p:nvPr/>
          </p:nvSpPr>
          <p:spPr bwMode="auto">
            <a:xfrm flipH="1">
              <a:off x="3717926" y="2664779"/>
              <a:ext cx="3175"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22" name="Line 470">
              <a:extLst>
                <a:ext uri="{FF2B5EF4-FFF2-40B4-BE49-F238E27FC236}">
                  <a16:creationId xmlns:a16="http://schemas.microsoft.com/office/drawing/2014/main" id="{6985DED3-9D65-4BE8-8196-FB7291FC1E78}"/>
                </a:ext>
              </a:extLst>
            </p:cNvPr>
            <p:cNvSpPr>
              <a:spLocks noChangeAspect="1" noChangeShapeType="1"/>
            </p:cNvSpPr>
            <p:nvPr/>
          </p:nvSpPr>
          <p:spPr bwMode="auto">
            <a:xfrm flipH="1">
              <a:off x="3711576" y="2694941"/>
              <a:ext cx="3175"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23" name="Line 471">
              <a:extLst>
                <a:ext uri="{FF2B5EF4-FFF2-40B4-BE49-F238E27FC236}">
                  <a16:creationId xmlns:a16="http://schemas.microsoft.com/office/drawing/2014/main" id="{89767500-1B52-4C14-BC43-69270001CBE5}"/>
                </a:ext>
              </a:extLst>
            </p:cNvPr>
            <p:cNvSpPr>
              <a:spLocks noChangeAspect="1" noChangeShapeType="1"/>
            </p:cNvSpPr>
            <p:nvPr/>
          </p:nvSpPr>
          <p:spPr bwMode="auto">
            <a:xfrm flipH="1">
              <a:off x="3698875" y="2710816"/>
              <a:ext cx="12700" cy="412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24" name="Line 472">
              <a:extLst>
                <a:ext uri="{FF2B5EF4-FFF2-40B4-BE49-F238E27FC236}">
                  <a16:creationId xmlns:a16="http://schemas.microsoft.com/office/drawing/2014/main" id="{EEB05844-FAA7-4ED3-B308-50902F65C05D}"/>
                </a:ext>
              </a:extLst>
            </p:cNvPr>
            <p:cNvSpPr>
              <a:spLocks noChangeAspect="1" noChangeShapeType="1"/>
            </p:cNvSpPr>
            <p:nvPr/>
          </p:nvSpPr>
          <p:spPr bwMode="auto">
            <a:xfrm flipH="1">
              <a:off x="3681413" y="2764791"/>
              <a:ext cx="12700" cy="365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25" name="Line 473">
              <a:extLst>
                <a:ext uri="{FF2B5EF4-FFF2-40B4-BE49-F238E27FC236}">
                  <a16:creationId xmlns:a16="http://schemas.microsoft.com/office/drawing/2014/main" id="{2A9BF2CF-BA2A-46BA-B25A-9400C10C3369}"/>
                </a:ext>
              </a:extLst>
            </p:cNvPr>
            <p:cNvSpPr>
              <a:spLocks noChangeAspect="1" noChangeShapeType="1"/>
            </p:cNvSpPr>
            <p:nvPr/>
          </p:nvSpPr>
          <p:spPr bwMode="auto">
            <a:xfrm flipH="1">
              <a:off x="3673475" y="2801303"/>
              <a:ext cx="7938"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26" name="Line 474">
              <a:extLst>
                <a:ext uri="{FF2B5EF4-FFF2-40B4-BE49-F238E27FC236}">
                  <a16:creationId xmlns:a16="http://schemas.microsoft.com/office/drawing/2014/main" id="{32D8BE86-14A1-471E-8655-9712660896D1}"/>
                </a:ext>
              </a:extLst>
            </p:cNvPr>
            <p:cNvSpPr>
              <a:spLocks noChangeAspect="1" noChangeShapeType="1"/>
            </p:cNvSpPr>
            <p:nvPr/>
          </p:nvSpPr>
          <p:spPr bwMode="auto">
            <a:xfrm flipH="1">
              <a:off x="3660775" y="2833053"/>
              <a:ext cx="6350"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27" name="Line 475">
              <a:extLst>
                <a:ext uri="{FF2B5EF4-FFF2-40B4-BE49-F238E27FC236}">
                  <a16:creationId xmlns:a16="http://schemas.microsoft.com/office/drawing/2014/main" id="{68F8E80F-5481-4C94-ADFD-45D13C420F87}"/>
                </a:ext>
              </a:extLst>
            </p:cNvPr>
            <p:cNvSpPr>
              <a:spLocks noChangeAspect="1" noChangeShapeType="1"/>
            </p:cNvSpPr>
            <p:nvPr/>
          </p:nvSpPr>
          <p:spPr bwMode="auto">
            <a:xfrm flipH="1">
              <a:off x="3643313" y="2845754"/>
              <a:ext cx="17462" cy="396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28" name="Line 476">
              <a:extLst>
                <a:ext uri="{FF2B5EF4-FFF2-40B4-BE49-F238E27FC236}">
                  <a16:creationId xmlns:a16="http://schemas.microsoft.com/office/drawing/2014/main" id="{6EDCD6CF-5DAA-4F26-8858-FE9DFF3C6DEE}"/>
                </a:ext>
              </a:extLst>
            </p:cNvPr>
            <p:cNvSpPr>
              <a:spLocks noChangeAspect="1" noChangeShapeType="1"/>
            </p:cNvSpPr>
            <p:nvPr/>
          </p:nvSpPr>
          <p:spPr bwMode="auto">
            <a:xfrm flipH="1">
              <a:off x="3622675" y="2899728"/>
              <a:ext cx="14288"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29" name="Line 477">
              <a:extLst>
                <a:ext uri="{FF2B5EF4-FFF2-40B4-BE49-F238E27FC236}">
                  <a16:creationId xmlns:a16="http://schemas.microsoft.com/office/drawing/2014/main" id="{033C5FFE-4B22-42BF-A377-FD8219DA4C9C}"/>
                </a:ext>
              </a:extLst>
            </p:cNvPr>
            <p:cNvSpPr>
              <a:spLocks noChangeAspect="1" noChangeShapeType="1"/>
            </p:cNvSpPr>
            <p:nvPr/>
          </p:nvSpPr>
          <p:spPr bwMode="auto">
            <a:xfrm flipH="1">
              <a:off x="3616325" y="2925128"/>
              <a:ext cx="6350"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30" name="Line 478">
              <a:extLst>
                <a:ext uri="{FF2B5EF4-FFF2-40B4-BE49-F238E27FC236}">
                  <a16:creationId xmlns:a16="http://schemas.microsoft.com/office/drawing/2014/main" id="{E1661747-421A-4499-9507-B6B8E0B0B177}"/>
                </a:ext>
              </a:extLst>
            </p:cNvPr>
            <p:cNvSpPr>
              <a:spLocks noChangeAspect="1" noChangeShapeType="1"/>
            </p:cNvSpPr>
            <p:nvPr/>
          </p:nvSpPr>
          <p:spPr bwMode="auto">
            <a:xfrm flipH="1">
              <a:off x="3611563" y="2937828"/>
              <a:ext cx="4762"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31" name="Line 479">
              <a:extLst>
                <a:ext uri="{FF2B5EF4-FFF2-40B4-BE49-F238E27FC236}">
                  <a16:creationId xmlns:a16="http://schemas.microsoft.com/office/drawing/2014/main" id="{AE1316F3-6BDA-4983-A430-DE9F06DC1BB9}"/>
                </a:ext>
              </a:extLst>
            </p:cNvPr>
            <p:cNvSpPr>
              <a:spLocks noChangeAspect="1" noChangeShapeType="1"/>
            </p:cNvSpPr>
            <p:nvPr/>
          </p:nvSpPr>
          <p:spPr bwMode="auto">
            <a:xfrm flipH="1">
              <a:off x="3594101" y="2963229"/>
              <a:ext cx="9525"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32" name="Line 480">
              <a:extLst>
                <a:ext uri="{FF2B5EF4-FFF2-40B4-BE49-F238E27FC236}">
                  <a16:creationId xmlns:a16="http://schemas.microsoft.com/office/drawing/2014/main" id="{5A18052D-1FE7-4FD0-962B-7BF9EF1C9AF8}"/>
                </a:ext>
              </a:extLst>
            </p:cNvPr>
            <p:cNvSpPr>
              <a:spLocks noChangeAspect="1" noChangeShapeType="1"/>
            </p:cNvSpPr>
            <p:nvPr/>
          </p:nvSpPr>
          <p:spPr bwMode="auto">
            <a:xfrm flipH="1">
              <a:off x="3578226" y="2983866"/>
              <a:ext cx="15875" cy="301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33" name="Line 481">
              <a:extLst>
                <a:ext uri="{FF2B5EF4-FFF2-40B4-BE49-F238E27FC236}">
                  <a16:creationId xmlns:a16="http://schemas.microsoft.com/office/drawing/2014/main" id="{FADC125B-AD3F-4BA4-9FD4-0C0E064D03BA}"/>
                </a:ext>
              </a:extLst>
            </p:cNvPr>
            <p:cNvSpPr>
              <a:spLocks noChangeAspect="1" noChangeShapeType="1"/>
            </p:cNvSpPr>
            <p:nvPr/>
          </p:nvSpPr>
          <p:spPr bwMode="auto">
            <a:xfrm flipH="1">
              <a:off x="3568700" y="3026729"/>
              <a:ext cx="1588"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34" name="Line 482">
              <a:extLst>
                <a:ext uri="{FF2B5EF4-FFF2-40B4-BE49-F238E27FC236}">
                  <a16:creationId xmlns:a16="http://schemas.microsoft.com/office/drawing/2014/main" id="{4A178A59-361F-4717-BAB3-CB4DD8A35C4F}"/>
                </a:ext>
              </a:extLst>
            </p:cNvPr>
            <p:cNvSpPr>
              <a:spLocks noChangeAspect="1" noChangeShapeType="1"/>
            </p:cNvSpPr>
            <p:nvPr/>
          </p:nvSpPr>
          <p:spPr bwMode="auto">
            <a:xfrm flipH="1">
              <a:off x="3544888" y="3029904"/>
              <a:ext cx="23812"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35" name="Line 483">
              <a:extLst>
                <a:ext uri="{FF2B5EF4-FFF2-40B4-BE49-F238E27FC236}">
                  <a16:creationId xmlns:a16="http://schemas.microsoft.com/office/drawing/2014/main" id="{83BFEF36-2588-4D0A-9B8B-E8BE69719E77}"/>
                </a:ext>
              </a:extLst>
            </p:cNvPr>
            <p:cNvSpPr>
              <a:spLocks noChangeAspect="1" noChangeShapeType="1"/>
            </p:cNvSpPr>
            <p:nvPr/>
          </p:nvSpPr>
          <p:spPr bwMode="auto">
            <a:xfrm flipH="1">
              <a:off x="3543300" y="3075940"/>
              <a:ext cx="15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36" name="Line 484">
              <a:extLst>
                <a:ext uri="{FF2B5EF4-FFF2-40B4-BE49-F238E27FC236}">
                  <a16:creationId xmlns:a16="http://schemas.microsoft.com/office/drawing/2014/main" id="{94AEED52-5266-426E-AF75-0955BB9EFC16}"/>
                </a:ext>
              </a:extLst>
            </p:cNvPr>
            <p:cNvSpPr>
              <a:spLocks noChangeAspect="1" noChangeShapeType="1"/>
            </p:cNvSpPr>
            <p:nvPr/>
          </p:nvSpPr>
          <p:spPr bwMode="auto">
            <a:xfrm flipH="1">
              <a:off x="3530600" y="3090229"/>
              <a:ext cx="6350"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37" name="Line 485">
              <a:extLst>
                <a:ext uri="{FF2B5EF4-FFF2-40B4-BE49-F238E27FC236}">
                  <a16:creationId xmlns:a16="http://schemas.microsoft.com/office/drawing/2014/main" id="{8847E981-A34C-44A2-BB18-B2AD42751EFB}"/>
                </a:ext>
              </a:extLst>
            </p:cNvPr>
            <p:cNvSpPr>
              <a:spLocks noChangeAspect="1" noChangeShapeType="1"/>
            </p:cNvSpPr>
            <p:nvPr/>
          </p:nvSpPr>
          <p:spPr bwMode="auto">
            <a:xfrm flipH="1">
              <a:off x="3517900" y="3099754"/>
              <a:ext cx="12700"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38" name="Line 486">
              <a:extLst>
                <a:ext uri="{FF2B5EF4-FFF2-40B4-BE49-F238E27FC236}">
                  <a16:creationId xmlns:a16="http://schemas.microsoft.com/office/drawing/2014/main" id="{69BB1B46-DAA4-437A-87F6-34E802F42385}"/>
                </a:ext>
              </a:extLst>
            </p:cNvPr>
            <p:cNvSpPr>
              <a:spLocks noChangeAspect="1" noChangeShapeType="1"/>
            </p:cNvSpPr>
            <p:nvPr/>
          </p:nvSpPr>
          <p:spPr bwMode="auto">
            <a:xfrm flipH="1">
              <a:off x="3508376" y="3121979"/>
              <a:ext cx="9525"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39" name="Line 487">
              <a:extLst>
                <a:ext uri="{FF2B5EF4-FFF2-40B4-BE49-F238E27FC236}">
                  <a16:creationId xmlns:a16="http://schemas.microsoft.com/office/drawing/2014/main" id="{C7B8361C-B70C-4836-B5B3-F66BE86E381D}"/>
                </a:ext>
              </a:extLst>
            </p:cNvPr>
            <p:cNvSpPr>
              <a:spLocks noChangeAspect="1" noChangeShapeType="1"/>
            </p:cNvSpPr>
            <p:nvPr/>
          </p:nvSpPr>
          <p:spPr bwMode="auto">
            <a:xfrm flipH="1">
              <a:off x="3492501" y="3152141"/>
              <a:ext cx="9525"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40" name="Line 488">
              <a:extLst>
                <a:ext uri="{FF2B5EF4-FFF2-40B4-BE49-F238E27FC236}">
                  <a16:creationId xmlns:a16="http://schemas.microsoft.com/office/drawing/2014/main" id="{7FEE9709-6326-451D-9E88-864CEB7454DE}"/>
                </a:ext>
              </a:extLst>
            </p:cNvPr>
            <p:cNvSpPr>
              <a:spLocks noChangeAspect="1" noChangeShapeType="1"/>
            </p:cNvSpPr>
            <p:nvPr/>
          </p:nvSpPr>
          <p:spPr bwMode="auto">
            <a:xfrm flipH="1">
              <a:off x="3486150" y="3168015"/>
              <a:ext cx="6350"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41" name="Line 489">
              <a:extLst>
                <a:ext uri="{FF2B5EF4-FFF2-40B4-BE49-F238E27FC236}">
                  <a16:creationId xmlns:a16="http://schemas.microsoft.com/office/drawing/2014/main" id="{344DA33B-23EA-479C-91BE-E63B57AFEE21}"/>
                </a:ext>
              </a:extLst>
            </p:cNvPr>
            <p:cNvSpPr>
              <a:spLocks noChangeAspect="1" noChangeShapeType="1"/>
            </p:cNvSpPr>
            <p:nvPr/>
          </p:nvSpPr>
          <p:spPr bwMode="auto">
            <a:xfrm flipH="1">
              <a:off x="3473450" y="3180715"/>
              <a:ext cx="12700"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42" name="Line 490">
              <a:extLst>
                <a:ext uri="{FF2B5EF4-FFF2-40B4-BE49-F238E27FC236}">
                  <a16:creationId xmlns:a16="http://schemas.microsoft.com/office/drawing/2014/main" id="{27D77E85-58C3-40B1-8881-F3D4F4A1CC90}"/>
                </a:ext>
              </a:extLst>
            </p:cNvPr>
            <p:cNvSpPr>
              <a:spLocks noChangeAspect="1" noChangeShapeType="1"/>
            </p:cNvSpPr>
            <p:nvPr/>
          </p:nvSpPr>
          <p:spPr bwMode="auto">
            <a:xfrm>
              <a:off x="3467100" y="3214054"/>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43" name="Line 491">
              <a:extLst>
                <a:ext uri="{FF2B5EF4-FFF2-40B4-BE49-F238E27FC236}">
                  <a16:creationId xmlns:a16="http://schemas.microsoft.com/office/drawing/2014/main" id="{178DC9B5-00FF-42C4-8196-01AB9564450D}"/>
                </a:ext>
              </a:extLst>
            </p:cNvPr>
            <p:cNvSpPr>
              <a:spLocks noChangeAspect="1" noChangeShapeType="1"/>
            </p:cNvSpPr>
            <p:nvPr/>
          </p:nvSpPr>
          <p:spPr bwMode="auto">
            <a:xfrm flipH="1">
              <a:off x="3441700" y="3214054"/>
              <a:ext cx="25400"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44" name="Line 492">
              <a:extLst>
                <a:ext uri="{FF2B5EF4-FFF2-40B4-BE49-F238E27FC236}">
                  <a16:creationId xmlns:a16="http://schemas.microsoft.com/office/drawing/2014/main" id="{F3507E0B-1841-4AF0-ABB6-D61C9973C698}"/>
                </a:ext>
              </a:extLst>
            </p:cNvPr>
            <p:cNvSpPr>
              <a:spLocks noChangeAspect="1" noChangeShapeType="1"/>
            </p:cNvSpPr>
            <p:nvPr/>
          </p:nvSpPr>
          <p:spPr bwMode="auto">
            <a:xfrm flipH="1">
              <a:off x="3440114" y="3260090"/>
              <a:ext cx="1587"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45" name="Line 493">
              <a:extLst>
                <a:ext uri="{FF2B5EF4-FFF2-40B4-BE49-F238E27FC236}">
                  <a16:creationId xmlns:a16="http://schemas.microsoft.com/office/drawing/2014/main" id="{1A802FD6-18DC-45F5-B330-84DE1DC6D167}"/>
                </a:ext>
              </a:extLst>
            </p:cNvPr>
            <p:cNvSpPr>
              <a:spLocks noChangeAspect="1" noChangeShapeType="1"/>
            </p:cNvSpPr>
            <p:nvPr/>
          </p:nvSpPr>
          <p:spPr bwMode="auto">
            <a:xfrm flipH="1">
              <a:off x="3438525" y="3261679"/>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46" name="Line 494">
              <a:extLst>
                <a:ext uri="{FF2B5EF4-FFF2-40B4-BE49-F238E27FC236}">
                  <a16:creationId xmlns:a16="http://schemas.microsoft.com/office/drawing/2014/main" id="{3536A3C1-3AED-4A0C-B716-A8F061B0CB7C}"/>
                </a:ext>
              </a:extLst>
            </p:cNvPr>
            <p:cNvSpPr>
              <a:spLocks noChangeAspect="1" noChangeShapeType="1"/>
            </p:cNvSpPr>
            <p:nvPr/>
          </p:nvSpPr>
          <p:spPr bwMode="auto">
            <a:xfrm flipH="1">
              <a:off x="3409950" y="3274378"/>
              <a:ext cx="20638"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47" name="Line 495">
              <a:extLst>
                <a:ext uri="{FF2B5EF4-FFF2-40B4-BE49-F238E27FC236}">
                  <a16:creationId xmlns:a16="http://schemas.microsoft.com/office/drawing/2014/main" id="{6A9E3215-14F6-45FD-96D2-8AF334454F3F}"/>
                </a:ext>
              </a:extLst>
            </p:cNvPr>
            <p:cNvSpPr>
              <a:spLocks noChangeAspect="1" noChangeShapeType="1"/>
            </p:cNvSpPr>
            <p:nvPr/>
          </p:nvSpPr>
          <p:spPr bwMode="auto">
            <a:xfrm flipH="1">
              <a:off x="3398838" y="3306129"/>
              <a:ext cx="11112"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48" name="Line 496">
              <a:extLst>
                <a:ext uri="{FF2B5EF4-FFF2-40B4-BE49-F238E27FC236}">
                  <a16:creationId xmlns:a16="http://schemas.microsoft.com/office/drawing/2014/main" id="{391A238E-D0F2-4FB2-A5B6-927400C7D8E9}"/>
                </a:ext>
              </a:extLst>
            </p:cNvPr>
            <p:cNvSpPr>
              <a:spLocks noChangeAspect="1" noChangeShapeType="1"/>
            </p:cNvSpPr>
            <p:nvPr/>
          </p:nvSpPr>
          <p:spPr bwMode="auto">
            <a:xfrm flipH="1">
              <a:off x="3375025" y="3333116"/>
              <a:ext cx="14288"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49" name="Line 497">
              <a:extLst>
                <a:ext uri="{FF2B5EF4-FFF2-40B4-BE49-F238E27FC236}">
                  <a16:creationId xmlns:a16="http://schemas.microsoft.com/office/drawing/2014/main" id="{1A8B7A41-E2D6-4B20-92BA-22BB625726C9}"/>
                </a:ext>
              </a:extLst>
            </p:cNvPr>
            <p:cNvSpPr>
              <a:spLocks noChangeAspect="1" noChangeShapeType="1"/>
            </p:cNvSpPr>
            <p:nvPr/>
          </p:nvSpPr>
          <p:spPr bwMode="auto">
            <a:xfrm flipH="1">
              <a:off x="3352801" y="3350579"/>
              <a:ext cx="22225"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50" name="Line 498">
              <a:extLst>
                <a:ext uri="{FF2B5EF4-FFF2-40B4-BE49-F238E27FC236}">
                  <a16:creationId xmlns:a16="http://schemas.microsoft.com/office/drawing/2014/main" id="{4A1712C3-BCA0-418F-BBAD-C53DECB9BA8E}"/>
                </a:ext>
              </a:extLst>
            </p:cNvPr>
            <p:cNvSpPr>
              <a:spLocks noChangeAspect="1" noChangeShapeType="1"/>
            </p:cNvSpPr>
            <p:nvPr/>
          </p:nvSpPr>
          <p:spPr bwMode="auto">
            <a:xfrm flipH="1">
              <a:off x="3330575" y="3382329"/>
              <a:ext cx="14288"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51" name="Line 499">
              <a:extLst>
                <a:ext uri="{FF2B5EF4-FFF2-40B4-BE49-F238E27FC236}">
                  <a16:creationId xmlns:a16="http://schemas.microsoft.com/office/drawing/2014/main" id="{C3C09B7B-36C1-4A15-840B-3CD966ACC368}"/>
                </a:ext>
              </a:extLst>
            </p:cNvPr>
            <p:cNvSpPr>
              <a:spLocks noChangeAspect="1" noChangeShapeType="1"/>
            </p:cNvSpPr>
            <p:nvPr/>
          </p:nvSpPr>
          <p:spPr bwMode="auto">
            <a:xfrm flipH="1">
              <a:off x="3305175" y="3396616"/>
              <a:ext cx="25400"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52" name="Line 500">
              <a:extLst>
                <a:ext uri="{FF2B5EF4-FFF2-40B4-BE49-F238E27FC236}">
                  <a16:creationId xmlns:a16="http://schemas.microsoft.com/office/drawing/2014/main" id="{F3D9D0F3-7A65-40E7-95C5-A6875CA307A4}"/>
                </a:ext>
              </a:extLst>
            </p:cNvPr>
            <p:cNvSpPr>
              <a:spLocks noChangeAspect="1" noChangeShapeType="1"/>
            </p:cNvSpPr>
            <p:nvPr/>
          </p:nvSpPr>
          <p:spPr bwMode="auto">
            <a:xfrm flipH="1">
              <a:off x="3271839" y="3426779"/>
              <a:ext cx="22225"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53" name="Line 501">
              <a:extLst>
                <a:ext uri="{FF2B5EF4-FFF2-40B4-BE49-F238E27FC236}">
                  <a16:creationId xmlns:a16="http://schemas.microsoft.com/office/drawing/2014/main" id="{983F3523-EC94-4CCF-A2EC-B57B589EB0F6}"/>
                </a:ext>
              </a:extLst>
            </p:cNvPr>
            <p:cNvSpPr>
              <a:spLocks noChangeAspect="1" noChangeShapeType="1"/>
            </p:cNvSpPr>
            <p:nvPr/>
          </p:nvSpPr>
          <p:spPr bwMode="auto">
            <a:xfrm flipH="1">
              <a:off x="3254376" y="3442653"/>
              <a:ext cx="17463"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54" name="Line 502">
              <a:extLst>
                <a:ext uri="{FF2B5EF4-FFF2-40B4-BE49-F238E27FC236}">
                  <a16:creationId xmlns:a16="http://schemas.microsoft.com/office/drawing/2014/main" id="{4A3EAE2A-0605-4CAA-BEF5-D21D5DD51762}"/>
                </a:ext>
              </a:extLst>
            </p:cNvPr>
            <p:cNvSpPr>
              <a:spLocks noChangeAspect="1" noChangeShapeType="1"/>
            </p:cNvSpPr>
            <p:nvPr/>
          </p:nvSpPr>
          <p:spPr bwMode="auto">
            <a:xfrm flipH="1">
              <a:off x="3251201" y="3453765"/>
              <a:ext cx="3175"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55" name="Line 503">
              <a:extLst>
                <a:ext uri="{FF2B5EF4-FFF2-40B4-BE49-F238E27FC236}">
                  <a16:creationId xmlns:a16="http://schemas.microsoft.com/office/drawing/2014/main" id="{6DBE14A6-563A-4575-8D79-AAAD56DCDF2D}"/>
                </a:ext>
              </a:extLst>
            </p:cNvPr>
            <p:cNvSpPr>
              <a:spLocks noChangeAspect="1" noChangeShapeType="1"/>
            </p:cNvSpPr>
            <p:nvPr/>
          </p:nvSpPr>
          <p:spPr bwMode="auto">
            <a:xfrm flipH="1">
              <a:off x="3208338" y="3461704"/>
              <a:ext cx="31750"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56" name="Line 504">
              <a:extLst>
                <a:ext uri="{FF2B5EF4-FFF2-40B4-BE49-F238E27FC236}">
                  <a16:creationId xmlns:a16="http://schemas.microsoft.com/office/drawing/2014/main" id="{53D55589-6A68-4C68-9967-824BFEB06876}"/>
                </a:ext>
              </a:extLst>
            </p:cNvPr>
            <p:cNvSpPr>
              <a:spLocks noChangeAspect="1" noChangeShapeType="1"/>
            </p:cNvSpPr>
            <p:nvPr/>
          </p:nvSpPr>
          <p:spPr bwMode="auto">
            <a:xfrm flipH="1">
              <a:off x="3192464" y="3477578"/>
              <a:ext cx="15875"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57" name="Line 505">
              <a:extLst>
                <a:ext uri="{FF2B5EF4-FFF2-40B4-BE49-F238E27FC236}">
                  <a16:creationId xmlns:a16="http://schemas.microsoft.com/office/drawing/2014/main" id="{36AB024C-4CA3-4D67-85BB-95F0E8D0D406}"/>
                </a:ext>
              </a:extLst>
            </p:cNvPr>
            <p:cNvSpPr>
              <a:spLocks noChangeAspect="1" noChangeShapeType="1"/>
            </p:cNvSpPr>
            <p:nvPr/>
          </p:nvSpPr>
          <p:spPr bwMode="auto">
            <a:xfrm flipH="1">
              <a:off x="3162300" y="3488690"/>
              <a:ext cx="19050"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58" name="Line 506">
              <a:extLst>
                <a:ext uri="{FF2B5EF4-FFF2-40B4-BE49-F238E27FC236}">
                  <a16:creationId xmlns:a16="http://schemas.microsoft.com/office/drawing/2014/main" id="{A60E44B6-4ED1-4B7D-9D9E-143E1C51EF37}"/>
                </a:ext>
              </a:extLst>
            </p:cNvPr>
            <p:cNvSpPr>
              <a:spLocks noChangeAspect="1" noChangeShapeType="1"/>
            </p:cNvSpPr>
            <p:nvPr/>
          </p:nvSpPr>
          <p:spPr bwMode="auto">
            <a:xfrm flipH="1">
              <a:off x="3133726" y="3496629"/>
              <a:ext cx="28575"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59" name="Line 507">
              <a:extLst>
                <a:ext uri="{FF2B5EF4-FFF2-40B4-BE49-F238E27FC236}">
                  <a16:creationId xmlns:a16="http://schemas.microsoft.com/office/drawing/2014/main" id="{1AB9C616-A073-4636-97D5-E12421643C92}"/>
                </a:ext>
              </a:extLst>
            </p:cNvPr>
            <p:cNvSpPr>
              <a:spLocks noChangeAspect="1" noChangeShapeType="1"/>
            </p:cNvSpPr>
            <p:nvPr/>
          </p:nvSpPr>
          <p:spPr bwMode="auto">
            <a:xfrm flipH="1">
              <a:off x="3116263" y="3507740"/>
              <a:ext cx="4762"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60" name="Line 508">
              <a:extLst>
                <a:ext uri="{FF2B5EF4-FFF2-40B4-BE49-F238E27FC236}">
                  <a16:creationId xmlns:a16="http://schemas.microsoft.com/office/drawing/2014/main" id="{5EBFBED5-04C4-4E19-84B3-014F7AEB309F}"/>
                </a:ext>
              </a:extLst>
            </p:cNvPr>
            <p:cNvSpPr>
              <a:spLocks noChangeAspect="1" noChangeShapeType="1"/>
            </p:cNvSpPr>
            <p:nvPr/>
          </p:nvSpPr>
          <p:spPr bwMode="auto">
            <a:xfrm flipH="1">
              <a:off x="3071813" y="3509328"/>
              <a:ext cx="44450"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61" name="Line 509">
              <a:extLst>
                <a:ext uri="{FF2B5EF4-FFF2-40B4-BE49-F238E27FC236}">
                  <a16:creationId xmlns:a16="http://schemas.microsoft.com/office/drawing/2014/main" id="{225BD121-F4B0-4EA4-B33F-D65588803F74}"/>
                </a:ext>
              </a:extLst>
            </p:cNvPr>
            <p:cNvSpPr>
              <a:spLocks noChangeAspect="1" noChangeShapeType="1"/>
            </p:cNvSpPr>
            <p:nvPr/>
          </p:nvSpPr>
          <p:spPr bwMode="auto">
            <a:xfrm flipH="1">
              <a:off x="3024188" y="3515679"/>
              <a:ext cx="36512"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62" name="Line 510">
              <a:extLst>
                <a:ext uri="{FF2B5EF4-FFF2-40B4-BE49-F238E27FC236}">
                  <a16:creationId xmlns:a16="http://schemas.microsoft.com/office/drawing/2014/main" id="{1AD8395F-1D70-40B7-84D4-7AAE51E9DD08}"/>
                </a:ext>
              </a:extLst>
            </p:cNvPr>
            <p:cNvSpPr>
              <a:spLocks noChangeAspect="1" noChangeShapeType="1"/>
            </p:cNvSpPr>
            <p:nvPr/>
          </p:nvSpPr>
          <p:spPr bwMode="auto">
            <a:xfrm flipH="1" flipV="1">
              <a:off x="3009900" y="3517265"/>
              <a:ext cx="142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63" name="Line 511">
              <a:extLst>
                <a:ext uri="{FF2B5EF4-FFF2-40B4-BE49-F238E27FC236}">
                  <a16:creationId xmlns:a16="http://schemas.microsoft.com/office/drawing/2014/main" id="{510CB779-4414-4304-BCC3-D87C8167AFBE}"/>
                </a:ext>
              </a:extLst>
            </p:cNvPr>
            <p:cNvSpPr>
              <a:spLocks noChangeAspect="1" noChangeShapeType="1"/>
            </p:cNvSpPr>
            <p:nvPr/>
          </p:nvSpPr>
          <p:spPr bwMode="auto">
            <a:xfrm flipH="1" flipV="1">
              <a:off x="2978150" y="3515679"/>
              <a:ext cx="2063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64" name="Line 512">
              <a:extLst>
                <a:ext uri="{FF2B5EF4-FFF2-40B4-BE49-F238E27FC236}">
                  <a16:creationId xmlns:a16="http://schemas.microsoft.com/office/drawing/2014/main" id="{83EFA934-6008-4150-ADD9-78521083FFA8}"/>
                </a:ext>
              </a:extLst>
            </p:cNvPr>
            <p:cNvSpPr>
              <a:spLocks noChangeAspect="1" noChangeShapeType="1"/>
            </p:cNvSpPr>
            <p:nvPr/>
          </p:nvSpPr>
          <p:spPr bwMode="auto">
            <a:xfrm flipH="1" flipV="1">
              <a:off x="2947988" y="3509328"/>
              <a:ext cx="30162"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65" name="Line 513">
              <a:extLst>
                <a:ext uri="{FF2B5EF4-FFF2-40B4-BE49-F238E27FC236}">
                  <a16:creationId xmlns:a16="http://schemas.microsoft.com/office/drawing/2014/main" id="{E08EF90F-1CC5-4ACE-9451-293FAE7280F2}"/>
                </a:ext>
              </a:extLst>
            </p:cNvPr>
            <p:cNvSpPr>
              <a:spLocks noChangeAspect="1" noChangeShapeType="1"/>
            </p:cNvSpPr>
            <p:nvPr/>
          </p:nvSpPr>
          <p:spPr bwMode="auto">
            <a:xfrm flipH="1" flipV="1">
              <a:off x="2932113" y="3506154"/>
              <a:ext cx="4762"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66" name="Line 514">
              <a:extLst>
                <a:ext uri="{FF2B5EF4-FFF2-40B4-BE49-F238E27FC236}">
                  <a16:creationId xmlns:a16="http://schemas.microsoft.com/office/drawing/2014/main" id="{EF6CC6F8-E0C1-4EDE-BA1B-525D0A868A75}"/>
                </a:ext>
              </a:extLst>
            </p:cNvPr>
            <p:cNvSpPr>
              <a:spLocks noChangeAspect="1" noChangeShapeType="1"/>
            </p:cNvSpPr>
            <p:nvPr/>
          </p:nvSpPr>
          <p:spPr bwMode="auto">
            <a:xfrm flipH="1" flipV="1">
              <a:off x="2889251" y="3491865"/>
              <a:ext cx="42863"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67" name="Rectangle 515">
              <a:extLst>
                <a:ext uri="{FF2B5EF4-FFF2-40B4-BE49-F238E27FC236}">
                  <a16:creationId xmlns:a16="http://schemas.microsoft.com/office/drawing/2014/main" id="{015BC46F-F0A6-4C6F-A1EA-7AD101771D05}"/>
                </a:ext>
              </a:extLst>
            </p:cNvPr>
            <p:cNvSpPr>
              <a:spLocks noChangeAspect="1" noChangeArrowheads="1"/>
            </p:cNvSpPr>
            <p:nvPr/>
          </p:nvSpPr>
          <p:spPr bwMode="auto">
            <a:xfrm>
              <a:off x="3209926" y="4099879"/>
              <a:ext cx="930275"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300" b="1">
                  <a:solidFill>
                    <a:srgbClr val="0000FF"/>
                  </a:solidFill>
                </a:rPr>
                <a:t>Shot: 23677</a:t>
              </a:r>
              <a:endParaRPr lang="en-GB" altLang="en-DE" b="1">
                <a:solidFill>
                  <a:srgbClr val="0000FF"/>
                </a:solidFill>
              </a:endParaRPr>
            </a:p>
          </p:txBody>
        </p:sp>
        <p:sp>
          <p:nvSpPr>
            <p:cNvPr id="408068" name="Line 516">
              <a:extLst>
                <a:ext uri="{FF2B5EF4-FFF2-40B4-BE49-F238E27FC236}">
                  <a16:creationId xmlns:a16="http://schemas.microsoft.com/office/drawing/2014/main" id="{CA9CE14B-752D-4AC0-8E4A-A3F6D3730C1E}"/>
                </a:ext>
              </a:extLst>
            </p:cNvPr>
            <p:cNvSpPr>
              <a:spLocks noChangeAspect="1" noChangeShapeType="1"/>
            </p:cNvSpPr>
            <p:nvPr/>
          </p:nvSpPr>
          <p:spPr bwMode="auto">
            <a:xfrm>
              <a:off x="4259263" y="4312604"/>
              <a:ext cx="1960562"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69" name="Line 517">
              <a:extLst>
                <a:ext uri="{FF2B5EF4-FFF2-40B4-BE49-F238E27FC236}">
                  <a16:creationId xmlns:a16="http://schemas.microsoft.com/office/drawing/2014/main" id="{59C74718-4719-4F50-AAE3-5408AAA2E32B}"/>
                </a:ext>
              </a:extLst>
            </p:cNvPr>
            <p:cNvSpPr>
              <a:spLocks noChangeAspect="1" noChangeShapeType="1"/>
            </p:cNvSpPr>
            <p:nvPr/>
          </p:nvSpPr>
          <p:spPr bwMode="auto">
            <a:xfrm flipV="1">
              <a:off x="4375150" y="4247515"/>
              <a:ext cx="1588" cy="650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70" name="Rectangle 518">
              <a:extLst>
                <a:ext uri="{FF2B5EF4-FFF2-40B4-BE49-F238E27FC236}">
                  <a16:creationId xmlns:a16="http://schemas.microsoft.com/office/drawing/2014/main" id="{F34A1499-B4A3-4109-8558-CDA28C67E1EA}"/>
                </a:ext>
              </a:extLst>
            </p:cNvPr>
            <p:cNvSpPr>
              <a:spLocks noChangeAspect="1" noChangeArrowheads="1"/>
            </p:cNvSpPr>
            <p:nvPr/>
          </p:nvSpPr>
          <p:spPr bwMode="auto">
            <a:xfrm>
              <a:off x="4284663" y="4330065"/>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1.0</a:t>
              </a:r>
              <a:endParaRPr lang="en-GB" altLang="en-DE" b="1"/>
            </a:p>
          </p:txBody>
        </p:sp>
        <p:sp>
          <p:nvSpPr>
            <p:cNvPr id="408071" name="Line 519">
              <a:extLst>
                <a:ext uri="{FF2B5EF4-FFF2-40B4-BE49-F238E27FC236}">
                  <a16:creationId xmlns:a16="http://schemas.microsoft.com/office/drawing/2014/main" id="{EF2182CC-FA52-4494-973A-3F03745B6793}"/>
                </a:ext>
              </a:extLst>
            </p:cNvPr>
            <p:cNvSpPr>
              <a:spLocks noChangeAspect="1" noChangeShapeType="1"/>
            </p:cNvSpPr>
            <p:nvPr/>
          </p:nvSpPr>
          <p:spPr bwMode="auto">
            <a:xfrm flipV="1">
              <a:off x="4951414" y="4247515"/>
              <a:ext cx="1587" cy="650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72" name="Rectangle 520">
              <a:extLst>
                <a:ext uri="{FF2B5EF4-FFF2-40B4-BE49-F238E27FC236}">
                  <a16:creationId xmlns:a16="http://schemas.microsoft.com/office/drawing/2014/main" id="{7CC1D950-3646-4EF9-80EB-A0F6B85CA571}"/>
                </a:ext>
              </a:extLst>
            </p:cNvPr>
            <p:cNvSpPr>
              <a:spLocks noChangeAspect="1" noChangeArrowheads="1"/>
            </p:cNvSpPr>
            <p:nvPr/>
          </p:nvSpPr>
          <p:spPr bwMode="auto">
            <a:xfrm>
              <a:off x="4860925" y="4330065"/>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1.5</a:t>
              </a:r>
              <a:endParaRPr lang="en-GB" altLang="en-DE" b="1"/>
            </a:p>
          </p:txBody>
        </p:sp>
        <p:sp>
          <p:nvSpPr>
            <p:cNvPr id="408073" name="Line 521">
              <a:extLst>
                <a:ext uri="{FF2B5EF4-FFF2-40B4-BE49-F238E27FC236}">
                  <a16:creationId xmlns:a16="http://schemas.microsoft.com/office/drawing/2014/main" id="{70100B5A-BB1E-4A58-805A-0AEDADE63984}"/>
                </a:ext>
              </a:extLst>
            </p:cNvPr>
            <p:cNvSpPr>
              <a:spLocks noChangeAspect="1" noChangeShapeType="1"/>
            </p:cNvSpPr>
            <p:nvPr/>
          </p:nvSpPr>
          <p:spPr bwMode="auto">
            <a:xfrm flipV="1">
              <a:off x="5527675" y="4247515"/>
              <a:ext cx="1588" cy="650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74" name="Rectangle 522">
              <a:extLst>
                <a:ext uri="{FF2B5EF4-FFF2-40B4-BE49-F238E27FC236}">
                  <a16:creationId xmlns:a16="http://schemas.microsoft.com/office/drawing/2014/main" id="{BB9553B8-F500-4184-9024-C699034008B1}"/>
                </a:ext>
              </a:extLst>
            </p:cNvPr>
            <p:cNvSpPr>
              <a:spLocks noChangeAspect="1" noChangeArrowheads="1"/>
            </p:cNvSpPr>
            <p:nvPr/>
          </p:nvSpPr>
          <p:spPr bwMode="auto">
            <a:xfrm>
              <a:off x="5437188" y="4330065"/>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2.0</a:t>
              </a:r>
              <a:endParaRPr lang="en-GB" altLang="en-DE" b="1"/>
            </a:p>
          </p:txBody>
        </p:sp>
        <p:sp>
          <p:nvSpPr>
            <p:cNvPr id="408075" name="Line 523">
              <a:extLst>
                <a:ext uri="{FF2B5EF4-FFF2-40B4-BE49-F238E27FC236}">
                  <a16:creationId xmlns:a16="http://schemas.microsoft.com/office/drawing/2014/main" id="{3C0A21B7-4E13-4B15-8A89-3F24CE3F8AA5}"/>
                </a:ext>
              </a:extLst>
            </p:cNvPr>
            <p:cNvSpPr>
              <a:spLocks noChangeAspect="1" noChangeShapeType="1"/>
            </p:cNvSpPr>
            <p:nvPr/>
          </p:nvSpPr>
          <p:spPr bwMode="auto">
            <a:xfrm flipV="1">
              <a:off x="6105525" y="4247515"/>
              <a:ext cx="0" cy="650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76" name="Rectangle 524">
              <a:extLst>
                <a:ext uri="{FF2B5EF4-FFF2-40B4-BE49-F238E27FC236}">
                  <a16:creationId xmlns:a16="http://schemas.microsoft.com/office/drawing/2014/main" id="{661B28AE-5445-46B1-A88C-B8A8F6557E2C}"/>
                </a:ext>
              </a:extLst>
            </p:cNvPr>
            <p:cNvSpPr>
              <a:spLocks noChangeAspect="1" noChangeArrowheads="1"/>
            </p:cNvSpPr>
            <p:nvPr/>
          </p:nvSpPr>
          <p:spPr bwMode="auto">
            <a:xfrm>
              <a:off x="6015038" y="4330065"/>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2.5</a:t>
              </a:r>
              <a:endParaRPr lang="en-GB" altLang="en-DE" b="1"/>
            </a:p>
          </p:txBody>
        </p:sp>
        <p:sp>
          <p:nvSpPr>
            <p:cNvPr id="408077" name="Line 525">
              <a:extLst>
                <a:ext uri="{FF2B5EF4-FFF2-40B4-BE49-F238E27FC236}">
                  <a16:creationId xmlns:a16="http://schemas.microsoft.com/office/drawing/2014/main" id="{55AB6CB2-56D4-486F-B652-EE4D5D35C3B8}"/>
                </a:ext>
              </a:extLst>
            </p:cNvPr>
            <p:cNvSpPr>
              <a:spLocks noChangeAspect="1" noChangeShapeType="1"/>
            </p:cNvSpPr>
            <p:nvPr/>
          </p:nvSpPr>
          <p:spPr bwMode="auto">
            <a:xfrm flipV="1">
              <a:off x="4259264" y="4280853"/>
              <a:ext cx="1587"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78" name="Line 526">
              <a:extLst>
                <a:ext uri="{FF2B5EF4-FFF2-40B4-BE49-F238E27FC236}">
                  <a16:creationId xmlns:a16="http://schemas.microsoft.com/office/drawing/2014/main" id="{8384324B-4D0B-45AE-B063-9C84B1C4066D}"/>
                </a:ext>
              </a:extLst>
            </p:cNvPr>
            <p:cNvSpPr>
              <a:spLocks noChangeAspect="1" noChangeShapeType="1"/>
            </p:cNvSpPr>
            <p:nvPr/>
          </p:nvSpPr>
          <p:spPr bwMode="auto">
            <a:xfrm flipV="1">
              <a:off x="4489450"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79" name="Line 527">
              <a:extLst>
                <a:ext uri="{FF2B5EF4-FFF2-40B4-BE49-F238E27FC236}">
                  <a16:creationId xmlns:a16="http://schemas.microsoft.com/office/drawing/2014/main" id="{4C9F8743-CB70-4A8C-B0C6-3528B3CBD002}"/>
                </a:ext>
              </a:extLst>
            </p:cNvPr>
            <p:cNvSpPr>
              <a:spLocks noChangeAspect="1" noChangeShapeType="1"/>
            </p:cNvSpPr>
            <p:nvPr/>
          </p:nvSpPr>
          <p:spPr bwMode="auto">
            <a:xfrm flipV="1">
              <a:off x="4606925" y="4280853"/>
              <a:ext cx="0"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80" name="Line 528">
              <a:extLst>
                <a:ext uri="{FF2B5EF4-FFF2-40B4-BE49-F238E27FC236}">
                  <a16:creationId xmlns:a16="http://schemas.microsoft.com/office/drawing/2014/main" id="{B9C2F73B-27B7-438D-BE61-AC34F3E4653A}"/>
                </a:ext>
              </a:extLst>
            </p:cNvPr>
            <p:cNvSpPr>
              <a:spLocks noChangeAspect="1" noChangeShapeType="1"/>
            </p:cNvSpPr>
            <p:nvPr/>
          </p:nvSpPr>
          <p:spPr bwMode="auto">
            <a:xfrm flipV="1">
              <a:off x="4721225"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81" name="Line 529">
              <a:extLst>
                <a:ext uri="{FF2B5EF4-FFF2-40B4-BE49-F238E27FC236}">
                  <a16:creationId xmlns:a16="http://schemas.microsoft.com/office/drawing/2014/main" id="{48F8672B-3E66-4D4F-9526-3CD182BADEC9}"/>
                </a:ext>
              </a:extLst>
            </p:cNvPr>
            <p:cNvSpPr>
              <a:spLocks noChangeAspect="1" noChangeShapeType="1"/>
            </p:cNvSpPr>
            <p:nvPr/>
          </p:nvSpPr>
          <p:spPr bwMode="auto">
            <a:xfrm flipV="1">
              <a:off x="4835525"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82" name="Line 530">
              <a:extLst>
                <a:ext uri="{FF2B5EF4-FFF2-40B4-BE49-F238E27FC236}">
                  <a16:creationId xmlns:a16="http://schemas.microsoft.com/office/drawing/2014/main" id="{3BF18419-6300-4C39-AA39-43D383F48D8B}"/>
                </a:ext>
              </a:extLst>
            </p:cNvPr>
            <p:cNvSpPr>
              <a:spLocks noChangeAspect="1" noChangeShapeType="1"/>
            </p:cNvSpPr>
            <p:nvPr/>
          </p:nvSpPr>
          <p:spPr bwMode="auto">
            <a:xfrm flipV="1">
              <a:off x="5067300" y="4280853"/>
              <a:ext cx="0"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83" name="Line 531">
              <a:extLst>
                <a:ext uri="{FF2B5EF4-FFF2-40B4-BE49-F238E27FC236}">
                  <a16:creationId xmlns:a16="http://schemas.microsoft.com/office/drawing/2014/main" id="{B9C8A346-0BEB-411D-92C4-752A1CEF1D27}"/>
                </a:ext>
              </a:extLst>
            </p:cNvPr>
            <p:cNvSpPr>
              <a:spLocks noChangeAspect="1" noChangeShapeType="1"/>
            </p:cNvSpPr>
            <p:nvPr/>
          </p:nvSpPr>
          <p:spPr bwMode="auto">
            <a:xfrm flipV="1">
              <a:off x="5183189" y="4280853"/>
              <a:ext cx="1587"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84" name="Line 532">
              <a:extLst>
                <a:ext uri="{FF2B5EF4-FFF2-40B4-BE49-F238E27FC236}">
                  <a16:creationId xmlns:a16="http://schemas.microsoft.com/office/drawing/2014/main" id="{F0A1E7CC-8634-46FB-9D7A-21EA7546A358}"/>
                </a:ext>
              </a:extLst>
            </p:cNvPr>
            <p:cNvSpPr>
              <a:spLocks noChangeAspect="1" noChangeShapeType="1"/>
            </p:cNvSpPr>
            <p:nvPr/>
          </p:nvSpPr>
          <p:spPr bwMode="auto">
            <a:xfrm flipV="1">
              <a:off x="5297489" y="4280853"/>
              <a:ext cx="1587"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85" name="Line 533">
              <a:extLst>
                <a:ext uri="{FF2B5EF4-FFF2-40B4-BE49-F238E27FC236}">
                  <a16:creationId xmlns:a16="http://schemas.microsoft.com/office/drawing/2014/main" id="{B8CB930D-76F2-49F5-8DC1-6C9AD9DC7FF1}"/>
                </a:ext>
              </a:extLst>
            </p:cNvPr>
            <p:cNvSpPr>
              <a:spLocks noChangeAspect="1" noChangeShapeType="1"/>
            </p:cNvSpPr>
            <p:nvPr/>
          </p:nvSpPr>
          <p:spPr bwMode="auto">
            <a:xfrm flipV="1">
              <a:off x="5411789" y="4280853"/>
              <a:ext cx="1587"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86" name="Line 534">
              <a:extLst>
                <a:ext uri="{FF2B5EF4-FFF2-40B4-BE49-F238E27FC236}">
                  <a16:creationId xmlns:a16="http://schemas.microsoft.com/office/drawing/2014/main" id="{F2D9928B-0C5C-4876-A751-9414F082A8A6}"/>
                </a:ext>
              </a:extLst>
            </p:cNvPr>
            <p:cNvSpPr>
              <a:spLocks noChangeAspect="1" noChangeShapeType="1"/>
            </p:cNvSpPr>
            <p:nvPr/>
          </p:nvSpPr>
          <p:spPr bwMode="auto">
            <a:xfrm flipV="1">
              <a:off x="5643564" y="4280853"/>
              <a:ext cx="1587"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87" name="Line 535">
              <a:extLst>
                <a:ext uri="{FF2B5EF4-FFF2-40B4-BE49-F238E27FC236}">
                  <a16:creationId xmlns:a16="http://schemas.microsoft.com/office/drawing/2014/main" id="{D84EB173-6F4D-4AEC-888A-31539FC5D86A}"/>
                </a:ext>
              </a:extLst>
            </p:cNvPr>
            <p:cNvSpPr>
              <a:spLocks noChangeAspect="1" noChangeShapeType="1"/>
            </p:cNvSpPr>
            <p:nvPr/>
          </p:nvSpPr>
          <p:spPr bwMode="auto">
            <a:xfrm flipV="1">
              <a:off x="5759450"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88" name="Line 536">
              <a:extLst>
                <a:ext uri="{FF2B5EF4-FFF2-40B4-BE49-F238E27FC236}">
                  <a16:creationId xmlns:a16="http://schemas.microsoft.com/office/drawing/2014/main" id="{94245BE3-5F63-4E46-BD62-AC2DF6E3D488}"/>
                </a:ext>
              </a:extLst>
            </p:cNvPr>
            <p:cNvSpPr>
              <a:spLocks noChangeAspect="1" noChangeShapeType="1"/>
            </p:cNvSpPr>
            <p:nvPr/>
          </p:nvSpPr>
          <p:spPr bwMode="auto">
            <a:xfrm flipV="1">
              <a:off x="5873750"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89" name="Line 537">
              <a:extLst>
                <a:ext uri="{FF2B5EF4-FFF2-40B4-BE49-F238E27FC236}">
                  <a16:creationId xmlns:a16="http://schemas.microsoft.com/office/drawing/2014/main" id="{5DD9A113-9D22-4217-8442-31A2DDB0A51B}"/>
                </a:ext>
              </a:extLst>
            </p:cNvPr>
            <p:cNvSpPr>
              <a:spLocks noChangeAspect="1" noChangeShapeType="1"/>
            </p:cNvSpPr>
            <p:nvPr/>
          </p:nvSpPr>
          <p:spPr bwMode="auto">
            <a:xfrm flipV="1">
              <a:off x="5988050"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90" name="Line 538">
              <a:extLst>
                <a:ext uri="{FF2B5EF4-FFF2-40B4-BE49-F238E27FC236}">
                  <a16:creationId xmlns:a16="http://schemas.microsoft.com/office/drawing/2014/main" id="{93C7CED0-EA55-405D-8362-58FC286E4C78}"/>
                </a:ext>
              </a:extLst>
            </p:cNvPr>
            <p:cNvSpPr>
              <a:spLocks noChangeAspect="1" noChangeShapeType="1"/>
            </p:cNvSpPr>
            <p:nvPr/>
          </p:nvSpPr>
          <p:spPr bwMode="auto">
            <a:xfrm flipV="1">
              <a:off x="6219825"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91" name="Rectangle 539">
              <a:extLst>
                <a:ext uri="{FF2B5EF4-FFF2-40B4-BE49-F238E27FC236}">
                  <a16:creationId xmlns:a16="http://schemas.microsoft.com/office/drawing/2014/main" id="{919FD78E-689F-44A4-AD61-BC78EFDA7A2D}"/>
                </a:ext>
              </a:extLst>
            </p:cNvPr>
            <p:cNvSpPr>
              <a:spLocks noChangeAspect="1" noChangeArrowheads="1"/>
            </p:cNvSpPr>
            <p:nvPr/>
          </p:nvSpPr>
          <p:spPr bwMode="auto">
            <a:xfrm>
              <a:off x="5108576" y="4438015"/>
              <a:ext cx="34945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R(m)</a:t>
              </a:r>
              <a:endParaRPr lang="en-GB" altLang="en-DE" b="1"/>
            </a:p>
          </p:txBody>
        </p:sp>
        <p:sp>
          <p:nvSpPr>
            <p:cNvPr id="408092" name="Line 540">
              <a:extLst>
                <a:ext uri="{FF2B5EF4-FFF2-40B4-BE49-F238E27FC236}">
                  <a16:creationId xmlns:a16="http://schemas.microsoft.com/office/drawing/2014/main" id="{2E4AF581-AF9E-4A65-B732-519A3E0B7401}"/>
                </a:ext>
              </a:extLst>
            </p:cNvPr>
            <p:cNvSpPr>
              <a:spLocks noChangeAspect="1" noChangeShapeType="1"/>
            </p:cNvSpPr>
            <p:nvPr/>
          </p:nvSpPr>
          <p:spPr bwMode="auto">
            <a:xfrm>
              <a:off x="4259263" y="1105854"/>
              <a:ext cx="1960562"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93" name="Line 541">
              <a:extLst>
                <a:ext uri="{FF2B5EF4-FFF2-40B4-BE49-F238E27FC236}">
                  <a16:creationId xmlns:a16="http://schemas.microsoft.com/office/drawing/2014/main" id="{8DCA720C-A85D-4592-A4B8-8A1876C821DB}"/>
                </a:ext>
              </a:extLst>
            </p:cNvPr>
            <p:cNvSpPr>
              <a:spLocks noChangeAspect="1" noChangeShapeType="1"/>
            </p:cNvSpPr>
            <p:nvPr/>
          </p:nvSpPr>
          <p:spPr bwMode="auto">
            <a:xfrm>
              <a:off x="4375150" y="1105854"/>
              <a:ext cx="1588" cy="650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94" name="Line 542">
              <a:extLst>
                <a:ext uri="{FF2B5EF4-FFF2-40B4-BE49-F238E27FC236}">
                  <a16:creationId xmlns:a16="http://schemas.microsoft.com/office/drawing/2014/main" id="{56820918-8FE6-442F-B1F7-ED98ED27EBC6}"/>
                </a:ext>
              </a:extLst>
            </p:cNvPr>
            <p:cNvSpPr>
              <a:spLocks noChangeAspect="1" noChangeShapeType="1"/>
            </p:cNvSpPr>
            <p:nvPr/>
          </p:nvSpPr>
          <p:spPr bwMode="auto">
            <a:xfrm>
              <a:off x="4951414" y="1105854"/>
              <a:ext cx="1587" cy="650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95" name="Line 543">
              <a:extLst>
                <a:ext uri="{FF2B5EF4-FFF2-40B4-BE49-F238E27FC236}">
                  <a16:creationId xmlns:a16="http://schemas.microsoft.com/office/drawing/2014/main" id="{17908F95-C438-4031-B10C-8AB3F82F2C3F}"/>
                </a:ext>
              </a:extLst>
            </p:cNvPr>
            <p:cNvSpPr>
              <a:spLocks noChangeAspect="1" noChangeShapeType="1"/>
            </p:cNvSpPr>
            <p:nvPr/>
          </p:nvSpPr>
          <p:spPr bwMode="auto">
            <a:xfrm>
              <a:off x="5527675" y="1105854"/>
              <a:ext cx="1588" cy="650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96" name="Line 544">
              <a:extLst>
                <a:ext uri="{FF2B5EF4-FFF2-40B4-BE49-F238E27FC236}">
                  <a16:creationId xmlns:a16="http://schemas.microsoft.com/office/drawing/2014/main" id="{C22D5EF0-0F47-4271-BF92-7B898862BD7C}"/>
                </a:ext>
              </a:extLst>
            </p:cNvPr>
            <p:cNvSpPr>
              <a:spLocks noChangeAspect="1" noChangeShapeType="1"/>
            </p:cNvSpPr>
            <p:nvPr/>
          </p:nvSpPr>
          <p:spPr bwMode="auto">
            <a:xfrm>
              <a:off x="6105525" y="1105854"/>
              <a:ext cx="0" cy="650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97" name="Line 545">
              <a:extLst>
                <a:ext uri="{FF2B5EF4-FFF2-40B4-BE49-F238E27FC236}">
                  <a16:creationId xmlns:a16="http://schemas.microsoft.com/office/drawing/2014/main" id="{EADAE018-0B65-4DC0-8A7B-3A6EFD4FBFE5}"/>
                </a:ext>
              </a:extLst>
            </p:cNvPr>
            <p:cNvSpPr>
              <a:spLocks noChangeAspect="1" noChangeShapeType="1"/>
            </p:cNvSpPr>
            <p:nvPr/>
          </p:nvSpPr>
          <p:spPr bwMode="auto">
            <a:xfrm>
              <a:off x="4259264"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98" name="Line 546">
              <a:extLst>
                <a:ext uri="{FF2B5EF4-FFF2-40B4-BE49-F238E27FC236}">
                  <a16:creationId xmlns:a16="http://schemas.microsoft.com/office/drawing/2014/main" id="{1906FD37-F5B5-4542-8835-C52B0F11D23D}"/>
                </a:ext>
              </a:extLst>
            </p:cNvPr>
            <p:cNvSpPr>
              <a:spLocks noChangeAspect="1" noChangeShapeType="1"/>
            </p:cNvSpPr>
            <p:nvPr/>
          </p:nvSpPr>
          <p:spPr bwMode="auto">
            <a:xfrm>
              <a:off x="4489450"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099" name="Line 547">
              <a:extLst>
                <a:ext uri="{FF2B5EF4-FFF2-40B4-BE49-F238E27FC236}">
                  <a16:creationId xmlns:a16="http://schemas.microsoft.com/office/drawing/2014/main" id="{136CD4F0-E115-40EF-9158-8B06C89EA25D}"/>
                </a:ext>
              </a:extLst>
            </p:cNvPr>
            <p:cNvSpPr>
              <a:spLocks noChangeAspect="1" noChangeShapeType="1"/>
            </p:cNvSpPr>
            <p:nvPr/>
          </p:nvSpPr>
          <p:spPr bwMode="auto">
            <a:xfrm>
              <a:off x="4606925" y="1105854"/>
              <a:ext cx="0"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00" name="Line 548">
              <a:extLst>
                <a:ext uri="{FF2B5EF4-FFF2-40B4-BE49-F238E27FC236}">
                  <a16:creationId xmlns:a16="http://schemas.microsoft.com/office/drawing/2014/main" id="{4966A403-57CF-4CB3-ACC2-948B7FC4F7EB}"/>
                </a:ext>
              </a:extLst>
            </p:cNvPr>
            <p:cNvSpPr>
              <a:spLocks noChangeAspect="1" noChangeShapeType="1"/>
            </p:cNvSpPr>
            <p:nvPr/>
          </p:nvSpPr>
          <p:spPr bwMode="auto">
            <a:xfrm>
              <a:off x="4721225"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01" name="Line 549">
              <a:extLst>
                <a:ext uri="{FF2B5EF4-FFF2-40B4-BE49-F238E27FC236}">
                  <a16:creationId xmlns:a16="http://schemas.microsoft.com/office/drawing/2014/main" id="{CEDEC881-24DC-4EC3-976C-203C08C0B70F}"/>
                </a:ext>
              </a:extLst>
            </p:cNvPr>
            <p:cNvSpPr>
              <a:spLocks noChangeAspect="1" noChangeShapeType="1"/>
            </p:cNvSpPr>
            <p:nvPr/>
          </p:nvSpPr>
          <p:spPr bwMode="auto">
            <a:xfrm>
              <a:off x="4835525"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02" name="Line 550">
              <a:extLst>
                <a:ext uri="{FF2B5EF4-FFF2-40B4-BE49-F238E27FC236}">
                  <a16:creationId xmlns:a16="http://schemas.microsoft.com/office/drawing/2014/main" id="{EB1D1EB2-4AE2-4158-BA0C-42474D43599B}"/>
                </a:ext>
              </a:extLst>
            </p:cNvPr>
            <p:cNvSpPr>
              <a:spLocks noChangeAspect="1" noChangeShapeType="1"/>
            </p:cNvSpPr>
            <p:nvPr/>
          </p:nvSpPr>
          <p:spPr bwMode="auto">
            <a:xfrm>
              <a:off x="5067300" y="1105854"/>
              <a:ext cx="0"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03" name="Line 551">
              <a:extLst>
                <a:ext uri="{FF2B5EF4-FFF2-40B4-BE49-F238E27FC236}">
                  <a16:creationId xmlns:a16="http://schemas.microsoft.com/office/drawing/2014/main" id="{09E8B331-DC32-404A-9CC3-D3685DB0CCE6}"/>
                </a:ext>
              </a:extLst>
            </p:cNvPr>
            <p:cNvSpPr>
              <a:spLocks noChangeAspect="1" noChangeShapeType="1"/>
            </p:cNvSpPr>
            <p:nvPr/>
          </p:nvSpPr>
          <p:spPr bwMode="auto">
            <a:xfrm>
              <a:off x="5183189"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04" name="Line 552">
              <a:extLst>
                <a:ext uri="{FF2B5EF4-FFF2-40B4-BE49-F238E27FC236}">
                  <a16:creationId xmlns:a16="http://schemas.microsoft.com/office/drawing/2014/main" id="{49A80A7F-404D-4F3E-A64C-21E2632E6053}"/>
                </a:ext>
              </a:extLst>
            </p:cNvPr>
            <p:cNvSpPr>
              <a:spLocks noChangeAspect="1" noChangeShapeType="1"/>
            </p:cNvSpPr>
            <p:nvPr/>
          </p:nvSpPr>
          <p:spPr bwMode="auto">
            <a:xfrm>
              <a:off x="5297489"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05" name="Line 553">
              <a:extLst>
                <a:ext uri="{FF2B5EF4-FFF2-40B4-BE49-F238E27FC236}">
                  <a16:creationId xmlns:a16="http://schemas.microsoft.com/office/drawing/2014/main" id="{85A20ED6-9F48-427E-8AB9-F41E184A2D7D}"/>
                </a:ext>
              </a:extLst>
            </p:cNvPr>
            <p:cNvSpPr>
              <a:spLocks noChangeAspect="1" noChangeShapeType="1"/>
            </p:cNvSpPr>
            <p:nvPr/>
          </p:nvSpPr>
          <p:spPr bwMode="auto">
            <a:xfrm>
              <a:off x="5411789"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06" name="Line 554">
              <a:extLst>
                <a:ext uri="{FF2B5EF4-FFF2-40B4-BE49-F238E27FC236}">
                  <a16:creationId xmlns:a16="http://schemas.microsoft.com/office/drawing/2014/main" id="{F92FE057-A3D4-42E4-BD4A-8BE9A0D91675}"/>
                </a:ext>
              </a:extLst>
            </p:cNvPr>
            <p:cNvSpPr>
              <a:spLocks noChangeAspect="1" noChangeShapeType="1"/>
            </p:cNvSpPr>
            <p:nvPr/>
          </p:nvSpPr>
          <p:spPr bwMode="auto">
            <a:xfrm>
              <a:off x="5643564"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07" name="Line 555">
              <a:extLst>
                <a:ext uri="{FF2B5EF4-FFF2-40B4-BE49-F238E27FC236}">
                  <a16:creationId xmlns:a16="http://schemas.microsoft.com/office/drawing/2014/main" id="{8B7F3F06-4A61-43BB-895B-41459A8314B6}"/>
                </a:ext>
              </a:extLst>
            </p:cNvPr>
            <p:cNvSpPr>
              <a:spLocks noChangeAspect="1" noChangeShapeType="1"/>
            </p:cNvSpPr>
            <p:nvPr/>
          </p:nvSpPr>
          <p:spPr bwMode="auto">
            <a:xfrm>
              <a:off x="5759450"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08" name="Line 556">
              <a:extLst>
                <a:ext uri="{FF2B5EF4-FFF2-40B4-BE49-F238E27FC236}">
                  <a16:creationId xmlns:a16="http://schemas.microsoft.com/office/drawing/2014/main" id="{23EFA106-AC33-4015-AE9D-65A1B4580B19}"/>
                </a:ext>
              </a:extLst>
            </p:cNvPr>
            <p:cNvSpPr>
              <a:spLocks noChangeAspect="1" noChangeShapeType="1"/>
            </p:cNvSpPr>
            <p:nvPr/>
          </p:nvSpPr>
          <p:spPr bwMode="auto">
            <a:xfrm>
              <a:off x="5873750"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09" name="Line 557">
              <a:extLst>
                <a:ext uri="{FF2B5EF4-FFF2-40B4-BE49-F238E27FC236}">
                  <a16:creationId xmlns:a16="http://schemas.microsoft.com/office/drawing/2014/main" id="{FFDE8182-EFE8-489A-B762-1B1E3F98B7E3}"/>
                </a:ext>
              </a:extLst>
            </p:cNvPr>
            <p:cNvSpPr>
              <a:spLocks noChangeAspect="1" noChangeShapeType="1"/>
            </p:cNvSpPr>
            <p:nvPr/>
          </p:nvSpPr>
          <p:spPr bwMode="auto">
            <a:xfrm>
              <a:off x="5988050"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10" name="Line 558">
              <a:extLst>
                <a:ext uri="{FF2B5EF4-FFF2-40B4-BE49-F238E27FC236}">
                  <a16:creationId xmlns:a16="http://schemas.microsoft.com/office/drawing/2014/main" id="{EB10A192-5959-4D4C-B933-51FED0F6A936}"/>
                </a:ext>
              </a:extLst>
            </p:cNvPr>
            <p:cNvSpPr>
              <a:spLocks noChangeAspect="1" noChangeShapeType="1"/>
            </p:cNvSpPr>
            <p:nvPr/>
          </p:nvSpPr>
          <p:spPr bwMode="auto">
            <a:xfrm>
              <a:off x="6219825"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11" name="Line 559">
              <a:extLst>
                <a:ext uri="{FF2B5EF4-FFF2-40B4-BE49-F238E27FC236}">
                  <a16:creationId xmlns:a16="http://schemas.microsoft.com/office/drawing/2014/main" id="{18F81889-AA63-4836-9B57-3108E5DD311C}"/>
                </a:ext>
              </a:extLst>
            </p:cNvPr>
            <p:cNvSpPr>
              <a:spLocks noChangeAspect="1" noChangeShapeType="1"/>
            </p:cNvSpPr>
            <p:nvPr/>
          </p:nvSpPr>
          <p:spPr bwMode="auto">
            <a:xfrm flipV="1">
              <a:off x="4259264" y="1105853"/>
              <a:ext cx="1587" cy="3206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12" name="Line 560">
              <a:extLst>
                <a:ext uri="{FF2B5EF4-FFF2-40B4-BE49-F238E27FC236}">
                  <a16:creationId xmlns:a16="http://schemas.microsoft.com/office/drawing/2014/main" id="{276F792B-C0DD-48FE-ADBD-D677829A8B3A}"/>
                </a:ext>
              </a:extLst>
            </p:cNvPr>
            <p:cNvSpPr>
              <a:spLocks noChangeAspect="1" noChangeShapeType="1"/>
            </p:cNvSpPr>
            <p:nvPr/>
          </p:nvSpPr>
          <p:spPr bwMode="auto">
            <a:xfrm>
              <a:off x="4259264" y="3853815"/>
              <a:ext cx="3968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13" name="Line 561">
              <a:extLst>
                <a:ext uri="{FF2B5EF4-FFF2-40B4-BE49-F238E27FC236}">
                  <a16:creationId xmlns:a16="http://schemas.microsoft.com/office/drawing/2014/main" id="{DD5A1BC6-6848-4138-A0E5-AC0676FE532B}"/>
                </a:ext>
              </a:extLst>
            </p:cNvPr>
            <p:cNvSpPr>
              <a:spLocks noChangeAspect="1" noChangeShapeType="1"/>
            </p:cNvSpPr>
            <p:nvPr/>
          </p:nvSpPr>
          <p:spPr bwMode="auto">
            <a:xfrm>
              <a:off x="4259264" y="3282315"/>
              <a:ext cx="3968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14" name="Line 562">
              <a:extLst>
                <a:ext uri="{FF2B5EF4-FFF2-40B4-BE49-F238E27FC236}">
                  <a16:creationId xmlns:a16="http://schemas.microsoft.com/office/drawing/2014/main" id="{BF519A8B-6D5F-428E-A542-352C3CB25A08}"/>
                </a:ext>
              </a:extLst>
            </p:cNvPr>
            <p:cNvSpPr>
              <a:spLocks noChangeAspect="1" noChangeShapeType="1"/>
            </p:cNvSpPr>
            <p:nvPr/>
          </p:nvSpPr>
          <p:spPr bwMode="auto">
            <a:xfrm>
              <a:off x="4259264" y="2710815"/>
              <a:ext cx="3968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15" name="Line 563">
              <a:extLst>
                <a:ext uri="{FF2B5EF4-FFF2-40B4-BE49-F238E27FC236}">
                  <a16:creationId xmlns:a16="http://schemas.microsoft.com/office/drawing/2014/main" id="{8E619A56-0FDD-4695-8114-6BDB02898989}"/>
                </a:ext>
              </a:extLst>
            </p:cNvPr>
            <p:cNvSpPr>
              <a:spLocks noChangeAspect="1" noChangeShapeType="1"/>
            </p:cNvSpPr>
            <p:nvPr/>
          </p:nvSpPr>
          <p:spPr bwMode="auto">
            <a:xfrm>
              <a:off x="4259264" y="2137729"/>
              <a:ext cx="3968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16" name="Line 564">
              <a:extLst>
                <a:ext uri="{FF2B5EF4-FFF2-40B4-BE49-F238E27FC236}">
                  <a16:creationId xmlns:a16="http://schemas.microsoft.com/office/drawing/2014/main" id="{CBB04BD7-DABC-4287-8C20-4B51A77EE99A}"/>
                </a:ext>
              </a:extLst>
            </p:cNvPr>
            <p:cNvSpPr>
              <a:spLocks noChangeAspect="1" noChangeShapeType="1"/>
            </p:cNvSpPr>
            <p:nvPr/>
          </p:nvSpPr>
          <p:spPr bwMode="auto">
            <a:xfrm>
              <a:off x="4259264" y="1564640"/>
              <a:ext cx="3968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17" name="Line 565">
              <a:extLst>
                <a:ext uri="{FF2B5EF4-FFF2-40B4-BE49-F238E27FC236}">
                  <a16:creationId xmlns:a16="http://schemas.microsoft.com/office/drawing/2014/main" id="{B21C2A21-3DC2-4891-BEAA-DDD2B651F7F1}"/>
                </a:ext>
              </a:extLst>
            </p:cNvPr>
            <p:cNvSpPr>
              <a:spLocks noChangeAspect="1" noChangeShapeType="1"/>
            </p:cNvSpPr>
            <p:nvPr/>
          </p:nvSpPr>
          <p:spPr bwMode="auto">
            <a:xfrm>
              <a:off x="4259264" y="4312604"/>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18" name="Line 566">
              <a:extLst>
                <a:ext uri="{FF2B5EF4-FFF2-40B4-BE49-F238E27FC236}">
                  <a16:creationId xmlns:a16="http://schemas.microsoft.com/office/drawing/2014/main" id="{B7D18574-155C-42FC-B0EB-9154370E5B81}"/>
                </a:ext>
              </a:extLst>
            </p:cNvPr>
            <p:cNvSpPr>
              <a:spLocks noChangeAspect="1" noChangeShapeType="1"/>
            </p:cNvSpPr>
            <p:nvPr/>
          </p:nvSpPr>
          <p:spPr bwMode="auto">
            <a:xfrm>
              <a:off x="4259264" y="4198304"/>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19" name="Line 567">
              <a:extLst>
                <a:ext uri="{FF2B5EF4-FFF2-40B4-BE49-F238E27FC236}">
                  <a16:creationId xmlns:a16="http://schemas.microsoft.com/office/drawing/2014/main" id="{16AE2A91-E5C7-417C-8152-4ACCFAF4BB10}"/>
                </a:ext>
              </a:extLst>
            </p:cNvPr>
            <p:cNvSpPr>
              <a:spLocks noChangeAspect="1" noChangeShapeType="1"/>
            </p:cNvSpPr>
            <p:nvPr/>
          </p:nvSpPr>
          <p:spPr bwMode="auto">
            <a:xfrm>
              <a:off x="4259264" y="4084003"/>
              <a:ext cx="2063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20" name="Line 568">
              <a:extLst>
                <a:ext uri="{FF2B5EF4-FFF2-40B4-BE49-F238E27FC236}">
                  <a16:creationId xmlns:a16="http://schemas.microsoft.com/office/drawing/2014/main" id="{25E6DC43-2EBE-43F6-A3A0-6BCCF96FA1D0}"/>
                </a:ext>
              </a:extLst>
            </p:cNvPr>
            <p:cNvSpPr>
              <a:spLocks noChangeAspect="1" noChangeShapeType="1"/>
            </p:cNvSpPr>
            <p:nvPr/>
          </p:nvSpPr>
          <p:spPr bwMode="auto">
            <a:xfrm>
              <a:off x="4259264" y="3968115"/>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21" name="Line 569">
              <a:extLst>
                <a:ext uri="{FF2B5EF4-FFF2-40B4-BE49-F238E27FC236}">
                  <a16:creationId xmlns:a16="http://schemas.microsoft.com/office/drawing/2014/main" id="{D21A462E-457A-48BB-A36E-A89190158624}"/>
                </a:ext>
              </a:extLst>
            </p:cNvPr>
            <p:cNvSpPr>
              <a:spLocks noChangeAspect="1" noChangeShapeType="1"/>
            </p:cNvSpPr>
            <p:nvPr/>
          </p:nvSpPr>
          <p:spPr bwMode="auto">
            <a:xfrm>
              <a:off x="4259264" y="3739515"/>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22" name="Line 570">
              <a:extLst>
                <a:ext uri="{FF2B5EF4-FFF2-40B4-BE49-F238E27FC236}">
                  <a16:creationId xmlns:a16="http://schemas.microsoft.com/office/drawing/2014/main" id="{875D1A00-A1C9-4E65-8032-BC643D92E06B}"/>
                </a:ext>
              </a:extLst>
            </p:cNvPr>
            <p:cNvSpPr>
              <a:spLocks noChangeAspect="1" noChangeShapeType="1"/>
            </p:cNvSpPr>
            <p:nvPr/>
          </p:nvSpPr>
          <p:spPr bwMode="auto">
            <a:xfrm>
              <a:off x="4259264" y="3625215"/>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23" name="Line 571">
              <a:extLst>
                <a:ext uri="{FF2B5EF4-FFF2-40B4-BE49-F238E27FC236}">
                  <a16:creationId xmlns:a16="http://schemas.microsoft.com/office/drawing/2014/main" id="{AE12AA14-DE06-4839-A58C-152FD468609E}"/>
                </a:ext>
              </a:extLst>
            </p:cNvPr>
            <p:cNvSpPr>
              <a:spLocks noChangeAspect="1" noChangeShapeType="1"/>
            </p:cNvSpPr>
            <p:nvPr/>
          </p:nvSpPr>
          <p:spPr bwMode="auto">
            <a:xfrm>
              <a:off x="4259264" y="3510915"/>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24" name="Line 572">
              <a:extLst>
                <a:ext uri="{FF2B5EF4-FFF2-40B4-BE49-F238E27FC236}">
                  <a16:creationId xmlns:a16="http://schemas.microsoft.com/office/drawing/2014/main" id="{4A6E77FB-EE05-4E01-A13B-43DF9F090390}"/>
                </a:ext>
              </a:extLst>
            </p:cNvPr>
            <p:cNvSpPr>
              <a:spLocks noChangeAspect="1" noChangeShapeType="1"/>
            </p:cNvSpPr>
            <p:nvPr/>
          </p:nvSpPr>
          <p:spPr bwMode="auto">
            <a:xfrm>
              <a:off x="4259264" y="3396615"/>
              <a:ext cx="2063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25" name="Line 573">
              <a:extLst>
                <a:ext uri="{FF2B5EF4-FFF2-40B4-BE49-F238E27FC236}">
                  <a16:creationId xmlns:a16="http://schemas.microsoft.com/office/drawing/2014/main" id="{A0098FAD-979B-486C-A205-5129CAA0B7D6}"/>
                </a:ext>
              </a:extLst>
            </p:cNvPr>
            <p:cNvSpPr>
              <a:spLocks noChangeAspect="1" noChangeShapeType="1"/>
            </p:cNvSpPr>
            <p:nvPr/>
          </p:nvSpPr>
          <p:spPr bwMode="auto">
            <a:xfrm>
              <a:off x="4259264" y="3168015"/>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26" name="Line 574">
              <a:extLst>
                <a:ext uri="{FF2B5EF4-FFF2-40B4-BE49-F238E27FC236}">
                  <a16:creationId xmlns:a16="http://schemas.microsoft.com/office/drawing/2014/main" id="{19FC4FFD-1801-4397-B8EB-DADF4F2D7550}"/>
                </a:ext>
              </a:extLst>
            </p:cNvPr>
            <p:cNvSpPr>
              <a:spLocks noChangeAspect="1" noChangeShapeType="1"/>
            </p:cNvSpPr>
            <p:nvPr/>
          </p:nvSpPr>
          <p:spPr bwMode="auto">
            <a:xfrm>
              <a:off x="4259264" y="3053715"/>
              <a:ext cx="2063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27" name="Line 575">
              <a:extLst>
                <a:ext uri="{FF2B5EF4-FFF2-40B4-BE49-F238E27FC236}">
                  <a16:creationId xmlns:a16="http://schemas.microsoft.com/office/drawing/2014/main" id="{ECCDAF39-5A7F-455A-9A0E-226647476EAF}"/>
                </a:ext>
              </a:extLst>
            </p:cNvPr>
            <p:cNvSpPr>
              <a:spLocks noChangeAspect="1" noChangeShapeType="1"/>
            </p:cNvSpPr>
            <p:nvPr/>
          </p:nvSpPr>
          <p:spPr bwMode="auto">
            <a:xfrm>
              <a:off x="4259264" y="2937829"/>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28" name="Line 576">
              <a:extLst>
                <a:ext uri="{FF2B5EF4-FFF2-40B4-BE49-F238E27FC236}">
                  <a16:creationId xmlns:a16="http://schemas.microsoft.com/office/drawing/2014/main" id="{1717E6B4-75C7-4C35-B22C-9462F6B54F0D}"/>
                </a:ext>
              </a:extLst>
            </p:cNvPr>
            <p:cNvSpPr>
              <a:spLocks noChangeAspect="1" noChangeShapeType="1"/>
            </p:cNvSpPr>
            <p:nvPr/>
          </p:nvSpPr>
          <p:spPr bwMode="auto">
            <a:xfrm>
              <a:off x="4259264" y="2823529"/>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29" name="Line 577">
              <a:extLst>
                <a:ext uri="{FF2B5EF4-FFF2-40B4-BE49-F238E27FC236}">
                  <a16:creationId xmlns:a16="http://schemas.microsoft.com/office/drawing/2014/main" id="{88E51B7E-7D14-4AC2-97D0-A263848EAFDD}"/>
                </a:ext>
              </a:extLst>
            </p:cNvPr>
            <p:cNvSpPr>
              <a:spLocks noChangeAspect="1" noChangeShapeType="1"/>
            </p:cNvSpPr>
            <p:nvPr/>
          </p:nvSpPr>
          <p:spPr bwMode="auto">
            <a:xfrm>
              <a:off x="4259264" y="2594929"/>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30" name="Line 578">
              <a:extLst>
                <a:ext uri="{FF2B5EF4-FFF2-40B4-BE49-F238E27FC236}">
                  <a16:creationId xmlns:a16="http://schemas.microsoft.com/office/drawing/2014/main" id="{9BAE82E1-4CB4-4520-9FC0-1ADB70DFAA70}"/>
                </a:ext>
              </a:extLst>
            </p:cNvPr>
            <p:cNvSpPr>
              <a:spLocks noChangeAspect="1" noChangeShapeType="1"/>
            </p:cNvSpPr>
            <p:nvPr/>
          </p:nvSpPr>
          <p:spPr bwMode="auto">
            <a:xfrm>
              <a:off x="4259264" y="2480629"/>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31" name="Line 579">
              <a:extLst>
                <a:ext uri="{FF2B5EF4-FFF2-40B4-BE49-F238E27FC236}">
                  <a16:creationId xmlns:a16="http://schemas.microsoft.com/office/drawing/2014/main" id="{E8FDD79A-9D3D-497A-A81D-A94EBA74AFCA}"/>
                </a:ext>
              </a:extLst>
            </p:cNvPr>
            <p:cNvSpPr>
              <a:spLocks noChangeAspect="1" noChangeShapeType="1"/>
            </p:cNvSpPr>
            <p:nvPr/>
          </p:nvSpPr>
          <p:spPr bwMode="auto">
            <a:xfrm>
              <a:off x="4259264" y="2366329"/>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32" name="Line 580">
              <a:extLst>
                <a:ext uri="{FF2B5EF4-FFF2-40B4-BE49-F238E27FC236}">
                  <a16:creationId xmlns:a16="http://schemas.microsoft.com/office/drawing/2014/main" id="{2C18699C-C6B5-42E3-905B-DC2A37EBC8AA}"/>
                </a:ext>
              </a:extLst>
            </p:cNvPr>
            <p:cNvSpPr>
              <a:spLocks noChangeAspect="1" noChangeShapeType="1"/>
            </p:cNvSpPr>
            <p:nvPr/>
          </p:nvSpPr>
          <p:spPr bwMode="auto">
            <a:xfrm>
              <a:off x="4259264" y="2250440"/>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33" name="Line 581">
              <a:extLst>
                <a:ext uri="{FF2B5EF4-FFF2-40B4-BE49-F238E27FC236}">
                  <a16:creationId xmlns:a16="http://schemas.microsoft.com/office/drawing/2014/main" id="{F8F38CEE-A369-4BAC-AD96-B331A5DB4184}"/>
                </a:ext>
              </a:extLst>
            </p:cNvPr>
            <p:cNvSpPr>
              <a:spLocks noChangeAspect="1" noChangeShapeType="1"/>
            </p:cNvSpPr>
            <p:nvPr/>
          </p:nvSpPr>
          <p:spPr bwMode="auto">
            <a:xfrm>
              <a:off x="4259264" y="2023429"/>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34" name="Line 582">
              <a:extLst>
                <a:ext uri="{FF2B5EF4-FFF2-40B4-BE49-F238E27FC236}">
                  <a16:creationId xmlns:a16="http://schemas.microsoft.com/office/drawing/2014/main" id="{2C6F9925-CBE8-4FE8-8DEA-0595252E6A14}"/>
                </a:ext>
              </a:extLst>
            </p:cNvPr>
            <p:cNvSpPr>
              <a:spLocks noChangeAspect="1" noChangeShapeType="1"/>
            </p:cNvSpPr>
            <p:nvPr/>
          </p:nvSpPr>
          <p:spPr bwMode="auto">
            <a:xfrm>
              <a:off x="4259264" y="1907540"/>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35" name="Line 583">
              <a:extLst>
                <a:ext uri="{FF2B5EF4-FFF2-40B4-BE49-F238E27FC236}">
                  <a16:creationId xmlns:a16="http://schemas.microsoft.com/office/drawing/2014/main" id="{A4258AD1-4954-4DB5-B723-BE2506367395}"/>
                </a:ext>
              </a:extLst>
            </p:cNvPr>
            <p:cNvSpPr>
              <a:spLocks noChangeAspect="1" noChangeShapeType="1"/>
            </p:cNvSpPr>
            <p:nvPr/>
          </p:nvSpPr>
          <p:spPr bwMode="auto">
            <a:xfrm>
              <a:off x="4259264" y="1793240"/>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36" name="Line 584">
              <a:extLst>
                <a:ext uri="{FF2B5EF4-FFF2-40B4-BE49-F238E27FC236}">
                  <a16:creationId xmlns:a16="http://schemas.microsoft.com/office/drawing/2014/main" id="{78AD2D13-5BA9-4035-89EE-85A0B6B2F950}"/>
                </a:ext>
              </a:extLst>
            </p:cNvPr>
            <p:cNvSpPr>
              <a:spLocks noChangeAspect="1" noChangeShapeType="1"/>
            </p:cNvSpPr>
            <p:nvPr/>
          </p:nvSpPr>
          <p:spPr bwMode="auto">
            <a:xfrm>
              <a:off x="4259264" y="1678940"/>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37" name="Line 585">
              <a:extLst>
                <a:ext uri="{FF2B5EF4-FFF2-40B4-BE49-F238E27FC236}">
                  <a16:creationId xmlns:a16="http://schemas.microsoft.com/office/drawing/2014/main" id="{9E9DEBF4-1C4B-4760-B552-68A5880DA7A0}"/>
                </a:ext>
              </a:extLst>
            </p:cNvPr>
            <p:cNvSpPr>
              <a:spLocks noChangeAspect="1" noChangeShapeType="1"/>
            </p:cNvSpPr>
            <p:nvPr/>
          </p:nvSpPr>
          <p:spPr bwMode="auto">
            <a:xfrm>
              <a:off x="4259264" y="1450340"/>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38" name="Line 586">
              <a:extLst>
                <a:ext uri="{FF2B5EF4-FFF2-40B4-BE49-F238E27FC236}">
                  <a16:creationId xmlns:a16="http://schemas.microsoft.com/office/drawing/2014/main" id="{9988B78B-382E-428C-95D2-00A6B1E7098D}"/>
                </a:ext>
              </a:extLst>
            </p:cNvPr>
            <p:cNvSpPr>
              <a:spLocks noChangeAspect="1" noChangeShapeType="1"/>
            </p:cNvSpPr>
            <p:nvPr/>
          </p:nvSpPr>
          <p:spPr bwMode="auto">
            <a:xfrm>
              <a:off x="4259264" y="1336040"/>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39" name="Line 587">
              <a:extLst>
                <a:ext uri="{FF2B5EF4-FFF2-40B4-BE49-F238E27FC236}">
                  <a16:creationId xmlns:a16="http://schemas.microsoft.com/office/drawing/2014/main" id="{F7983492-0091-4149-90FF-4632FCFCDC22}"/>
                </a:ext>
              </a:extLst>
            </p:cNvPr>
            <p:cNvSpPr>
              <a:spLocks noChangeAspect="1" noChangeShapeType="1"/>
            </p:cNvSpPr>
            <p:nvPr/>
          </p:nvSpPr>
          <p:spPr bwMode="auto">
            <a:xfrm>
              <a:off x="4259264" y="1221740"/>
              <a:ext cx="2063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40" name="Line 588">
              <a:extLst>
                <a:ext uri="{FF2B5EF4-FFF2-40B4-BE49-F238E27FC236}">
                  <a16:creationId xmlns:a16="http://schemas.microsoft.com/office/drawing/2014/main" id="{01644230-B36E-48EF-987C-D9B694C237E0}"/>
                </a:ext>
              </a:extLst>
            </p:cNvPr>
            <p:cNvSpPr>
              <a:spLocks noChangeAspect="1" noChangeShapeType="1"/>
            </p:cNvSpPr>
            <p:nvPr/>
          </p:nvSpPr>
          <p:spPr bwMode="auto">
            <a:xfrm>
              <a:off x="4259264" y="1105854"/>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41" name="Line 589">
              <a:extLst>
                <a:ext uri="{FF2B5EF4-FFF2-40B4-BE49-F238E27FC236}">
                  <a16:creationId xmlns:a16="http://schemas.microsoft.com/office/drawing/2014/main" id="{1E8E1DE4-C57F-48E4-9C3D-E9BAC955FE7A}"/>
                </a:ext>
              </a:extLst>
            </p:cNvPr>
            <p:cNvSpPr>
              <a:spLocks noChangeAspect="1" noChangeShapeType="1"/>
            </p:cNvSpPr>
            <p:nvPr/>
          </p:nvSpPr>
          <p:spPr bwMode="auto">
            <a:xfrm flipV="1">
              <a:off x="6219825" y="1105853"/>
              <a:ext cx="1588" cy="3206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42" name="Line 590">
              <a:extLst>
                <a:ext uri="{FF2B5EF4-FFF2-40B4-BE49-F238E27FC236}">
                  <a16:creationId xmlns:a16="http://schemas.microsoft.com/office/drawing/2014/main" id="{664F78D1-B447-42F9-8744-ECB022597DB4}"/>
                </a:ext>
              </a:extLst>
            </p:cNvPr>
            <p:cNvSpPr>
              <a:spLocks noChangeAspect="1" noChangeShapeType="1"/>
            </p:cNvSpPr>
            <p:nvPr/>
          </p:nvSpPr>
          <p:spPr bwMode="auto">
            <a:xfrm flipH="1">
              <a:off x="6180139" y="3853815"/>
              <a:ext cx="3968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43" name="Line 591">
              <a:extLst>
                <a:ext uri="{FF2B5EF4-FFF2-40B4-BE49-F238E27FC236}">
                  <a16:creationId xmlns:a16="http://schemas.microsoft.com/office/drawing/2014/main" id="{FCAD429C-F09E-494C-8E17-7551B8FAB5F5}"/>
                </a:ext>
              </a:extLst>
            </p:cNvPr>
            <p:cNvSpPr>
              <a:spLocks noChangeAspect="1" noChangeShapeType="1"/>
            </p:cNvSpPr>
            <p:nvPr/>
          </p:nvSpPr>
          <p:spPr bwMode="auto">
            <a:xfrm flipH="1">
              <a:off x="6180139" y="3282315"/>
              <a:ext cx="3968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44" name="Line 592">
              <a:extLst>
                <a:ext uri="{FF2B5EF4-FFF2-40B4-BE49-F238E27FC236}">
                  <a16:creationId xmlns:a16="http://schemas.microsoft.com/office/drawing/2014/main" id="{D0B209BE-83E5-4743-8943-242F76680AF7}"/>
                </a:ext>
              </a:extLst>
            </p:cNvPr>
            <p:cNvSpPr>
              <a:spLocks noChangeAspect="1" noChangeShapeType="1"/>
            </p:cNvSpPr>
            <p:nvPr/>
          </p:nvSpPr>
          <p:spPr bwMode="auto">
            <a:xfrm flipH="1">
              <a:off x="6180139" y="2710815"/>
              <a:ext cx="3968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45" name="Line 593">
              <a:extLst>
                <a:ext uri="{FF2B5EF4-FFF2-40B4-BE49-F238E27FC236}">
                  <a16:creationId xmlns:a16="http://schemas.microsoft.com/office/drawing/2014/main" id="{D553D40C-0614-4A22-BD9F-D8F6E464F5C6}"/>
                </a:ext>
              </a:extLst>
            </p:cNvPr>
            <p:cNvSpPr>
              <a:spLocks noChangeAspect="1" noChangeShapeType="1"/>
            </p:cNvSpPr>
            <p:nvPr/>
          </p:nvSpPr>
          <p:spPr bwMode="auto">
            <a:xfrm flipH="1">
              <a:off x="6180139" y="2137729"/>
              <a:ext cx="3968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46" name="Line 594">
              <a:extLst>
                <a:ext uri="{FF2B5EF4-FFF2-40B4-BE49-F238E27FC236}">
                  <a16:creationId xmlns:a16="http://schemas.microsoft.com/office/drawing/2014/main" id="{37A3AA02-174F-48B4-A3AD-6BF6DE1C18DD}"/>
                </a:ext>
              </a:extLst>
            </p:cNvPr>
            <p:cNvSpPr>
              <a:spLocks noChangeAspect="1" noChangeShapeType="1"/>
            </p:cNvSpPr>
            <p:nvPr/>
          </p:nvSpPr>
          <p:spPr bwMode="auto">
            <a:xfrm flipH="1">
              <a:off x="6180139" y="1564640"/>
              <a:ext cx="3968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47" name="Line 595">
              <a:extLst>
                <a:ext uri="{FF2B5EF4-FFF2-40B4-BE49-F238E27FC236}">
                  <a16:creationId xmlns:a16="http://schemas.microsoft.com/office/drawing/2014/main" id="{0EDC0CEA-8AB5-4D9A-BD3E-EF54C4154CF5}"/>
                </a:ext>
              </a:extLst>
            </p:cNvPr>
            <p:cNvSpPr>
              <a:spLocks noChangeAspect="1" noChangeShapeType="1"/>
            </p:cNvSpPr>
            <p:nvPr/>
          </p:nvSpPr>
          <p:spPr bwMode="auto">
            <a:xfrm flipH="1">
              <a:off x="6200775" y="4312604"/>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48" name="Line 596">
              <a:extLst>
                <a:ext uri="{FF2B5EF4-FFF2-40B4-BE49-F238E27FC236}">
                  <a16:creationId xmlns:a16="http://schemas.microsoft.com/office/drawing/2014/main" id="{7B674624-E96A-41A6-9A4B-CCBFFB9D02B6}"/>
                </a:ext>
              </a:extLst>
            </p:cNvPr>
            <p:cNvSpPr>
              <a:spLocks noChangeAspect="1" noChangeShapeType="1"/>
            </p:cNvSpPr>
            <p:nvPr/>
          </p:nvSpPr>
          <p:spPr bwMode="auto">
            <a:xfrm flipH="1">
              <a:off x="6200775" y="4198304"/>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49" name="Line 597">
              <a:extLst>
                <a:ext uri="{FF2B5EF4-FFF2-40B4-BE49-F238E27FC236}">
                  <a16:creationId xmlns:a16="http://schemas.microsoft.com/office/drawing/2014/main" id="{34704CA0-07A2-4DB2-9793-AD84D61018DB}"/>
                </a:ext>
              </a:extLst>
            </p:cNvPr>
            <p:cNvSpPr>
              <a:spLocks noChangeAspect="1" noChangeShapeType="1"/>
            </p:cNvSpPr>
            <p:nvPr/>
          </p:nvSpPr>
          <p:spPr bwMode="auto">
            <a:xfrm flipH="1">
              <a:off x="6200775" y="4084003"/>
              <a:ext cx="19050"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50" name="Line 598">
              <a:extLst>
                <a:ext uri="{FF2B5EF4-FFF2-40B4-BE49-F238E27FC236}">
                  <a16:creationId xmlns:a16="http://schemas.microsoft.com/office/drawing/2014/main" id="{7D0FC7C4-A7DA-41C1-8F61-D9BCDE5A63CE}"/>
                </a:ext>
              </a:extLst>
            </p:cNvPr>
            <p:cNvSpPr>
              <a:spLocks noChangeAspect="1" noChangeShapeType="1"/>
            </p:cNvSpPr>
            <p:nvPr/>
          </p:nvSpPr>
          <p:spPr bwMode="auto">
            <a:xfrm flipH="1">
              <a:off x="6200775" y="3968115"/>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51" name="Line 599">
              <a:extLst>
                <a:ext uri="{FF2B5EF4-FFF2-40B4-BE49-F238E27FC236}">
                  <a16:creationId xmlns:a16="http://schemas.microsoft.com/office/drawing/2014/main" id="{5C262DD2-C538-4ABF-A730-62CDDD62A797}"/>
                </a:ext>
              </a:extLst>
            </p:cNvPr>
            <p:cNvSpPr>
              <a:spLocks noChangeAspect="1" noChangeShapeType="1"/>
            </p:cNvSpPr>
            <p:nvPr/>
          </p:nvSpPr>
          <p:spPr bwMode="auto">
            <a:xfrm flipH="1">
              <a:off x="6200775" y="3739515"/>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52" name="Line 600">
              <a:extLst>
                <a:ext uri="{FF2B5EF4-FFF2-40B4-BE49-F238E27FC236}">
                  <a16:creationId xmlns:a16="http://schemas.microsoft.com/office/drawing/2014/main" id="{BAD131B6-59A5-4AF4-B286-91CFE186717F}"/>
                </a:ext>
              </a:extLst>
            </p:cNvPr>
            <p:cNvSpPr>
              <a:spLocks noChangeAspect="1" noChangeShapeType="1"/>
            </p:cNvSpPr>
            <p:nvPr/>
          </p:nvSpPr>
          <p:spPr bwMode="auto">
            <a:xfrm flipH="1">
              <a:off x="6200775" y="3625215"/>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53" name="Line 601">
              <a:extLst>
                <a:ext uri="{FF2B5EF4-FFF2-40B4-BE49-F238E27FC236}">
                  <a16:creationId xmlns:a16="http://schemas.microsoft.com/office/drawing/2014/main" id="{CDD104B3-DA2B-4A1A-B210-2F379449D2E4}"/>
                </a:ext>
              </a:extLst>
            </p:cNvPr>
            <p:cNvSpPr>
              <a:spLocks noChangeAspect="1" noChangeShapeType="1"/>
            </p:cNvSpPr>
            <p:nvPr/>
          </p:nvSpPr>
          <p:spPr bwMode="auto">
            <a:xfrm flipH="1">
              <a:off x="6200775" y="3510915"/>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54" name="Line 602">
              <a:extLst>
                <a:ext uri="{FF2B5EF4-FFF2-40B4-BE49-F238E27FC236}">
                  <a16:creationId xmlns:a16="http://schemas.microsoft.com/office/drawing/2014/main" id="{D9050AB7-26B1-4CE6-A41B-61B62FDBFF88}"/>
                </a:ext>
              </a:extLst>
            </p:cNvPr>
            <p:cNvSpPr>
              <a:spLocks noChangeAspect="1" noChangeShapeType="1"/>
            </p:cNvSpPr>
            <p:nvPr/>
          </p:nvSpPr>
          <p:spPr bwMode="auto">
            <a:xfrm flipH="1">
              <a:off x="6200775" y="3396615"/>
              <a:ext cx="19050"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55" name="Line 603">
              <a:extLst>
                <a:ext uri="{FF2B5EF4-FFF2-40B4-BE49-F238E27FC236}">
                  <a16:creationId xmlns:a16="http://schemas.microsoft.com/office/drawing/2014/main" id="{88E27D62-E359-4928-AD40-15EDE1DABFBE}"/>
                </a:ext>
              </a:extLst>
            </p:cNvPr>
            <p:cNvSpPr>
              <a:spLocks noChangeAspect="1" noChangeShapeType="1"/>
            </p:cNvSpPr>
            <p:nvPr/>
          </p:nvSpPr>
          <p:spPr bwMode="auto">
            <a:xfrm flipH="1">
              <a:off x="6200775" y="3168015"/>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56" name="Line 604">
              <a:extLst>
                <a:ext uri="{FF2B5EF4-FFF2-40B4-BE49-F238E27FC236}">
                  <a16:creationId xmlns:a16="http://schemas.microsoft.com/office/drawing/2014/main" id="{7200326E-BA15-4BC5-AC7B-1CE8426DB2CB}"/>
                </a:ext>
              </a:extLst>
            </p:cNvPr>
            <p:cNvSpPr>
              <a:spLocks noChangeAspect="1" noChangeShapeType="1"/>
            </p:cNvSpPr>
            <p:nvPr/>
          </p:nvSpPr>
          <p:spPr bwMode="auto">
            <a:xfrm flipH="1">
              <a:off x="6200775" y="3053715"/>
              <a:ext cx="19050"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57" name="Line 605">
              <a:extLst>
                <a:ext uri="{FF2B5EF4-FFF2-40B4-BE49-F238E27FC236}">
                  <a16:creationId xmlns:a16="http://schemas.microsoft.com/office/drawing/2014/main" id="{06A58D0F-EB6D-49B8-B3AF-C7A7C0B7FFBC}"/>
                </a:ext>
              </a:extLst>
            </p:cNvPr>
            <p:cNvSpPr>
              <a:spLocks noChangeAspect="1" noChangeShapeType="1"/>
            </p:cNvSpPr>
            <p:nvPr/>
          </p:nvSpPr>
          <p:spPr bwMode="auto">
            <a:xfrm flipH="1">
              <a:off x="6200775" y="29378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58" name="Line 606">
              <a:extLst>
                <a:ext uri="{FF2B5EF4-FFF2-40B4-BE49-F238E27FC236}">
                  <a16:creationId xmlns:a16="http://schemas.microsoft.com/office/drawing/2014/main" id="{4D5BBE4D-1BF3-49FA-92DE-088920E158BF}"/>
                </a:ext>
              </a:extLst>
            </p:cNvPr>
            <p:cNvSpPr>
              <a:spLocks noChangeAspect="1" noChangeShapeType="1"/>
            </p:cNvSpPr>
            <p:nvPr/>
          </p:nvSpPr>
          <p:spPr bwMode="auto">
            <a:xfrm flipH="1">
              <a:off x="6200775" y="28235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59" name="Line 607">
              <a:extLst>
                <a:ext uri="{FF2B5EF4-FFF2-40B4-BE49-F238E27FC236}">
                  <a16:creationId xmlns:a16="http://schemas.microsoft.com/office/drawing/2014/main" id="{50152945-A7E2-45DB-AAAF-39251B9A1812}"/>
                </a:ext>
              </a:extLst>
            </p:cNvPr>
            <p:cNvSpPr>
              <a:spLocks noChangeAspect="1" noChangeShapeType="1"/>
            </p:cNvSpPr>
            <p:nvPr/>
          </p:nvSpPr>
          <p:spPr bwMode="auto">
            <a:xfrm flipH="1">
              <a:off x="6200775" y="25949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60" name="Line 608">
              <a:extLst>
                <a:ext uri="{FF2B5EF4-FFF2-40B4-BE49-F238E27FC236}">
                  <a16:creationId xmlns:a16="http://schemas.microsoft.com/office/drawing/2014/main" id="{E194B573-1D65-4033-B9CE-3B5ABEC7FC44}"/>
                </a:ext>
              </a:extLst>
            </p:cNvPr>
            <p:cNvSpPr>
              <a:spLocks noChangeAspect="1" noChangeShapeType="1"/>
            </p:cNvSpPr>
            <p:nvPr/>
          </p:nvSpPr>
          <p:spPr bwMode="auto">
            <a:xfrm flipH="1">
              <a:off x="6200775" y="24806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61" name="Line 609">
              <a:extLst>
                <a:ext uri="{FF2B5EF4-FFF2-40B4-BE49-F238E27FC236}">
                  <a16:creationId xmlns:a16="http://schemas.microsoft.com/office/drawing/2014/main" id="{F5D9FF5A-6C14-4BBE-8E32-07341E088D64}"/>
                </a:ext>
              </a:extLst>
            </p:cNvPr>
            <p:cNvSpPr>
              <a:spLocks noChangeAspect="1" noChangeShapeType="1"/>
            </p:cNvSpPr>
            <p:nvPr/>
          </p:nvSpPr>
          <p:spPr bwMode="auto">
            <a:xfrm flipH="1">
              <a:off x="6200775" y="23663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62" name="Line 610">
              <a:extLst>
                <a:ext uri="{FF2B5EF4-FFF2-40B4-BE49-F238E27FC236}">
                  <a16:creationId xmlns:a16="http://schemas.microsoft.com/office/drawing/2014/main" id="{44BB54F9-15A0-4B12-A98E-12BC4B2FD9BF}"/>
                </a:ext>
              </a:extLst>
            </p:cNvPr>
            <p:cNvSpPr>
              <a:spLocks noChangeAspect="1" noChangeShapeType="1"/>
            </p:cNvSpPr>
            <p:nvPr/>
          </p:nvSpPr>
          <p:spPr bwMode="auto">
            <a:xfrm flipH="1">
              <a:off x="6200775" y="22504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63" name="Line 611">
              <a:extLst>
                <a:ext uri="{FF2B5EF4-FFF2-40B4-BE49-F238E27FC236}">
                  <a16:creationId xmlns:a16="http://schemas.microsoft.com/office/drawing/2014/main" id="{E5F66568-7B80-4F15-8FC8-C6732626EE75}"/>
                </a:ext>
              </a:extLst>
            </p:cNvPr>
            <p:cNvSpPr>
              <a:spLocks noChangeAspect="1" noChangeShapeType="1"/>
            </p:cNvSpPr>
            <p:nvPr/>
          </p:nvSpPr>
          <p:spPr bwMode="auto">
            <a:xfrm flipH="1">
              <a:off x="6200775" y="20234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64" name="Line 612">
              <a:extLst>
                <a:ext uri="{FF2B5EF4-FFF2-40B4-BE49-F238E27FC236}">
                  <a16:creationId xmlns:a16="http://schemas.microsoft.com/office/drawing/2014/main" id="{4CECA901-CE1E-4EF2-98AE-C7794F0976FA}"/>
                </a:ext>
              </a:extLst>
            </p:cNvPr>
            <p:cNvSpPr>
              <a:spLocks noChangeAspect="1" noChangeShapeType="1"/>
            </p:cNvSpPr>
            <p:nvPr/>
          </p:nvSpPr>
          <p:spPr bwMode="auto">
            <a:xfrm flipH="1">
              <a:off x="6200775" y="19075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65" name="Line 613">
              <a:extLst>
                <a:ext uri="{FF2B5EF4-FFF2-40B4-BE49-F238E27FC236}">
                  <a16:creationId xmlns:a16="http://schemas.microsoft.com/office/drawing/2014/main" id="{CF0FDC12-183A-464E-9C11-DB9E83EC25A6}"/>
                </a:ext>
              </a:extLst>
            </p:cNvPr>
            <p:cNvSpPr>
              <a:spLocks noChangeAspect="1" noChangeShapeType="1"/>
            </p:cNvSpPr>
            <p:nvPr/>
          </p:nvSpPr>
          <p:spPr bwMode="auto">
            <a:xfrm flipH="1">
              <a:off x="6200775" y="17932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66" name="Line 614">
              <a:extLst>
                <a:ext uri="{FF2B5EF4-FFF2-40B4-BE49-F238E27FC236}">
                  <a16:creationId xmlns:a16="http://schemas.microsoft.com/office/drawing/2014/main" id="{5AE8A7C2-1CCD-4845-B30A-3B595E3B990D}"/>
                </a:ext>
              </a:extLst>
            </p:cNvPr>
            <p:cNvSpPr>
              <a:spLocks noChangeAspect="1" noChangeShapeType="1"/>
            </p:cNvSpPr>
            <p:nvPr/>
          </p:nvSpPr>
          <p:spPr bwMode="auto">
            <a:xfrm flipH="1">
              <a:off x="6200775" y="16789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67" name="Line 615">
              <a:extLst>
                <a:ext uri="{FF2B5EF4-FFF2-40B4-BE49-F238E27FC236}">
                  <a16:creationId xmlns:a16="http://schemas.microsoft.com/office/drawing/2014/main" id="{9F093142-549C-4F52-B064-E385CDF88DE6}"/>
                </a:ext>
              </a:extLst>
            </p:cNvPr>
            <p:cNvSpPr>
              <a:spLocks noChangeAspect="1" noChangeShapeType="1"/>
            </p:cNvSpPr>
            <p:nvPr/>
          </p:nvSpPr>
          <p:spPr bwMode="auto">
            <a:xfrm flipH="1">
              <a:off x="6200775" y="14503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68" name="Line 616">
              <a:extLst>
                <a:ext uri="{FF2B5EF4-FFF2-40B4-BE49-F238E27FC236}">
                  <a16:creationId xmlns:a16="http://schemas.microsoft.com/office/drawing/2014/main" id="{AED0F867-2011-4131-BE0B-7F13E0D9D8DC}"/>
                </a:ext>
              </a:extLst>
            </p:cNvPr>
            <p:cNvSpPr>
              <a:spLocks noChangeAspect="1" noChangeShapeType="1"/>
            </p:cNvSpPr>
            <p:nvPr/>
          </p:nvSpPr>
          <p:spPr bwMode="auto">
            <a:xfrm flipH="1">
              <a:off x="6200775" y="13360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69" name="Line 617">
              <a:extLst>
                <a:ext uri="{FF2B5EF4-FFF2-40B4-BE49-F238E27FC236}">
                  <a16:creationId xmlns:a16="http://schemas.microsoft.com/office/drawing/2014/main" id="{4FAE5397-F408-4038-B383-E90F4A06C25E}"/>
                </a:ext>
              </a:extLst>
            </p:cNvPr>
            <p:cNvSpPr>
              <a:spLocks noChangeAspect="1" noChangeShapeType="1"/>
            </p:cNvSpPr>
            <p:nvPr/>
          </p:nvSpPr>
          <p:spPr bwMode="auto">
            <a:xfrm flipH="1">
              <a:off x="6200775" y="1221740"/>
              <a:ext cx="19050"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70" name="Line 618">
              <a:extLst>
                <a:ext uri="{FF2B5EF4-FFF2-40B4-BE49-F238E27FC236}">
                  <a16:creationId xmlns:a16="http://schemas.microsoft.com/office/drawing/2014/main" id="{F3B07A8C-B216-40DF-B05F-224865A67009}"/>
                </a:ext>
              </a:extLst>
            </p:cNvPr>
            <p:cNvSpPr>
              <a:spLocks noChangeAspect="1" noChangeShapeType="1"/>
            </p:cNvSpPr>
            <p:nvPr/>
          </p:nvSpPr>
          <p:spPr bwMode="auto">
            <a:xfrm flipH="1">
              <a:off x="6200775" y="1105854"/>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171" name="Freeform 619">
              <a:extLst>
                <a:ext uri="{FF2B5EF4-FFF2-40B4-BE49-F238E27FC236}">
                  <a16:creationId xmlns:a16="http://schemas.microsoft.com/office/drawing/2014/main" id="{3CFF4B15-0875-4ECF-B618-10E8E2FAFD03}"/>
                </a:ext>
              </a:extLst>
            </p:cNvPr>
            <p:cNvSpPr>
              <a:spLocks noChangeAspect="1"/>
            </p:cNvSpPr>
            <p:nvPr/>
          </p:nvSpPr>
          <p:spPr bwMode="auto">
            <a:xfrm>
              <a:off x="5457825" y="1709104"/>
              <a:ext cx="338138" cy="376237"/>
            </a:xfrm>
            <a:custGeom>
              <a:avLst/>
              <a:gdLst>
                <a:gd name="T0" fmla="*/ 1321 w 2002"/>
                <a:gd name="T1" fmla="*/ 1668 h 1668"/>
                <a:gd name="T2" fmla="*/ 0 w 2002"/>
                <a:gd name="T3" fmla="*/ 0 h 1668"/>
                <a:gd name="T4" fmla="*/ 782 w 2002"/>
                <a:gd name="T5" fmla="*/ 0 h 1668"/>
                <a:gd name="T6" fmla="*/ 2002 w 2002"/>
                <a:gd name="T7" fmla="*/ 1485 h 1668"/>
                <a:gd name="T8" fmla="*/ 2002 w 2002"/>
                <a:gd name="T9" fmla="*/ 1668 h 1668"/>
                <a:gd name="T10" fmla="*/ 1321 w 2002"/>
                <a:gd name="T11" fmla="*/ 1668 h 1668"/>
              </a:gdLst>
              <a:ahLst/>
              <a:cxnLst>
                <a:cxn ang="0">
                  <a:pos x="T0" y="T1"/>
                </a:cxn>
                <a:cxn ang="0">
                  <a:pos x="T2" y="T3"/>
                </a:cxn>
                <a:cxn ang="0">
                  <a:pos x="T4" y="T5"/>
                </a:cxn>
                <a:cxn ang="0">
                  <a:pos x="T6" y="T7"/>
                </a:cxn>
                <a:cxn ang="0">
                  <a:pos x="T8" y="T9"/>
                </a:cxn>
                <a:cxn ang="0">
                  <a:pos x="T10" y="T11"/>
                </a:cxn>
              </a:cxnLst>
              <a:rect l="0" t="0" r="r" b="b"/>
              <a:pathLst>
                <a:path w="2002" h="1668">
                  <a:moveTo>
                    <a:pt x="1321" y="1668"/>
                  </a:moveTo>
                  <a:lnTo>
                    <a:pt x="0" y="0"/>
                  </a:lnTo>
                  <a:lnTo>
                    <a:pt x="782" y="0"/>
                  </a:lnTo>
                  <a:lnTo>
                    <a:pt x="2002" y="1485"/>
                  </a:lnTo>
                  <a:lnTo>
                    <a:pt x="2002" y="1668"/>
                  </a:lnTo>
                  <a:lnTo>
                    <a:pt x="1321" y="1668"/>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172" name="Freeform 620">
              <a:extLst>
                <a:ext uri="{FF2B5EF4-FFF2-40B4-BE49-F238E27FC236}">
                  <a16:creationId xmlns:a16="http://schemas.microsoft.com/office/drawing/2014/main" id="{8E269376-322D-496D-A909-C56D1E476E03}"/>
                </a:ext>
              </a:extLst>
            </p:cNvPr>
            <p:cNvSpPr>
              <a:spLocks noChangeAspect="1"/>
            </p:cNvSpPr>
            <p:nvPr/>
          </p:nvSpPr>
          <p:spPr bwMode="auto">
            <a:xfrm>
              <a:off x="5457825" y="1709104"/>
              <a:ext cx="338138" cy="376237"/>
            </a:xfrm>
            <a:custGeom>
              <a:avLst/>
              <a:gdLst>
                <a:gd name="T0" fmla="*/ 1321 w 2002"/>
                <a:gd name="T1" fmla="*/ 1668 h 1668"/>
                <a:gd name="T2" fmla="*/ 0 w 2002"/>
                <a:gd name="T3" fmla="*/ 0 h 1668"/>
                <a:gd name="T4" fmla="*/ 782 w 2002"/>
                <a:gd name="T5" fmla="*/ 0 h 1668"/>
                <a:gd name="T6" fmla="*/ 2002 w 2002"/>
                <a:gd name="T7" fmla="*/ 1485 h 1668"/>
                <a:gd name="T8" fmla="*/ 2002 w 2002"/>
                <a:gd name="T9" fmla="*/ 1668 h 1668"/>
                <a:gd name="T10" fmla="*/ 1321 w 2002"/>
                <a:gd name="T11" fmla="*/ 1668 h 1668"/>
              </a:gdLst>
              <a:ahLst/>
              <a:cxnLst>
                <a:cxn ang="0">
                  <a:pos x="T0" y="T1"/>
                </a:cxn>
                <a:cxn ang="0">
                  <a:pos x="T2" y="T3"/>
                </a:cxn>
                <a:cxn ang="0">
                  <a:pos x="T4" y="T5"/>
                </a:cxn>
                <a:cxn ang="0">
                  <a:pos x="T6" y="T7"/>
                </a:cxn>
                <a:cxn ang="0">
                  <a:pos x="T8" y="T9"/>
                </a:cxn>
                <a:cxn ang="0">
                  <a:pos x="T10" y="T11"/>
                </a:cxn>
              </a:cxnLst>
              <a:rect l="0" t="0" r="r" b="b"/>
              <a:pathLst>
                <a:path w="2002" h="1668">
                  <a:moveTo>
                    <a:pt x="1321" y="1668"/>
                  </a:moveTo>
                  <a:lnTo>
                    <a:pt x="0" y="0"/>
                  </a:lnTo>
                  <a:lnTo>
                    <a:pt x="782" y="0"/>
                  </a:lnTo>
                  <a:lnTo>
                    <a:pt x="2002" y="1485"/>
                  </a:lnTo>
                  <a:lnTo>
                    <a:pt x="2002" y="1668"/>
                  </a:lnTo>
                  <a:lnTo>
                    <a:pt x="1321" y="1668"/>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173" name="Freeform 621">
              <a:extLst>
                <a:ext uri="{FF2B5EF4-FFF2-40B4-BE49-F238E27FC236}">
                  <a16:creationId xmlns:a16="http://schemas.microsoft.com/office/drawing/2014/main" id="{7FEBD1C2-EC6E-4521-B4E6-1D23CF6801C2}"/>
                </a:ext>
              </a:extLst>
            </p:cNvPr>
            <p:cNvSpPr>
              <a:spLocks noChangeAspect="1"/>
            </p:cNvSpPr>
            <p:nvPr/>
          </p:nvSpPr>
          <p:spPr bwMode="auto">
            <a:xfrm>
              <a:off x="5359400" y="3339466"/>
              <a:ext cx="363538" cy="371475"/>
            </a:xfrm>
            <a:custGeom>
              <a:avLst/>
              <a:gdLst>
                <a:gd name="T0" fmla="*/ 0 w 2145"/>
                <a:gd name="T1" fmla="*/ 1649 h 1649"/>
                <a:gd name="T2" fmla="*/ 761 w 2145"/>
                <a:gd name="T3" fmla="*/ 1649 h 1649"/>
                <a:gd name="T4" fmla="*/ 2145 w 2145"/>
                <a:gd name="T5" fmla="*/ 77 h 1649"/>
                <a:gd name="T6" fmla="*/ 2145 w 2145"/>
                <a:gd name="T7" fmla="*/ 0 h 1649"/>
                <a:gd name="T8" fmla="*/ 1453 w 2145"/>
                <a:gd name="T9" fmla="*/ 0 h 1649"/>
                <a:gd name="T10" fmla="*/ 0 w 2145"/>
                <a:gd name="T11" fmla="*/ 1649 h 1649"/>
              </a:gdLst>
              <a:ahLst/>
              <a:cxnLst>
                <a:cxn ang="0">
                  <a:pos x="T0" y="T1"/>
                </a:cxn>
                <a:cxn ang="0">
                  <a:pos x="T2" y="T3"/>
                </a:cxn>
                <a:cxn ang="0">
                  <a:pos x="T4" y="T5"/>
                </a:cxn>
                <a:cxn ang="0">
                  <a:pos x="T6" y="T7"/>
                </a:cxn>
                <a:cxn ang="0">
                  <a:pos x="T8" y="T9"/>
                </a:cxn>
                <a:cxn ang="0">
                  <a:pos x="T10" y="T11"/>
                </a:cxn>
              </a:cxnLst>
              <a:rect l="0" t="0" r="r" b="b"/>
              <a:pathLst>
                <a:path w="2145" h="1649">
                  <a:moveTo>
                    <a:pt x="0" y="1649"/>
                  </a:moveTo>
                  <a:lnTo>
                    <a:pt x="761" y="1649"/>
                  </a:lnTo>
                  <a:lnTo>
                    <a:pt x="2145" y="77"/>
                  </a:lnTo>
                  <a:lnTo>
                    <a:pt x="2145" y="0"/>
                  </a:lnTo>
                  <a:lnTo>
                    <a:pt x="1453" y="0"/>
                  </a:lnTo>
                  <a:lnTo>
                    <a:pt x="0" y="1649"/>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174" name="Freeform 622">
              <a:extLst>
                <a:ext uri="{FF2B5EF4-FFF2-40B4-BE49-F238E27FC236}">
                  <a16:creationId xmlns:a16="http://schemas.microsoft.com/office/drawing/2014/main" id="{CC7FB322-09E1-4D64-AF71-46FB4B0D532C}"/>
                </a:ext>
              </a:extLst>
            </p:cNvPr>
            <p:cNvSpPr>
              <a:spLocks noChangeAspect="1"/>
            </p:cNvSpPr>
            <p:nvPr/>
          </p:nvSpPr>
          <p:spPr bwMode="auto">
            <a:xfrm>
              <a:off x="5359400" y="3339466"/>
              <a:ext cx="363538" cy="371475"/>
            </a:xfrm>
            <a:custGeom>
              <a:avLst/>
              <a:gdLst>
                <a:gd name="T0" fmla="*/ 0 w 2145"/>
                <a:gd name="T1" fmla="*/ 1649 h 1649"/>
                <a:gd name="T2" fmla="*/ 761 w 2145"/>
                <a:gd name="T3" fmla="*/ 1649 h 1649"/>
                <a:gd name="T4" fmla="*/ 2145 w 2145"/>
                <a:gd name="T5" fmla="*/ 77 h 1649"/>
                <a:gd name="T6" fmla="*/ 2145 w 2145"/>
                <a:gd name="T7" fmla="*/ 0 h 1649"/>
                <a:gd name="T8" fmla="*/ 1453 w 2145"/>
                <a:gd name="T9" fmla="*/ 0 h 1649"/>
                <a:gd name="T10" fmla="*/ 0 w 2145"/>
                <a:gd name="T11" fmla="*/ 1649 h 1649"/>
              </a:gdLst>
              <a:ahLst/>
              <a:cxnLst>
                <a:cxn ang="0">
                  <a:pos x="T0" y="T1"/>
                </a:cxn>
                <a:cxn ang="0">
                  <a:pos x="T2" y="T3"/>
                </a:cxn>
                <a:cxn ang="0">
                  <a:pos x="T4" y="T5"/>
                </a:cxn>
                <a:cxn ang="0">
                  <a:pos x="T6" y="T7"/>
                </a:cxn>
                <a:cxn ang="0">
                  <a:pos x="T8" y="T9"/>
                </a:cxn>
                <a:cxn ang="0">
                  <a:pos x="T10" y="T11"/>
                </a:cxn>
              </a:cxnLst>
              <a:rect l="0" t="0" r="r" b="b"/>
              <a:pathLst>
                <a:path w="2145" h="1649">
                  <a:moveTo>
                    <a:pt x="0" y="1649"/>
                  </a:moveTo>
                  <a:lnTo>
                    <a:pt x="761" y="1649"/>
                  </a:lnTo>
                  <a:lnTo>
                    <a:pt x="2145" y="77"/>
                  </a:lnTo>
                  <a:lnTo>
                    <a:pt x="2145" y="0"/>
                  </a:lnTo>
                  <a:lnTo>
                    <a:pt x="1453" y="0"/>
                  </a:lnTo>
                  <a:lnTo>
                    <a:pt x="0" y="164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175" name="Freeform 623">
              <a:extLst>
                <a:ext uri="{FF2B5EF4-FFF2-40B4-BE49-F238E27FC236}">
                  <a16:creationId xmlns:a16="http://schemas.microsoft.com/office/drawing/2014/main" id="{0DC561C8-525E-47CB-A151-32F8E7725015}"/>
                </a:ext>
              </a:extLst>
            </p:cNvPr>
            <p:cNvSpPr>
              <a:spLocks noChangeAspect="1"/>
            </p:cNvSpPr>
            <p:nvPr/>
          </p:nvSpPr>
          <p:spPr bwMode="auto">
            <a:xfrm>
              <a:off x="4375150" y="3487104"/>
              <a:ext cx="109538" cy="92075"/>
            </a:xfrm>
            <a:custGeom>
              <a:avLst/>
              <a:gdLst>
                <a:gd name="T0" fmla="*/ 646 w 646"/>
                <a:gd name="T1" fmla="*/ 407 h 407"/>
                <a:gd name="T2" fmla="*/ 646 w 646"/>
                <a:gd name="T3" fmla="*/ 0 h 407"/>
                <a:gd name="T4" fmla="*/ 496 w 646"/>
                <a:gd name="T5" fmla="*/ 0 h 407"/>
                <a:gd name="T6" fmla="*/ 496 w 646"/>
                <a:gd name="T7" fmla="*/ 126 h 407"/>
                <a:gd name="T8" fmla="*/ 0 w 646"/>
                <a:gd name="T9" fmla="*/ 126 h 407"/>
                <a:gd name="T10" fmla="*/ 0 w 646"/>
                <a:gd name="T11" fmla="*/ 229 h 407"/>
                <a:gd name="T12" fmla="*/ 496 w 646"/>
                <a:gd name="T13" fmla="*/ 229 h 407"/>
                <a:gd name="T14" fmla="*/ 496 w 646"/>
                <a:gd name="T15" fmla="*/ 407 h 407"/>
                <a:gd name="T16" fmla="*/ 646 w 646"/>
                <a:gd name="T17" fmla="*/ 40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07">
                  <a:moveTo>
                    <a:pt x="646" y="407"/>
                  </a:moveTo>
                  <a:lnTo>
                    <a:pt x="646" y="0"/>
                  </a:lnTo>
                  <a:lnTo>
                    <a:pt x="496" y="0"/>
                  </a:lnTo>
                  <a:lnTo>
                    <a:pt x="496" y="126"/>
                  </a:lnTo>
                  <a:lnTo>
                    <a:pt x="0" y="126"/>
                  </a:lnTo>
                  <a:lnTo>
                    <a:pt x="0" y="229"/>
                  </a:lnTo>
                  <a:lnTo>
                    <a:pt x="496" y="229"/>
                  </a:lnTo>
                  <a:lnTo>
                    <a:pt x="496" y="407"/>
                  </a:lnTo>
                  <a:lnTo>
                    <a:pt x="646" y="407"/>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176" name="Freeform 624">
              <a:extLst>
                <a:ext uri="{FF2B5EF4-FFF2-40B4-BE49-F238E27FC236}">
                  <a16:creationId xmlns:a16="http://schemas.microsoft.com/office/drawing/2014/main" id="{7F9B7F36-3A81-467F-96A3-D09BF0B9471F}"/>
                </a:ext>
              </a:extLst>
            </p:cNvPr>
            <p:cNvSpPr>
              <a:spLocks noChangeAspect="1"/>
            </p:cNvSpPr>
            <p:nvPr/>
          </p:nvSpPr>
          <p:spPr bwMode="auto">
            <a:xfrm>
              <a:off x="4375150" y="3487104"/>
              <a:ext cx="109538" cy="92075"/>
            </a:xfrm>
            <a:custGeom>
              <a:avLst/>
              <a:gdLst>
                <a:gd name="T0" fmla="*/ 646 w 646"/>
                <a:gd name="T1" fmla="*/ 407 h 407"/>
                <a:gd name="T2" fmla="*/ 646 w 646"/>
                <a:gd name="T3" fmla="*/ 0 h 407"/>
                <a:gd name="T4" fmla="*/ 496 w 646"/>
                <a:gd name="T5" fmla="*/ 0 h 407"/>
                <a:gd name="T6" fmla="*/ 496 w 646"/>
                <a:gd name="T7" fmla="*/ 126 h 407"/>
                <a:gd name="T8" fmla="*/ 0 w 646"/>
                <a:gd name="T9" fmla="*/ 126 h 407"/>
                <a:gd name="T10" fmla="*/ 0 w 646"/>
                <a:gd name="T11" fmla="*/ 229 h 407"/>
                <a:gd name="T12" fmla="*/ 496 w 646"/>
                <a:gd name="T13" fmla="*/ 229 h 407"/>
                <a:gd name="T14" fmla="*/ 496 w 646"/>
                <a:gd name="T15" fmla="*/ 407 h 407"/>
                <a:gd name="T16" fmla="*/ 646 w 646"/>
                <a:gd name="T17" fmla="*/ 40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07">
                  <a:moveTo>
                    <a:pt x="646" y="407"/>
                  </a:moveTo>
                  <a:lnTo>
                    <a:pt x="646" y="0"/>
                  </a:lnTo>
                  <a:lnTo>
                    <a:pt x="496" y="0"/>
                  </a:lnTo>
                  <a:lnTo>
                    <a:pt x="496" y="126"/>
                  </a:lnTo>
                  <a:lnTo>
                    <a:pt x="0" y="126"/>
                  </a:lnTo>
                  <a:lnTo>
                    <a:pt x="0" y="229"/>
                  </a:lnTo>
                  <a:lnTo>
                    <a:pt x="496" y="229"/>
                  </a:lnTo>
                  <a:lnTo>
                    <a:pt x="496" y="407"/>
                  </a:lnTo>
                  <a:lnTo>
                    <a:pt x="646" y="407"/>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177" name="Freeform 625">
              <a:extLst>
                <a:ext uri="{FF2B5EF4-FFF2-40B4-BE49-F238E27FC236}">
                  <a16:creationId xmlns:a16="http://schemas.microsoft.com/office/drawing/2014/main" id="{D00CB40A-35C7-496C-98B0-0639E1EA6301}"/>
                </a:ext>
              </a:extLst>
            </p:cNvPr>
            <p:cNvSpPr>
              <a:spLocks noChangeAspect="1"/>
            </p:cNvSpPr>
            <p:nvPr/>
          </p:nvSpPr>
          <p:spPr bwMode="auto">
            <a:xfrm>
              <a:off x="4410075" y="1826579"/>
              <a:ext cx="153988" cy="1552575"/>
            </a:xfrm>
            <a:custGeom>
              <a:avLst/>
              <a:gdLst>
                <a:gd name="T0" fmla="*/ 472 w 911"/>
                <a:gd name="T1" fmla="*/ 6904 h 6904"/>
                <a:gd name="T2" fmla="*/ 368 w 911"/>
                <a:gd name="T3" fmla="*/ 6563 h 6904"/>
                <a:gd name="T4" fmla="*/ 277 w 911"/>
                <a:gd name="T5" fmla="*/ 6219 h 6904"/>
                <a:gd name="T6" fmla="*/ 200 w 911"/>
                <a:gd name="T7" fmla="*/ 5875 h 6904"/>
                <a:gd name="T8" fmla="*/ 134 w 911"/>
                <a:gd name="T9" fmla="*/ 5528 h 6904"/>
                <a:gd name="T10" fmla="*/ 81 w 911"/>
                <a:gd name="T11" fmla="*/ 5180 h 6904"/>
                <a:gd name="T12" fmla="*/ 42 w 911"/>
                <a:gd name="T13" fmla="*/ 4832 h 6904"/>
                <a:gd name="T14" fmla="*/ 15 w 911"/>
                <a:gd name="T15" fmla="*/ 4482 h 6904"/>
                <a:gd name="T16" fmla="*/ 2 w 911"/>
                <a:gd name="T17" fmla="*/ 4133 h 6904"/>
                <a:gd name="T18" fmla="*/ 0 w 911"/>
                <a:gd name="T19" fmla="*/ 3783 h 6904"/>
                <a:gd name="T20" fmla="*/ 13 w 911"/>
                <a:gd name="T21" fmla="*/ 3433 h 6904"/>
                <a:gd name="T22" fmla="*/ 38 w 911"/>
                <a:gd name="T23" fmla="*/ 3084 h 6904"/>
                <a:gd name="T24" fmla="*/ 75 w 911"/>
                <a:gd name="T25" fmla="*/ 2735 h 6904"/>
                <a:gd name="T26" fmla="*/ 125 w 911"/>
                <a:gd name="T27" fmla="*/ 2388 h 6904"/>
                <a:gd name="T28" fmla="*/ 188 w 911"/>
                <a:gd name="T29" fmla="*/ 2041 h 6904"/>
                <a:gd name="T30" fmla="*/ 265 w 911"/>
                <a:gd name="T31" fmla="*/ 1696 h 6904"/>
                <a:gd name="T32" fmla="*/ 354 w 911"/>
                <a:gd name="T33" fmla="*/ 1352 h 6904"/>
                <a:gd name="T34" fmla="*/ 455 w 911"/>
                <a:gd name="T35" fmla="*/ 1011 h 6904"/>
                <a:gd name="T36" fmla="*/ 569 w 911"/>
                <a:gd name="T37" fmla="*/ 671 h 6904"/>
                <a:gd name="T38" fmla="*/ 695 w 911"/>
                <a:gd name="T39" fmla="*/ 335 h 6904"/>
                <a:gd name="T40" fmla="*/ 833 w 911"/>
                <a:gd name="T41" fmla="*/ 0 h 6904"/>
                <a:gd name="T42" fmla="*/ 911 w 911"/>
                <a:gd name="T43" fmla="*/ 19 h 6904"/>
                <a:gd name="T44" fmla="*/ 773 w 911"/>
                <a:gd name="T45" fmla="*/ 351 h 6904"/>
                <a:gd name="T46" fmla="*/ 647 w 911"/>
                <a:gd name="T47" fmla="*/ 687 h 6904"/>
                <a:gd name="T48" fmla="*/ 534 w 911"/>
                <a:gd name="T49" fmla="*/ 1024 h 6904"/>
                <a:gd name="T50" fmla="*/ 434 w 911"/>
                <a:gd name="T51" fmla="*/ 1365 h 6904"/>
                <a:gd name="T52" fmla="*/ 345 w 911"/>
                <a:gd name="T53" fmla="*/ 1706 h 6904"/>
                <a:gd name="T54" fmla="*/ 269 w 911"/>
                <a:gd name="T55" fmla="*/ 2050 h 6904"/>
                <a:gd name="T56" fmla="*/ 206 w 911"/>
                <a:gd name="T57" fmla="*/ 2395 h 6904"/>
                <a:gd name="T58" fmla="*/ 157 w 911"/>
                <a:gd name="T59" fmla="*/ 2742 h 6904"/>
                <a:gd name="T60" fmla="*/ 120 w 911"/>
                <a:gd name="T61" fmla="*/ 3088 h 6904"/>
                <a:gd name="T62" fmla="*/ 95 w 911"/>
                <a:gd name="T63" fmla="*/ 3436 h 6904"/>
                <a:gd name="T64" fmla="*/ 83 w 911"/>
                <a:gd name="T65" fmla="*/ 3784 h 6904"/>
                <a:gd name="T66" fmla="*/ 84 w 911"/>
                <a:gd name="T67" fmla="*/ 4132 h 6904"/>
                <a:gd name="T68" fmla="*/ 97 w 911"/>
                <a:gd name="T69" fmla="*/ 4480 h 6904"/>
                <a:gd name="T70" fmla="*/ 124 w 911"/>
                <a:gd name="T71" fmla="*/ 4827 h 6904"/>
                <a:gd name="T72" fmla="*/ 164 w 911"/>
                <a:gd name="T73" fmla="*/ 5174 h 6904"/>
                <a:gd name="T74" fmla="*/ 215 w 911"/>
                <a:gd name="T75" fmla="*/ 5521 h 6904"/>
                <a:gd name="T76" fmla="*/ 281 w 911"/>
                <a:gd name="T77" fmla="*/ 5865 h 6904"/>
                <a:gd name="T78" fmla="*/ 358 w 911"/>
                <a:gd name="T79" fmla="*/ 6208 h 6904"/>
                <a:gd name="T80" fmla="*/ 448 w 911"/>
                <a:gd name="T81" fmla="*/ 6550 h 6904"/>
                <a:gd name="T82" fmla="*/ 551 w 911"/>
                <a:gd name="T83" fmla="*/ 6889 h 6904"/>
                <a:gd name="T84" fmla="*/ 472 w 911"/>
                <a:gd name="T85" fmla="*/ 6904 h 6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1" h="6904">
                  <a:moveTo>
                    <a:pt x="472" y="6904"/>
                  </a:moveTo>
                  <a:lnTo>
                    <a:pt x="368" y="6563"/>
                  </a:lnTo>
                  <a:lnTo>
                    <a:pt x="277" y="6219"/>
                  </a:lnTo>
                  <a:lnTo>
                    <a:pt x="200" y="5875"/>
                  </a:lnTo>
                  <a:lnTo>
                    <a:pt x="134" y="5528"/>
                  </a:lnTo>
                  <a:lnTo>
                    <a:pt x="81" y="5180"/>
                  </a:lnTo>
                  <a:lnTo>
                    <a:pt x="42" y="4832"/>
                  </a:lnTo>
                  <a:lnTo>
                    <a:pt x="15" y="4482"/>
                  </a:lnTo>
                  <a:lnTo>
                    <a:pt x="2" y="4133"/>
                  </a:lnTo>
                  <a:lnTo>
                    <a:pt x="0" y="3783"/>
                  </a:lnTo>
                  <a:lnTo>
                    <a:pt x="13" y="3433"/>
                  </a:lnTo>
                  <a:lnTo>
                    <a:pt x="38" y="3084"/>
                  </a:lnTo>
                  <a:lnTo>
                    <a:pt x="75" y="2735"/>
                  </a:lnTo>
                  <a:lnTo>
                    <a:pt x="125" y="2388"/>
                  </a:lnTo>
                  <a:lnTo>
                    <a:pt x="188" y="2041"/>
                  </a:lnTo>
                  <a:lnTo>
                    <a:pt x="265" y="1696"/>
                  </a:lnTo>
                  <a:lnTo>
                    <a:pt x="354" y="1352"/>
                  </a:lnTo>
                  <a:lnTo>
                    <a:pt x="455" y="1011"/>
                  </a:lnTo>
                  <a:lnTo>
                    <a:pt x="569" y="671"/>
                  </a:lnTo>
                  <a:lnTo>
                    <a:pt x="695" y="335"/>
                  </a:lnTo>
                  <a:lnTo>
                    <a:pt x="833" y="0"/>
                  </a:lnTo>
                  <a:lnTo>
                    <a:pt x="911" y="19"/>
                  </a:lnTo>
                  <a:lnTo>
                    <a:pt x="773" y="351"/>
                  </a:lnTo>
                  <a:lnTo>
                    <a:pt x="647" y="687"/>
                  </a:lnTo>
                  <a:lnTo>
                    <a:pt x="534" y="1024"/>
                  </a:lnTo>
                  <a:lnTo>
                    <a:pt x="434" y="1365"/>
                  </a:lnTo>
                  <a:lnTo>
                    <a:pt x="345" y="1706"/>
                  </a:lnTo>
                  <a:lnTo>
                    <a:pt x="269" y="2050"/>
                  </a:lnTo>
                  <a:lnTo>
                    <a:pt x="206" y="2395"/>
                  </a:lnTo>
                  <a:lnTo>
                    <a:pt x="157" y="2742"/>
                  </a:lnTo>
                  <a:lnTo>
                    <a:pt x="120" y="3088"/>
                  </a:lnTo>
                  <a:lnTo>
                    <a:pt x="95" y="3436"/>
                  </a:lnTo>
                  <a:lnTo>
                    <a:pt x="83" y="3784"/>
                  </a:lnTo>
                  <a:lnTo>
                    <a:pt x="84" y="4132"/>
                  </a:lnTo>
                  <a:lnTo>
                    <a:pt x="97" y="4480"/>
                  </a:lnTo>
                  <a:lnTo>
                    <a:pt x="124" y="4827"/>
                  </a:lnTo>
                  <a:lnTo>
                    <a:pt x="164" y="5174"/>
                  </a:lnTo>
                  <a:lnTo>
                    <a:pt x="215" y="5521"/>
                  </a:lnTo>
                  <a:lnTo>
                    <a:pt x="281" y="5865"/>
                  </a:lnTo>
                  <a:lnTo>
                    <a:pt x="358" y="6208"/>
                  </a:lnTo>
                  <a:lnTo>
                    <a:pt x="448" y="6550"/>
                  </a:lnTo>
                  <a:lnTo>
                    <a:pt x="551" y="6889"/>
                  </a:lnTo>
                  <a:lnTo>
                    <a:pt x="472" y="6904"/>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178" name="Freeform 626">
              <a:extLst>
                <a:ext uri="{FF2B5EF4-FFF2-40B4-BE49-F238E27FC236}">
                  <a16:creationId xmlns:a16="http://schemas.microsoft.com/office/drawing/2014/main" id="{A6E79991-922A-4C0F-87CD-B9AE1BFCE20A}"/>
                </a:ext>
              </a:extLst>
            </p:cNvPr>
            <p:cNvSpPr>
              <a:spLocks noChangeAspect="1"/>
            </p:cNvSpPr>
            <p:nvPr/>
          </p:nvSpPr>
          <p:spPr bwMode="auto">
            <a:xfrm>
              <a:off x="4410075" y="1826579"/>
              <a:ext cx="153988" cy="1552575"/>
            </a:xfrm>
            <a:custGeom>
              <a:avLst/>
              <a:gdLst>
                <a:gd name="T0" fmla="*/ 472 w 911"/>
                <a:gd name="T1" fmla="*/ 6904 h 6904"/>
                <a:gd name="T2" fmla="*/ 368 w 911"/>
                <a:gd name="T3" fmla="*/ 6563 h 6904"/>
                <a:gd name="T4" fmla="*/ 277 w 911"/>
                <a:gd name="T5" fmla="*/ 6219 h 6904"/>
                <a:gd name="T6" fmla="*/ 200 w 911"/>
                <a:gd name="T7" fmla="*/ 5875 h 6904"/>
                <a:gd name="T8" fmla="*/ 134 w 911"/>
                <a:gd name="T9" fmla="*/ 5528 h 6904"/>
                <a:gd name="T10" fmla="*/ 81 w 911"/>
                <a:gd name="T11" fmla="*/ 5180 h 6904"/>
                <a:gd name="T12" fmla="*/ 42 w 911"/>
                <a:gd name="T13" fmla="*/ 4832 h 6904"/>
                <a:gd name="T14" fmla="*/ 15 w 911"/>
                <a:gd name="T15" fmla="*/ 4482 h 6904"/>
                <a:gd name="T16" fmla="*/ 2 w 911"/>
                <a:gd name="T17" fmla="*/ 4133 h 6904"/>
                <a:gd name="T18" fmla="*/ 0 w 911"/>
                <a:gd name="T19" fmla="*/ 3783 h 6904"/>
                <a:gd name="T20" fmla="*/ 13 w 911"/>
                <a:gd name="T21" fmla="*/ 3433 h 6904"/>
                <a:gd name="T22" fmla="*/ 38 w 911"/>
                <a:gd name="T23" fmla="*/ 3084 h 6904"/>
                <a:gd name="T24" fmla="*/ 75 w 911"/>
                <a:gd name="T25" fmla="*/ 2735 h 6904"/>
                <a:gd name="T26" fmla="*/ 125 w 911"/>
                <a:gd name="T27" fmla="*/ 2388 h 6904"/>
                <a:gd name="T28" fmla="*/ 188 w 911"/>
                <a:gd name="T29" fmla="*/ 2041 h 6904"/>
                <a:gd name="T30" fmla="*/ 265 w 911"/>
                <a:gd name="T31" fmla="*/ 1696 h 6904"/>
                <a:gd name="T32" fmla="*/ 354 w 911"/>
                <a:gd name="T33" fmla="*/ 1352 h 6904"/>
                <a:gd name="T34" fmla="*/ 455 w 911"/>
                <a:gd name="T35" fmla="*/ 1011 h 6904"/>
                <a:gd name="T36" fmla="*/ 569 w 911"/>
                <a:gd name="T37" fmla="*/ 671 h 6904"/>
                <a:gd name="T38" fmla="*/ 695 w 911"/>
                <a:gd name="T39" fmla="*/ 335 h 6904"/>
                <a:gd name="T40" fmla="*/ 833 w 911"/>
                <a:gd name="T41" fmla="*/ 0 h 6904"/>
                <a:gd name="T42" fmla="*/ 911 w 911"/>
                <a:gd name="T43" fmla="*/ 19 h 6904"/>
                <a:gd name="T44" fmla="*/ 773 w 911"/>
                <a:gd name="T45" fmla="*/ 351 h 6904"/>
                <a:gd name="T46" fmla="*/ 647 w 911"/>
                <a:gd name="T47" fmla="*/ 687 h 6904"/>
                <a:gd name="T48" fmla="*/ 534 w 911"/>
                <a:gd name="T49" fmla="*/ 1024 h 6904"/>
                <a:gd name="T50" fmla="*/ 434 w 911"/>
                <a:gd name="T51" fmla="*/ 1365 h 6904"/>
                <a:gd name="T52" fmla="*/ 345 w 911"/>
                <a:gd name="T53" fmla="*/ 1706 h 6904"/>
                <a:gd name="T54" fmla="*/ 269 w 911"/>
                <a:gd name="T55" fmla="*/ 2050 h 6904"/>
                <a:gd name="T56" fmla="*/ 206 w 911"/>
                <a:gd name="T57" fmla="*/ 2395 h 6904"/>
                <a:gd name="T58" fmla="*/ 157 w 911"/>
                <a:gd name="T59" fmla="*/ 2742 h 6904"/>
                <a:gd name="T60" fmla="*/ 120 w 911"/>
                <a:gd name="T61" fmla="*/ 3088 h 6904"/>
                <a:gd name="T62" fmla="*/ 95 w 911"/>
                <a:gd name="T63" fmla="*/ 3436 h 6904"/>
                <a:gd name="T64" fmla="*/ 83 w 911"/>
                <a:gd name="T65" fmla="*/ 3784 h 6904"/>
                <a:gd name="T66" fmla="*/ 84 w 911"/>
                <a:gd name="T67" fmla="*/ 4132 h 6904"/>
                <a:gd name="T68" fmla="*/ 97 w 911"/>
                <a:gd name="T69" fmla="*/ 4480 h 6904"/>
                <a:gd name="T70" fmla="*/ 124 w 911"/>
                <a:gd name="T71" fmla="*/ 4827 h 6904"/>
                <a:gd name="T72" fmla="*/ 164 w 911"/>
                <a:gd name="T73" fmla="*/ 5174 h 6904"/>
                <a:gd name="T74" fmla="*/ 215 w 911"/>
                <a:gd name="T75" fmla="*/ 5521 h 6904"/>
                <a:gd name="T76" fmla="*/ 281 w 911"/>
                <a:gd name="T77" fmla="*/ 5865 h 6904"/>
                <a:gd name="T78" fmla="*/ 358 w 911"/>
                <a:gd name="T79" fmla="*/ 6208 h 6904"/>
                <a:gd name="T80" fmla="*/ 448 w 911"/>
                <a:gd name="T81" fmla="*/ 6550 h 6904"/>
                <a:gd name="T82" fmla="*/ 551 w 911"/>
                <a:gd name="T83" fmla="*/ 6889 h 6904"/>
                <a:gd name="T84" fmla="*/ 472 w 911"/>
                <a:gd name="T85" fmla="*/ 6904 h 6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1" h="6904">
                  <a:moveTo>
                    <a:pt x="472" y="6904"/>
                  </a:moveTo>
                  <a:lnTo>
                    <a:pt x="368" y="6563"/>
                  </a:lnTo>
                  <a:lnTo>
                    <a:pt x="277" y="6219"/>
                  </a:lnTo>
                  <a:lnTo>
                    <a:pt x="200" y="5875"/>
                  </a:lnTo>
                  <a:lnTo>
                    <a:pt x="134" y="5528"/>
                  </a:lnTo>
                  <a:lnTo>
                    <a:pt x="81" y="5180"/>
                  </a:lnTo>
                  <a:lnTo>
                    <a:pt x="42" y="4832"/>
                  </a:lnTo>
                  <a:lnTo>
                    <a:pt x="15" y="4482"/>
                  </a:lnTo>
                  <a:lnTo>
                    <a:pt x="2" y="4133"/>
                  </a:lnTo>
                  <a:lnTo>
                    <a:pt x="0" y="3783"/>
                  </a:lnTo>
                  <a:lnTo>
                    <a:pt x="13" y="3433"/>
                  </a:lnTo>
                  <a:lnTo>
                    <a:pt x="38" y="3084"/>
                  </a:lnTo>
                  <a:lnTo>
                    <a:pt x="75" y="2735"/>
                  </a:lnTo>
                  <a:lnTo>
                    <a:pt x="125" y="2388"/>
                  </a:lnTo>
                  <a:lnTo>
                    <a:pt x="188" y="2041"/>
                  </a:lnTo>
                  <a:lnTo>
                    <a:pt x="265" y="1696"/>
                  </a:lnTo>
                  <a:lnTo>
                    <a:pt x="354" y="1352"/>
                  </a:lnTo>
                  <a:lnTo>
                    <a:pt x="455" y="1011"/>
                  </a:lnTo>
                  <a:lnTo>
                    <a:pt x="569" y="671"/>
                  </a:lnTo>
                  <a:lnTo>
                    <a:pt x="695" y="335"/>
                  </a:lnTo>
                  <a:lnTo>
                    <a:pt x="833" y="0"/>
                  </a:lnTo>
                  <a:lnTo>
                    <a:pt x="911" y="19"/>
                  </a:lnTo>
                  <a:lnTo>
                    <a:pt x="773" y="351"/>
                  </a:lnTo>
                  <a:lnTo>
                    <a:pt x="647" y="687"/>
                  </a:lnTo>
                  <a:lnTo>
                    <a:pt x="534" y="1024"/>
                  </a:lnTo>
                  <a:lnTo>
                    <a:pt x="434" y="1365"/>
                  </a:lnTo>
                  <a:lnTo>
                    <a:pt x="345" y="1706"/>
                  </a:lnTo>
                  <a:lnTo>
                    <a:pt x="269" y="2050"/>
                  </a:lnTo>
                  <a:lnTo>
                    <a:pt x="206" y="2395"/>
                  </a:lnTo>
                  <a:lnTo>
                    <a:pt x="157" y="2742"/>
                  </a:lnTo>
                  <a:lnTo>
                    <a:pt x="120" y="3088"/>
                  </a:lnTo>
                  <a:lnTo>
                    <a:pt x="95" y="3436"/>
                  </a:lnTo>
                  <a:lnTo>
                    <a:pt x="83" y="3784"/>
                  </a:lnTo>
                  <a:lnTo>
                    <a:pt x="84" y="4132"/>
                  </a:lnTo>
                  <a:lnTo>
                    <a:pt x="97" y="4480"/>
                  </a:lnTo>
                  <a:lnTo>
                    <a:pt x="124" y="4827"/>
                  </a:lnTo>
                  <a:lnTo>
                    <a:pt x="164" y="5174"/>
                  </a:lnTo>
                  <a:lnTo>
                    <a:pt x="215" y="5521"/>
                  </a:lnTo>
                  <a:lnTo>
                    <a:pt x="281" y="5865"/>
                  </a:lnTo>
                  <a:lnTo>
                    <a:pt x="358" y="6208"/>
                  </a:lnTo>
                  <a:lnTo>
                    <a:pt x="448" y="6550"/>
                  </a:lnTo>
                  <a:lnTo>
                    <a:pt x="551" y="6889"/>
                  </a:lnTo>
                  <a:lnTo>
                    <a:pt x="472" y="6904"/>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179" name="Freeform 627">
              <a:extLst>
                <a:ext uri="{FF2B5EF4-FFF2-40B4-BE49-F238E27FC236}">
                  <a16:creationId xmlns:a16="http://schemas.microsoft.com/office/drawing/2014/main" id="{A7CCFAD1-37CB-4DBC-B56D-28015084EBCF}"/>
                </a:ext>
              </a:extLst>
            </p:cNvPr>
            <p:cNvSpPr>
              <a:spLocks noChangeAspect="1"/>
            </p:cNvSpPr>
            <p:nvPr/>
          </p:nvSpPr>
          <p:spPr bwMode="auto">
            <a:xfrm>
              <a:off x="5535613" y="2107566"/>
              <a:ext cx="684212" cy="1211263"/>
            </a:xfrm>
            <a:custGeom>
              <a:avLst/>
              <a:gdLst>
                <a:gd name="T0" fmla="*/ 4061 w 4061"/>
                <a:gd name="T1" fmla="*/ 0 h 5379"/>
                <a:gd name="T2" fmla="*/ 919 w 4061"/>
                <a:gd name="T3" fmla="*/ 0 h 5379"/>
                <a:gd name="T4" fmla="*/ 905 w 4061"/>
                <a:gd name="T5" fmla="*/ 5 h 5379"/>
                <a:gd name="T6" fmla="*/ 877 w 4061"/>
                <a:gd name="T7" fmla="*/ 11 h 5379"/>
                <a:gd name="T8" fmla="*/ 857 w 4061"/>
                <a:gd name="T9" fmla="*/ 26 h 5379"/>
                <a:gd name="T10" fmla="*/ 850 w 4061"/>
                <a:gd name="T11" fmla="*/ 41 h 5379"/>
                <a:gd name="T12" fmla="*/ 857 w 4061"/>
                <a:gd name="T13" fmla="*/ 67 h 5379"/>
                <a:gd name="T14" fmla="*/ 856 w 4061"/>
                <a:gd name="T15" fmla="*/ 68 h 5379"/>
                <a:gd name="T16" fmla="*/ 1007 w 4061"/>
                <a:gd name="T17" fmla="*/ 380 h 5379"/>
                <a:gd name="T18" fmla="*/ 1132 w 4061"/>
                <a:gd name="T19" fmla="*/ 699 h 5379"/>
                <a:gd name="T20" fmla="*/ 1231 w 4061"/>
                <a:gd name="T21" fmla="*/ 1022 h 5379"/>
                <a:gd name="T22" fmla="*/ 1303 w 4061"/>
                <a:gd name="T23" fmla="*/ 1350 h 5379"/>
                <a:gd name="T24" fmla="*/ 1347 w 4061"/>
                <a:gd name="T25" fmla="*/ 1680 h 5379"/>
                <a:gd name="T26" fmla="*/ 1364 w 4061"/>
                <a:gd name="T27" fmla="*/ 2011 h 5379"/>
                <a:gd name="T28" fmla="*/ 1352 w 4061"/>
                <a:gd name="T29" fmla="*/ 2344 h 5379"/>
                <a:gd name="T30" fmla="*/ 1313 w 4061"/>
                <a:gd name="T31" fmla="*/ 2674 h 5379"/>
                <a:gd name="T32" fmla="*/ 1246 w 4061"/>
                <a:gd name="T33" fmla="*/ 3003 h 5379"/>
                <a:gd name="T34" fmla="*/ 1153 w 4061"/>
                <a:gd name="T35" fmla="*/ 3327 h 5379"/>
                <a:gd name="T36" fmla="*/ 1031 w 4061"/>
                <a:gd name="T37" fmla="*/ 3646 h 5379"/>
                <a:gd name="T38" fmla="*/ 884 w 4061"/>
                <a:gd name="T39" fmla="*/ 3960 h 5379"/>
                <a:gd name="T40" fmla="*/ 710 w 4061"/>
                <a:gd name="T41" fmla="*/ 4266 h 5379"/>
                <a:gd name="T42" fmla="*/ 511 w 4061"/>
                <a:gd name="T43" fmla="*/ 4562 h 5379"/>
                <a:gd name="T44" fmla="*/ 288 w 4061"/>
                <a:gd name="T45" fmla="*/ 4850 h 5379"/>
                <a:gd name="T46" fmla="*/ 42 w 4061"/>
                <a:gd name="T47" fmla="*/ 5126 h 5379"/>
                <a:gd name="T48" fmla="*/ 43 w 4061"/>
                <a:gd name="T49" fmla="*/ 5132 h 5379"/>
                <a:gd name="T50" fmla="*/ 14 w 4061"/>
                <a:gd name="T51" fmla="*/ 5169 h 5379"/>
                <a:gd name="T52" fmla="*/ 0 w 4061"/>
                <a:gd name="T53" fmla="*/ 5210 h 5379"/>
                <a:gd name="T54" fmla="*/ 3 w 4061"/>
                <a:gd name="T55" fmla="*/ 5252 h 5379"/>
                <a:gd name="T56" fmla="*/ 21 w 4061"/>
                <a:gd name="T57" fmla="*/ 5293 h 5379"/>
                <a:gd name="T58" fmla="*/ 52 w 4061"/>
                <a:gd name="T59" fmla="*/ 5328 h 5379"/>
                <a:gd name="T60" fmla="*/ 96 w 4061"/>
                <a:gd name="T61" fmla="*/ 5355 h 5379"/>
                <a:gd name="T62" fmla="*/ 148 w 4061"/>
                <a:gd name="T63" fmla="*/ 5373 h 5379"/>
                <a:gd name="T64" fmla="*/ 204 w 4061"/>
                <a:gd name="T65" fmla="*/ 5379 h 5379"/>
                <a:gd name="T66" fmla="*/ 263 w 4061"/>
                <a:gd name="T67" fmla="*/ 5379 h 5379"/>
                <a:gd name="T68" fmla="*/ 4061 w 4061"/>
                <a:gd name="T69" fmla="*/ 5379 h 5379"/>
                <a:gd name="T70" fmla="*/ 4061 w 4061"/>
                <a:gd name="T71" fmla="*/ 0 h 5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61" h="5379">
                  <a:moveTo>
                    <a:pt x="4061" y="0"/>
                  </a:moveTo>
                  <a:lnTo>
                    <a:pt x="919" y="0"/>
                  </a:lnTo>
                  <a:lnTo>
                    <a:pt x="905" y="5"/>
                  </a:lnTo>
                  <a:lnTo>
                    <a:pt x="877" y="11"/>
                  </a:lnTo>
                  <a:lnTo>
                    <a:pt x="857" y="26"/>
                  </a:lnTo>
                  <a:lnTo>
                    <a:pt x="850" y="41"/>
                  </a:lnTo>
                  <a:lnTo>
                    <a:pt x="857" y="67"/>
                  </a:lnTo>
                  <a:lnTo>
                    <a:pt x="856" y="68"/>
                  </a:lnTo>
                  <a:lnTo>
                    <a:pt x="1007" y="380"/>
                  </a:lnTo>
                  <a:lnTo>
                    <a:pt x="1132" y="699"/>
                  </a:lnTo>
                  <a:lnTo>
                    <a:pt x="1231" y="1022"/>
                  </a:lnTo>
                  <a:lnTo>
                    <a:pt x="1303" y="1350"/>
                  </a:lnTo>
                  <a:lnTo>
                    <a:pt x="1347" y="1680"/>
                  </a:lnTo>
                  <a:lnTo>
                    <a:pt x="1364" y="2011"/>
                  </a:lnTo>
                  <a:lnTo>
                    <a:pt x="1352" y="2344"/>
                  </a:lnTo>
                  <a:lnTo>
                    <a:pt x="1313" y="2674"/>
                  </a:lnTo>
                  <a:lnTo>
                    <a:pt x="1246" y="3003"/>
                  </a:lnTo>
                  <a:lnTo>
                    <a:pt x="1153" y="3327"/>
                  </a:lnTo>
                  <a:lnTo>
                    <a:pt x="1031" y="3646"/>
                  </a:lnTo>
                  <a:lnTo>
                    <a:pt x="884" y="3960"/>
                  </a:lnTo>
                  <a:lnTo>
                    <a:pt x="710" y="4266"/>
                  </a:lnTo>
                  <a:lnTo>
                    <a:pt x="511" y="4562"/>
                  </a:lnTo>
                  <a:lnTo>
                    <a:pt x="288" y="4850"/>
                  </a:lnTo>
                  <a:lnTo>
                    <a:pt x="42" y="5126"/>
                  </a:lnTo>
                  <a:lnTo>
                    <a:pt x="43" y="5132"/>
                  </a:lnTo>
                  <a:lnTo>
                    <a:pt x="14" y="5169"/>
                  </a:lnTo>
                  <a:lnTo>
                    <a:pt x="0" y="5210"/>
                  </a:lnTo>
                  <a:lnTo>
                    <a:pt x="3" y="5252"/>
                  </a:lnTo>
                  <a:lnTo>
                    <a:pt x="21" y="5293"/>
                  </a:lnTo>
                  <a:lnTo>
                    <a:pt x="52" y="5328"/>
                  </a:lnTo>
                  <a:lnTo>
                    <a:pt x="96" y="5355"/>
                  </a:lnTo>
                  <a:lnTo>
                    <a:pt x="148" y="5373"/>
                  </a:lnTo>
                  <a:lnTo>
                    <a:pt x="204" y="5379"/>
                  </a:lnTo>
                  <a:lnTo>
                    <a:pt x="263" y="5379"/>
                  </a:lnTo>
                  <a:lnTo>
                    <a:pt x="4061" y="5379"/>
                  </a:lnTo>
                  <a:lnTo>
                    <a:pt x="4061" y="0"/>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180" name="Freeform 628">
              <a:extLst>
                <a:ext uri="{FF2B5EF4-FFF2-40B4-BE49-F238E27FC236}">
                  <a16:creationId xmlns:a16="http://schemas.microsoft.com/office/drawing/2014/main" id="{A548422F-0174-4884-800E-976712261D88}"/>
                </a:ext>
              </a:extLst>
            </p:cNvPr>
            <p:cNvSpPr>
              <a:spLocks noChangeAspect="1"/>
            </p:cNvSpPr>
            <p:nvPr/>
          </p:nvSpPr>
          <p:spPr bwMode="auto">
            <a:xfrm>
              <a:off x="5535613" y="2107566"/>
              <a:ext cx="684212" cy="1211263"/>
            </a:xfrm>
            <a:custGeom>
              <a:avLst/>
              <a:gdLst>
                <a:gd name="T0" fmla="*/ 4061 w 4061"/>
                <a:gd name="T1" fmla="*/ 0 h 5379"/>
                <a:gd name="T2" fmla="*/ 919 w 4061"/>
                <a:gd name="T3" fmla="*/ 0 h 5379"/>
                <a:gd name="T4" fmla="*/ 905 w 4061"/>
                <a:gd name="T5" fmla="*/ 5 h 5379"/>
                <a:gd name="T6" fmla="*/ 877 w 4061"/>
                <a:gd name="T7" fmla="*/ 11 h 5379"/>
                <a:gd name="T8" fmla="*/ 857 w 4061"/>
                <a:gd name="T9" fmla="*/ 26 h 5379"/>
                <a:gd name="T10" fmla="*/ 850 w 4061"/>
                <a:gd name="T11" fmla="*/ 41 h 5379"/>
                <a:gd name="T12" fmla="*/ 857 w 4061"/>
                <a:gd name="T13" fmla="*/ 67 h 5379"/>
                <a:gd name="T14" fmla="*/ 856 w 4061"/>
                <a:gd name="T15" fmla="*/ 68 h 5379"/>
                <a:gd name="T16" fmla="*/ 1007 w 4061"/>
                <a:gd name="T17" fmla="*/ 380 h 5379"/>
                <a:gd name="T18" fmla="*/ 1132 w 4061"/>
                <a:gd name="T19" fmla="*/ 699 h 5379"/>
                <a:gd name="T20" fmla="*/ 1231 w 4061"/>
                <a:gd name="T21" fmla="*/ 1022 h 5379"/>
                <a:gd name="T22" fmla="*/ 1303 w 4061"/>
                <a:gd name="T23" fmla="*/ 1350 h 5379"/>
                <a:gd name="T24" fmla="*/ 1347 w 4061"/>
                <a:gd name="T25" fmla="*/ 1680 h 5379"/>
                <a:gd name="T26" fmla="*/ 1364 w 4061"/>
                <a:gd name="T27" fmla="*/ 2011 h 5379"/>
                <a:gd name="T28" fmla="*/ 1352 w 4061"/>
                <a:gd name="T29" fmla="*/ 2344 h 5379"/>
                <a:gd name="T30" fmla="*/ 1313 w 4061"/>
                <a:gd name="T31" fmla="*/ 2674 h 5379"/>
                <a:gd name="T32" fmla="*/ 1246 w 4061"/>
                <a:gd name="T33" fmla="*/ 3003 h 5379"/>
                <a:gd name="T34" fmla="*/ 1153 w 4061"/>
                <a:gd name="T35" fmla="*/ 3327 h 5379"/>
                <a:gd name="T36" fmla="*/ 1031 w 4061"/>
                <a:gd name="T37" fmla="*/ 3646 h 5379"/>
                <a:gd name="T38" fmla="*/ 884 w 4061"/>
                <a:gd name="T39" fmla="*/ 3960 h 5379"/>
                <a:gd name="T40" fmla="*/ 710 w 4061"/>
                <a:gd name="T41" fmla="*/ 4266 h 5379"/>
                <a:gd name="T42" fmla="*/ 511 w 4061"/>
                <a:gd name="T43" fmla="*/ 4562 h 5379"/>
                <a:gd name="T44" fmla="*/ 288 w 4061"/>
                <a:gd name="T45" fmla="*/ 4850 h 5379"/>
                <a:gd name="T46" fmla="*/ 42 w 4061"/>
                <a:gd name="T47" fmla="*/ 5126 h 5379"/>
                <a:gd name="T48" fmla="*/ 43 w 4061"/>
                <a:gd name="T49" fmla="*/ 5132 h 5379"/>
                <a:gd name="T50" fmla="*/ 14 w 4061"/>
                <a:gd name="T51" fmla="*/ 5169 h 5379"/>
                <a:gd name="T52" fmla="*/ 0 w 4061"/>
                <a:gd name="T53" fmla="*/ 5210 h 5379"/>
                <a:gd name="T54" fmla="*/ 3 w 4061"/>
                <a:gd name="T55" fmla="*/ 5252 h 5379"/>
                <a:gd name="T56" fmla="*/ 21 w 4061"/>
                <a:gd name="T57" fmla="*/ 5293 h 5379"/>
                <a:gd name="T58" fmla="*/ 52 w 4061"/>
                <a:gd name="T59" fmla="*/ 5328 h 5379"/>
                <a:gd name="T60" fmla="*/ 96 w 4061"/>
                <a:gd name="T61" fmla="*/ 5355 h 5379"/>
                <a:gd name="T62" fmla="*/ 148 w 4061"/>
                <a:gd name="T63" fmla="*/ 5373 h 5379"/>
                <a:gd name="T64" fmla="*/ 204 w 4061"/>
                <a:gd name="T65" fmla="*/ 5379 h 5379"/>
                <a:gd name="T66" fmla="*/ 263 w 4061"/>
                <a:gd name="T67" fmla="*/ 5379 h 5379"/>
                <a:gd name="T68" fmla="*/ 4061 w 4061"/>
                <a:gd name="T69" fmla="*/ 5379 h 5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61" h="5379">
                  <a:moveTo>
                    <a:pt x="4061" y="0"/>
                  </a:moveTo>
                  <a:lnTo>
                    <a:pt x="919" y="0"/>
                  </a:lnTo>
                  <a:lnTo>
                    <a:pt x="905" y="5"/>
                  </a:lnTo>
                  <a:lnTo>
                    <a:pt x="877" y="11"/>
                  </a:lnTo>
                  <a:lnTo>
                    <a:pt x="857" y="26"/>
                  </a:lnTo>
                  <a:lnTo>
                    <a:pt x="850" y="41"/>
                  </a:lnTo>
                  <a:lnTo>
                    <a:pt x="857" y="67"/>
                  </a:lnTo>
                  <a:lnTo>
                    <a:pt x="856" y="68"/>
                  </a:lnTo>
                  <a:lnTo>
                    <a:pt x="1007" y="380"/>
                  </a:lnTo>
                  <a:lnTo>
                    <a:pt x="1132" y="699"/>
                  </a:lnTo>
                  <a:lnTo>
                    <a:pt x="1231" y="1022"/>
                  </a:lnTo>
                  <a:lnTo>
                    <a:pt x="1303" y="1350"/>
                  </a:lnTo>
                  <a:lnTo>
                    <a:pt x="1347" y="1680"/>
                  </a:lnTo>
                  <a:lnTo>
                    <a:pt x="1364" y="2011"/>
                  </a:lnTo>
                  <a:lnTo>
                    <a:pt x="1352" y="2344"/>
                  </a:lnTo>
                  <a:lnTo>
                    <a:pt x="1313" y="2674"/>
                  </a:lnTo>
                  <a:lnTo>
                    <a:pt x="1246" y="3003"/>
                  </a:lnTo>
                  <a:lnTo>
                    <a:pt x="1153" y="3327"/>
                  </a:lnTo>
                  <a:lnTo>
                    <a:pt x="1031" y="3646"/>
                  </a:lnTo>
                  <a:lnTo>
                    <a:pt x="884" y="3960"/>
                  </a:lnTo>
                  <a:lnTo>
                    <a:pt x="710" y="4266"/>
                  </a:lnTo>
                  <a:lnTo>
                    <a:pt x="511" y="4562"/>
                  </a:lnTo>
                  <a:lnTo>
                    <a:pt x="288" y="4850"/>
                  </a:lnTo>
                  <a:lnTo>
                    <a:pt x="42" y="5126"/>
                  </a:lnTo>
                  <a:lnTo>
                    <a:pt x="43" y="5132"/>
                  </a:lnTo>
                  <a:lnTo>
                    <a:pt x="14" y="5169"/>
                  </a:lnTo>
                  <a:lnTo>
                    <a:pt x="0" y="5210"/>
                  </a:lnTo>
                  <a:lnTo>
                    <a:pt x="3" y="5252"/>
                  </a:lnTo>
                  <a:lnTo>
                    <a:pt x="21" y="5293"/>
                  </a:lnTo>
                  <a:lnTo>
                    <a:pt x="52" y="5328"/>
                  </a:lnTo>
                  <a:lnTo>
                    <a:pt x="96" y="5355"/>
                  </a:lnTo>
                  <a:lnTo>
                    <a:pt x="148" y="5373"/>
                  </a:lnTo>
                  <a:lnTo>
                    <a:pt x="204" y="5379"/>
                  </a:lnTo>
                  <a:lnTo>
                    <a:pt x="263" y="5379"/>
                  </a:lnTo>
                  <a:lnTo>
                    <a:pt x="4061" y="537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181" name="Freeform 629">
              <a:extLst>
                <a:ext uri="{FF2B5EF4-FFF2-40B4-BE49-F238E27FC236}">
                  <a16:creationId xmlns:a16="http://schemas.microsoft.com/office/drawing/2014/main" id="{FB4B479E-91E3-4131-A7B8-3C29D686AD93}"/>
                </a:ext>
              </a:extLst>
            </p:cNvPr>
            <p:cNvSpPr>
              <a:spLocks noChangeAspect="1"/>
            </p:cNvSpPr>
            <p:nvPr/>
          </p:nvSpPr>
          <p:spPr bwMode="auto">
            <a:xfrm>
              <a:off x="4318000" y="1188403"/>
              <a:ext cx="1811338" cy="3041650"/>
            </a:xfrm>
            <a:custGeom>
              <a:avLst/>
              <a:gdLst>
                <a:gd name="T0" fmla="*/ 10725 w 10725"/>
                <a:gd name="T1" fmla="*/ 6759 h 13518"/>
                <a:gd name="T2" fmla="*/ 10621 w 10725"/>
                <a:gd name="T3" fmla="*/ 5690 h 13518"/>
                <a:gd name="T4" fmla="*/ 10315 w 10725"/>
                <a:gd name="T5" fmla="*/ 4644 h 13518"/>
                <a:gd name="T6" fmla="*/ 9810 w 10725"/>
                <a:gd name="T7" fmla="*/ 3640 h 13518"/>
                <a:gd name="T8" fmla="*/ 9118 w 10725"/>
                <a:gd name="T9" fmla="*/ 2700 h 13518"/>
                <a:gd name="T10" fmla="*/ 8253 w 10725"/>
                <a:gd name="T11" fmla="*/ 1844 h 13518"/>
                <a:gd name="T12" fmla="*/ 7233 w 10725"/>
                <a:gd name="T13" fmla="*/ 1089 h 13518"/>
                <a:gd name="T14" fmla="*/ 6077 w 10725"/>
                <a:gd name="T15" fmla="*/ 451 h 13518"/>
                <a:gd name="T16" fmla="*/ 6077 w 10725"/>
                <a:gd name="T17" fmla="*/ 451 h 13518"/>
                <a:gd name="T18" fmla="*/ 5152 w 10725"/>
                <a:gd name="T19" fmla="*/ 130 h 13518"/>
                <a:gd name="T20" fmla="*/ 4148 w 10725"/>
                <a:gd name="T21" fmla="*/ 0 h 13518"/>
                <a:gd name="T22" fmla="*/ 3132 w 10725"/>
                <a:gd name="T23" fmla="*/ 67 h 13518"/>
                <a:gd name="T24" fmla="*/ 2173 w 10725"/>
                <a:gd name="T25" fmla="*/ 330 h 13518"/>
                <a:gd name="T26" fmla="*/ 1341 w 10725"/>
                <a:gd name="T27" fmla="*/ 769 h 13518"/>
                <a:gd name="T28" fmla="*/ 689 w 10725"/>
                <a:gd name="T29" fmla="*/ 1354 h 13518"/>
                <a:gd name="T30" fmla="*/ 264 w 10725"/>
                <a:gd name="T31" fmla="*/ 2045 h 13518"/>
                <a:gd name="T32" fmla="*/ 95 w 10725"/>
                <a:gd name="T33" fmla="*/ 2794 h 13518"/>
                <a:gd name="T34" fmla="*/ 94 w 10725"/>
                <a:gd name="T35" fmla="*/ 2796 h 13518"/>
                <a:gd name="T36" fmla="*/ 42 w 10725"/>
                <a:gd name="T37" fmla="*/ 4117 h 13518"/>
                <a:gd name="T38" fmla="*/ 11 w 10725"/>
                <a:gd name="T39" fmla="*/ 5438 h 13518"/>
                <a:gd name="T40" fmla="*/ 0 w 10725"/>
                <a:gd name="T41" fmla="*/ 6759 h 13518"/>
                <a:gd name="T42" fmla="*/ 11 w 10725"/>
                <a:gd name="T43" fmla="*/ 8080 h 13518"/>
                <a:gd name="T44" fmla="*/ 42 w 10725"/>
                <a:gd name="T45" fmla="*/ 9400 h 13518"/>
                <a:gd name="T46" fmla="*/ 94 w 10725"/>
                <a:gd name="T47" fmla="*/ 10721 h 13518"/>
                <a:gd name="T48" fmla="*/ 95 w 10725"/>
                <a:gd name="T49" fmla="*/ 10724 h 13518"/>
                <a:gd name="T50" fmla="*/ 264 w 10725"/>
                <a:gd name="T51" fmla="*/ 11473 h 13518"/>
                <a:gd name="T52" fmla="*/ 689 w 10725"/>
                <a:gd name="T53" fmla="*/ 12164 h 13518"/>
                <a:gd name="T54" fmla="*/ 1341 w 10725"/>
                <a:gd name="T55" fmla="*/ 12748 h 13518"/>
                <a:gd name="T56" fmla="*/ 2173 w 10725"/>
                <a:gd name="T57" fmla="*/ 13187 h 13518"/>
                <a:gd name="T58" fmla="*/ 3132 w 10725"/>
                <a:gd name="T59" fmla="*/ 13450 h 13518"/>
                <a:gd name="T60" fmla="*/ 4148 w 10725"/>
                <a:gd name="T61" fmla="*/ 13518 h 13518"/>
                <a:gd name="T62" fmla="*/ 5152 w 10725"/>
                <a:gd name="T63" fmla="*/ 13387 h 13518"/>
                <a:gd name="T64" fmla="*/ 6077 w 10725"/>
                <a:gd name="T65" fmla="*/ 13066 h 13518"/>
                <a:gd name="T66" fmla="*/ 6077 w 10725"/>
                <a:gd name="T67" fmla="*/ 13067 h 13518"/>
                <a:gd name="T68" fmla="*/ 7233 w 10725"/>
                <a:gd name="T69" fmla="*/ 12428 h 13518"/>
                <a:gd name="T70" fmla="*/ 8253 w 10725"/>
                <a:gd name="T71" fmla="*/ 11673 h 13518"/>
                <a:gd name="T72" fmla="*/ 9118 w 10725"/>
                <a:gd name="T73" fmla="*/ 10817 h 13518"/>
                <a:gd name="T74" fmla="*/ 9810 w 10725"/>
                <a:gd name="T75" fmla="*/ 9878 h 13518"/>
                <a:gd name="T76" fmla="*/ 10315 w 10725"/>
                <a:gd name="T77" fmla="*/ 8874 h 13518"/>
                <a:gd name="T78" fmla="*/ 10621 w 10725"/>
                <a:gd name="T79" fmla="*/ 7827 h 13518"/>
                <a:gd name="T80" fmla="*/ 10725 w 10725"/>
                <a:gd name="T81" fmla="*/ 6759 h 13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25" h="13518">
                  <a:moveTo>
                    <a:pt x="10725" y="6759"/>
                  </a:moveTo>
                  <a:lnTo>
                    <a:pt x="10621" y="5690"/>
                  </a:lnTo>
                  <a:lnTo>
                    <a:pt x="10315" y="4644"/>
                  </a:lnTo>
                  <a:lnTo>
                    <a:pt x="9810" y="3640"/>
                  </a:lnTo>
                  <a:lnTo>
                    <a:pt x="9118" y="2700"/>
                  </a:lnTo>
                  <a:lnTo>
                    <a:pt x="8253" y="1844"/>
                  </a:lnTo>
                  <a:lnTo>
                    <a:pt x="7233" y="1089"/>
                  </a:lnTo>
                  <a:lnTo>
                    <a:pt x="6077" y="451"/>
                  </a:lnTo>
                  <a:lnTo>
                    <a:pt x="6077" y="451"/>
                  </a:lnTo>
                  <a:lnTo>
                    <a:pt x="5152" y="130"/>
                  </a:lnTo>
                  <a:lnTo>
                    <a:pt x="4148" y="0"/>
                  </a:lnTo>
                  <a:lnTo>
                    <a:pt x="3132" y="67"/>
                  </a:lnTo>
                  <a:lnTo>
                    <a:pt x="2173" y="330"/>
                  </a:lnTo>
                  <a:lnTo>
                    <a:pt x="1341" y="769"/>
                  </a:lnTo>
                  <a:lnTo>
                    <a:pt x="689" y="1354"/>
                  </a:lnTo>
                  <a:lnTo>
                    <a:pt x="264" y="2045"/>
                  </a:lnTo>
                  <a:lnTo>
                    <a:pt x="95" y="2794"/>
                  </a:lnTo>
                  <a:lnTo>
                    <a:pt x="94" y="2796"/>
                  </a:lnTo>
                  <a:lnTo>
                    <a:pt x="42" y="4117"/>
                  </a:lnTo>
                  <a:lnTo>
                    <a:pt x="11" y="5438"/>
                  </a:lnTo>
                  <a:lnTo>
                    <a:pt x="0" y="6759"/>
                  </a:lnTo>
                  <a:lnTo>
                    <a:pt x="11" y="8080"/>
                  </a:lnTo>
                  <a:lnTo>
                    <a:pt x="42" y="9400"/>
                  </a:lnTo>
                  <a:lnTo>
                    <a:pt x="94" y="10721"/>
                  </a:lnTo>
                  <a:lnTo>
                    <a:pt x="95" y="10724"/>
                  </a:lnTo>
                  <a:lnTo>
                    <a:pt x="264" y="11473"/>
                  </a:lnTo>
                  <a:lnTo>
                    <a:pt x="689" y="12164"/>
                  </a:lnTo>
                  <a:lnTo>
                    <a:pt x="1341" y="12748"/>
                  </a:lnTo>
                  <a:lnTo>
                    <a:pt x="2173" y="13187"/>
                  </a:lnTo>
                  <a:lnTo>
                    <a:pt x="3132" y="13450"/>
                  </a:lnTo>
                  <a:lnTo>
                    <a:pt x="4148" y="13518"/>
                  </a:lnTo>
                  <a:lnTo>
                    <a:pt x="5152" y="13387"/>
                  </a:lnTo>
                  <a:lnTo>
                    <a:pt x="6077" y="13066"/>
                  </a:lnTo>
                  <a:lnTo>
                    <a:pt x="6077" y="13067"/>
                  </a:lnTo>
                  <a:lnTo>
                    <a:pt x="7233" y="12428"/>
                  </a:lnTo>
                  <a:lnTo>
                    <a:pt x="8253" y="11673"/>
                  </a:lnTo>
                  <a:lnTo>
                    <a:pt x="9118" y="10817"/>
                  </a:lnTo>
                  <a:lnTo>
                    <a:pt x="9810" y="9878"/>
                  </a:lnTo>
                  <a:lnTo>
                    <a:pt x="10315" y="8874"/>
                  </a:lnTo>
                  <a:lnTo>
                    <a:pt x="10621" y="7827"/>
                  </a:lnTo>
                  <a:lnTo>
                    <a:pt x="10725" y="675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182" name="Freeform 630">
              <a:extLst>
                <a:ext uri="{FF2B5EF4-FFF2-40B4-BE49-F238E27FC236}">
                  <a16:creationId xmlns:a16="http://schemas.microsoft.com/office/drawing/2014/main" id="{150F1607-4B5D-4331-84CA-A184CD065AAB}"/>
                </a:ext>
              </a:extLst>
            </p:cNvPr>
            <p:cNvSpPr>
              <a:spLocks noChangeAspect="1"/>
            </p:cNvSpPr>
            <p:nvPr/>
          </p:nvSpPr>
          <p:spPr bwMode="auto">
            <a:xfrm>
              <a:off x="4510088" y="3463290"/>
              <a:ext cx="80962" cy="96838"/>
            </a:xfrm>
            <a:custGeom>
              <a:avLst/>
              <a:gdLst>
                <a:gd name="T0" fmla="*/ 146 w 480"/>
                <a:gd name="T1" fmla="*/ 0 h 438"/>
                <a:gd name="T2" fmla="*/ 163 w 480"/>
                <a:gd name="T3" fmla="*/ 3 h 438"/>
                <a:gd name="T4" fmla="*/ 178 w 480"/>
                <a:gd name="T5" fmla="*/ 9 h 438"/>
                <a:gd name="T6" fmla="*/ 191 w 480"/>
                <a:gd name="T7" fmla="*/ 18 h 438"/>
                <a:gd name="T8" fmla="*/ 477 w 480"/>
                <a:gd name="T9" fmla="*/ 347 h 438"/>
                <a:gd name="T10" fmla="*/ 480 w 480"/>
                <a:gd name="T11" fmla="*/ 352 h 438"/>
                <a:gd name="T12" fmla="*/ 480 w 480"/>
                <a:gd name="T13" fmla="*/ 358 h 438"/>
                <a:gd name="T14" fmla="*/ 478 w 480"/>
                <a:gd name="T15" fmla="*/ 363 h 438"/>
                <a:gd name="T16" fmla="*/ 472 w 480"/>
                <a:gd name="T17" fmla="*/ 367 h 438"/>
                <a:gd name="T18" fmla="*/ 326 w 480"/>
                <a:gd name="T19" fmla="*/ 438 h 438"/>
                <a:gd name="T20" fmla="*/ 0 w 480"/>
                <a:gd name="T21" fmla="*/ 58 h 438"/>
                <a:gd name="T22" fmla="*/ 128 w 480"/>
                <a:gd name="T23" fmla="*/ 0 h 438"/>
                <a:gd name="T24" fmla="*/ 146 w 480"/>
                <a:gd name="T25"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438">
                  <a:moveTo>
                    <a:pt x="146" y="0"/>
                  </a:moveTo>
                  <a:lnTo>
                    <a:pt x="163" y="3"/>
                  </a:lnTo>
                  <a:lnTo>
                    <a:pt x="178" y="9"/>
                  </a:lnTo>
                  <a:lnTo>
                    <a:pt x="191" y="18"/>
                  </a:lnTo>
                  <a:lnTo>
                    <a:pt x="477" y="347"/>
                  </a:lnTo>
                  <a:lnTo>
                    <a:pt x="480" y="352"/>
                  </a:lnTo>
                  <a:lnTo>
                    <a:pt x="480" y="358"/>
                  </a:lnTo>
                  <a:lnTo>
                    <a:pt x="478" y="363"/>
                  </a:lnTo>
                  <a:lnTo>
                    <a:pt x="472" y="367"/>
                  </a:lnTo>
                  <a:lnTo>
                    <a:pt x="326" y="438"/>
                  </a:lnTo>
                  <a:lnTo>
                    <a:pt x="0" y="58"/>
                  </a:lnTo>
                  <a:lnTo>
                    <a:pt x="128" y="0"/>
                  </a:lnTo>
                  <a:lnTo>
                    <a:pt x="146" y="0"/>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183" name="Freeform 631">
              <a:extLst>
                <a:ext uri="{FF2B5EF4-FFF2-40B4-BE49-F238E27FC236}">
                  <a16:creationId xmlns:a16="http://schemas.microsoft.com/office/drawing/2014/main" id="{6AA6BFF6-5DD3-4454-BC5D-E2F1EF06426D}"/>
                </a:ext>
              </a:extLst>
            </p:cNvPr>
            <p:cNvSpPr>
              <a:spLocks noChangeAspect="1"/>
            </p:cNvSpPr>
            <p:nvPr/>
          </p:nvSpPr>
          <p:spPr bwMode="auto">
            <a:xfrm>
              <a:off x="4510088" y="3463290"/>
              <a:ext cx="80962" cy="96838"/>
            </a:xfrm>
            <a:custGeom>
              <a:avLst/>
              <a:gdLst>
                <a:gd name="T0" fmla="*/ 146 w 480"/>
                <a:gd name="T1" fmla="*/ 0 h 438"/>
                <a:gd name="T2" fmla="*/ 163 w 480"/>
                <a:gd name="T3" fmla="*/ 3 h 438"/>
                <a:gd name="T4" fmla="*/ 178 w 480"/>
                <a:gd name="T5" fmla="*/ 9 h 438"/>
                <a:gd name="T6" fmla="*/ 191 w 480"/>
                <a:gd name="T7" fmla="*/ 18 h 438"/>
                <a:gd name="T8" fmla="*/ 477 w 480"/>
                <a:gd name="T9" fmla="*/ 347 h 438"/>
                <a:gd name="T10" fmla="*/ 480 w 480"/>
                <a:gd name="T11" fmla="*/ 352 h 438"/>
                <a:gd name="T12" fmla="*/ 480 w 480"/>
                <a:gd name="T13" fmla="*/ 358 h 438"/>
                <a:gd name="T14" fmla="*/ 478 w 480"/>
                <a:gd name="T15" fmla="*/ 363 h 438"/>
                <a:gd name="T16" fmla="*/ 472 w 480"/>
                <a:gd name="T17" fmla="*/ 367 h 438"/>
                <a:gd name="T18" fmla="*/ 326 w 480"/>
                <a:gd name="T19" fmla="*/ 438 h 438"/>
                <a:gd name="T20" fmla="*/ 0 w 480"/>
                <a:gd name="T21" fmla="*/ 58 h 438"/>
                <a:gd name="T22" fmla="*/ 128 w 480"/>
                <a:gd name="T23" fmla="*/ 0 h 438"/>
                <a:gd name="T24" fmla="*/ 146 w 480"/>
                <a:gd name="T25"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438">
                  <a:moveTo>
                    <a:pt x="146" y="0"/>
                  </a:moveTo>
                  <a:lnTo>
                    <a:pt x="163" y="3"/>
                  </a:lnTo>
                  <a:lnTo>
                    <a:pt x="178" y="9"/>
                  </a:lnTo>
                  <a:lnTo>
                    <a:pt x="191" y="18"/>
                  </a:lnTo>
                  <a:lnTo>
                    <a:pt x="477" y="347"/>
                  </a:lnTo>
                  <a:lnTo>
                    <a:pt x="480" y="352"/>
                  </a:lnTo>
                  <a:lnTo>
                    <a:pt x="480" y="358"/>
                  </a:lnTo>
                  <a:lnTo>
                    <a:pt x="478" y="363"/>
                  </a:lnTo>
                  <a:lnTo>
                    <a:pt x="472" y="367"/>
                  </a:lnTo>
                  <a:lnTo>
                    <a:pt x="326" y="438"/>
                  </a:lnTo>
                  <a:lnTo>
                    <a:pt x="0" y="58"/>
                  </a:lnTo>
                  <a:lnTo>
                    <a:pt x="128" y="0"/>
                  </a:lnTo>
                  <a:lnTo>
                    <a:pt x="146" y="0"/>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184" name="Freeform 632">
              <a:extLst>
                <a:ext uri="{FF2B5EF4-FFF2-40B4-BE49-F238E27FC236}">
                  <a16:creationId xmlns:a16="http://schemas.microsoft.com/office/drawing/2014/main" id="{35FE0501-9720-4C9B-B9E7-37D418608EC4}"/>
                </a:ext>
              </a:extLst>
            </p:cNvPr>
            <p:cNvSpPr>
              <a:spLocks noChangeAspect="1"/>
            </p:cNvSpPr>
            <p:nvPr/>
          </p:nvSpPr>
          <p:spPr bwMode="auto">
            <a:xfrm>
              <a:off x="4564064" y="3544253"/>
              <a:ext cx="96837" cy="107950"/>
            </a:xfrm>
            <a:custGeom>
              <a:avLst/>
              <a:gdLst>
                <a:gd name="T0" fmla="*/ 153 w 560"/>
                <a:gd name="T1" fmla="*/ 0 h 480"/>
                <a:gd name="T2" fmla="*/ 161 w 560"/>
                <a:gd name="T3" fmla="*/ 1 h 480"/>
                <a:gd name="T4" fmla="*/ 168 w 560"/>
                <a:gd name="T5" fmla="*/ 3 h 480"/>
                <a:gd name="T6" fmla="*/ 172 w 560"/>
                <a:gd name="T7" fmla="*/ 7 h 480"/>
                <a:gd name="T8" fmla="*/ 559 w 560"/>
                <a:gd name="T9" fmla="*/ 458 h 480"/>
                <a:gd name="T10" fmla="*/ 560 w 560"/>
                <a:gd name="T11" fmla="*/ 472 h 480"/>
                <a:gd name="T12" fmla="*/ 542 w 560"/>
                <a:gd name="T13" fmla="*/ 480 h 480"/>
                <a:gd name="T14" fmla="*/ 350 w 560"/>
                <a:gd name="T15" fmla="*/ 480 h 480"/>
                <a:gd name="T16" fmla="*/ 0 w 560"/>
                <a:gd name="T17" fmla="*/ 72 h 480"/>
                <a:gd name="T18" fmla="*/ 146 w 560"/>
                <a:gd name="T19" fmla="*/ 2 h 480"/>
                <a:gd name="T20" fmla="*/ 153 w 560"/>
                <a:gd name="T2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0" h="480">
                  <a:moveTo>
                    <a:pt x="153" y="0"/>
                  </a:moveTo>
                  <a:lnTo>
                    <a:pt x="161" y="1"/>
                  </a:lnTo>
                  <a:lnTo>
                    <a:pt x="168" y="3"/>
                  </a:lnTo>
                  <a:lnTo>
                    <a:pt x="172" y="7"/>
                  </a:lnTo>
                  <a:lnTo>
                    <a:pt x="559" y="458"/>
                  </a:lnTo>
                  <a:lnTo>
                    <a:pt x="560" y="472"/>
                  </a:lnTo>
                  <a:lnTo>
                    <a:pt x="542" y="480"/>
                  </a:lnTo>
                  <a:lnTo>
                    <a:pt x="350" y="480"/>
                  </a:lnTo>
                  <a:lnTo>
                    <a:pt x="0" y="72"/>
                  </a:lnTo>
                  <a:lnTo>
                    <a:pt x="146" y="2"/>
                  </a:lnTo>
                  <a:lnTo>
                    <a:pt x="153" y="0"/>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185" name="Freeform 633">
              <a:extLst>
                <a:ext uri="{FF2B5EF4-FFF2-40B4-BE49-F238E27FC236}">
                  <a16:creationId xmlns:a16="http://schemas.microsoft.com/office/drawing/2014/main" id="{E0E7D94B-F5B8-4C92-A336-6B2A1F851AF5}"/>
                </a:ext>
              </a:extLst>
            </p:cNvPr>
            <p:cNvSpPr>
              <a:spLocks noChangeAspect="1"/>
            </p:cNvSpPr>
            <p:nvPr/>
          </p:nvSpPr>
          <p:spPr bwMode="auto">
            <a:xfrm>
              <a:off x="4564064" y="3544253"/>
              <a:ext cx="96837" cy="107950"/>
            </a:xfrm>
            <a:custGeom>
              <a:avLst/>
              <a:gdLst>
                <a:gd name="T0" fmla="*/ 153 w 560"/>
                <a:gd name="T1" fmla="*/ 0 h 480"/>
                <a:gd name="T2" fmla="*/ 161 w 560"/>
                <a:gd name="T3" fmla="*/ 1 h 480"/>
                <a:gd name="T4" fmla="*/ 168 w 560"/>
                <a:gd name="T5" fmla="*/ 3 h 480"/>
                <a:gd name="T6" fmla="*/ 172 w 560"/>
                <a:gd name="T7" fmla="*/ 7 h 480"/>
                <a:gd name="T8" fmla="*/ 559 w 560"/>
                <a:gd name="T9" fmla="*/ 458 h 480"/>
                <a:gd name="T10" fmla="*/ 560 w 560"/>
                <a:gd name="T11" fmla="*/ 472 h 480"/>
                <a:gd name="T12" fmla="*/ 542 w 560"/>
                <a:gd name="T13" fmla="*/ 480 h 480"/>
                <a:gd name="T14" fmla="*/ 350 w 560"/>
                <a:gd name="T15" fmla="*/ 480 h 480"/>
                <a:gd name="T16" fmla="*/ 0 w 560"/>
                <a:gd name="T17" fmla="*/ 72 h 480"/>
                <a:gd name="T18" fmla="*/ 146 w 560"/>
                <a:gd name="T19" fmla="*/ 2 h 480"/>
                <a:gd name="T20" fmla="*/ 153 w 560"/>
                <a:gd name="T2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0" h="480">
                  <a:moveTo>
                    <a:pt x="153" y="0"/>
                  </a:moveTo>
                  <a:lnTo>
                    <a:pt x="161" y="1"/>
                  </a:lnTo>
                  <a:lnTo>
                    <a:pt x="168" y="3"/>
                  </a:lnTo>
                  <a:lnTo>
                    <a:pt x="172" y="7"/>
                  </a:lnTo>
                  <a:lnTo>
                    <a:pt x="559" y="458"/>
                  </a:lnTo>
                  <a:lnTo>
                    <a:pt x="560" y="472"/>
                  </a:lnTo>
                  <a:lnTo>
                    <a:pt x="542" y="480"/>
                  </a:lnTo>
                  <a:lnTo>
                    <a:pt x="350" y="480"/>
                  </a:lnTo>
                  <a:lnTo>
                    <a:pt x="0" y="72"/>
                  </a:lnTo>
                  <a:lnTo>
                    <a:pt x="146" y="2"/>
                  </a:lnTo>
                  <a:lnTo>
                    <a:pt x="153" y="0"/>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186" name="Freeform 634">
              <a:extLst>
                <a:ext uri="{FF2B5EF4-FFF2-40B4-BE49-F238E27FC236}">
                  <a16:creationId xmlns:a16="http://schemas.microsoft.com/office/drawing/2014/main" id="{55E761CE-B7FC-4029-854C-567D3F83771C}"/>
                </a:ext>
              </a:extLst>
            </p:cNvPr>
            <p:cNvSpPr>
              <a:spLocks noChangeAspect="1"/>
            </p:cNvSpPr>
            <p:nvPr/>
          </p:nvSpPr>
          <p:spPr bwMode="auto">
            <a:xfrm>
              <a:off x="4635500" y="3653791"/>
              <a:ext cx="71438" cy="176213"/>
            </a:xfrm>
            <a:custGeom>
              <a:avLst/>
              <a:gdLst>
                <a:gd name="T0" fmla="*/ 155 w 418"/>
                <a:gd name="T1" fmla="*/ 6 h 781"/>
                <a:gd name="T2" fmla="*/ 157 w 418"/>
                <a:gd name="T3" fmla="*/ 7 h 781"/>
                <a:gd name="T4" fmla="*/ 158 w 418"/>
                <a:gd name="T5" fmla="*/ 9 h 781"/>
                <a:gd name="T6" fmla="*/ 161 w 418"/>
                <a:gd name="T7" fmla="*/ 10 h 781"/>
                <a:gd name="T8" fmla="*/ 162 w 418"/>
                <a:gd name="T9" fmla="*/ 11 h 781"/>
                <a:gd name="T10" fmla="*/ 220 w 418"/>
                <a:gd name="T11" fmla="*/ 87 h 781"/>
                <a:gd name="T12" fmla="*/ 273 w 418"/>
                <a:gd name="T13" fmla="*/ 165 h 781"/>
                <a:gd name="T14" fmla="*/ 317 w 418"/>
                <a:gd name="T15" fmla="*/ 245 h 781"/>
                <a:gd name="T16" fmla="*/ 354 w 418"/>
                <a:gd name="T17" fmla="*/ 327 h 781"/>
                <a:gd name="T18" fmla="*/ 382 w 418"/>
                <a:gd name="T19" fmla="*/ 411 h 781"/>
                <a:gd name="T20" fmla="*/ 403 w 418"/>
                <a:gd name="T21" fmla="*/ 497 h 781"/>
                <a:gd name="T22" fmla="*/ 415 w 418"/>
                <a:gd name="T23" fmla="*/ 583 h 781"/>
                <a:gd name="T24" fmla="*/ 418 w 418"/>
                <a:gd name="T25" fmla="*/ 670 h 781"/>
                <a:gd name="T26" fmla="*/ 415 w 418"/>
                <a:gd name="T27" fmla="*/ 757 h 781"/>
                <a:gd name="T28" fmla="*/ 414 w 418"/>
                <a:gd name="T29" fmla="*/ 762 h 781"/>
                <a:gd name="T30" fmla="*/ 410 w 418"/>
                <a:gd name="T31" fmla="*/ 767 h 781"/>
                <a:gd name="T32" fmla="*/ 407 w 418"/>
                <a:gd name="T33" fmla="*/ 771 h 781"/>
                <a:gd name="T34" fmla="*/ 404 w 418"/>
                <a:gd name="T35" fmla="*/ 773 h 781"/>
                <a:gd name="T36" fmla="*/ 398 w 418"/>
                <a:gd name="T37" fmla="*/ 776 h 781"/>
                <a:gd name="T38" fmla="*/ 392 w 418"/>
                <a:gd name="T39" fmla="*/ 778 h 781"/>
                <a:gd name="T40" fmla="*/ 387 w 418"/>
                <a:gd name="T41" fmla="*/ 781 h 781"/>
                <a:gd name="T42" fmla="*/ 380 w 418"/>
                <a:gd name="T43" fmla="*/ 781 h 781"/>
                <a:gd name="T44" fmla="*/ 0 w 418"/>
                <a:gd name="T45" fmla="*/ 781 h 781"/>
                <a:gd name="T46" fmla="*/ 0 w 418"/>
                <a:gd name="T47" fmla="*/ 0 h 781"/>
                <a:gd name="T48" fmla="*/ 131 w 418"/>
                <a:gd name="T49" fmla="*/ 0 h 781"/>
                <a:gd name="T50" fmla="*/ 135 w 418"/>
                <a:gd name="T51" fmla="*/ 0 h 781"/>
                <a:gd name="T52" fmla="*/ 139 w 418"/>
                <a:gd name="T53" fmla="*/ 0 h 781"/>
                <a:gd name="T54" fmla="*/ 143 w 418"/>
                <a:gd name="T55" fmla="*/ 1 h 781"/>
                <a:gd name="T56" fmla="*/ 146 w 418"/>
                <a:gd name="T57" fmla="*/ 2 h 781"/>
                <a:gd name="T58" fmla="*/ 148 w 418"/>
                <a:gd name="T59" fmla="*/ 2 h 781"/>
                <a:gd name="T60" fmla="*/ 149 w 418"/>
                <a:gd name="T61" fmla="*/ 3 h 781"/>
                <a:gd name="T62" fmla="*/ 152 w 418"/>
                <a:gd name="T63" fmla="*/ 4 h 781"/>
                <a:gd name="T64" fmla="*/ 154 w 418"/>
                <a:gd name="T65" fmla="*/ 5 h 781"/>
                <a:gd name="T66" fmla="*/ 155 w 418"/>
                <a:gd name="T67" fmla="*/ 6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8" h="781">
                  <a:moveTo>
                    <a:pt x="155" y="6"/>
                  </a:moveTo>
                  <a:lnTo>
                    <a:pt x="157" y="7"/>
                  </a:lnTo>
                  <a:lnTo>
                    <a:pt x="158" y="9"/>
                  </a:lnTo>
                  <a:lnTo>
                    <a:pt x="161" y="10"/>
                  </a:lnTo>
                  <a:lnTo>
                    <a:pt x="162" y="11"/>
                  </a:lnTo>
                  <a:lnTo>
                    <a:pt x="220" y="87"/>
                  </a:lnTo>
                  <a:lnTo>
                    <a:pt x="273" y="165"/>
                  </a:lnTo>
                  <a:lnTo>
                    <a:pt x="317" y="245"/>
                  </a:lnTo>
                  <a:lnTo>
                    <a:pt x="354" y="327"/>
                  </a:lnTo>
                  <a:lnTo>
                    <a:pt x="382" y="411"/>
                  </a:lnTo>
                  <a:lnTo>
                    <a:pt x="403" y="497"/>
                  </a:lnTo>
                  <a:lnTo>
                    <a:pt x="415" y="583"/>
                  </a:lnTo>
                  <a:lnTo>
                    <a:pt x="418" y="670"/>
                  </a:lnTo>
                  <a:lnTo>
                    <a:pt x="415" y="757"/>
                  </a:lnTo>
                  <a:lnTo>
                    <a:pt x="414" y="762"/>
                  </a:lnTo>
                  <a:lnTo>
                    <a:pt x="410" y="767"/>
                  </a:lnTo>
                  <a:lnTo>
                    <a:pt x="407" y="771"/>
                  </a:lnTo>
                  <a:lnTo>
                    <a:pt x="404" y="773"/>
                  </a:lnTo>
                  <a:lnTo>
                    <a:pt x="398" y="776"/>
                  </a:lnTo>
                  <a:lnTo>
                    <a:pt x="392" y="778"/>
                  </a:lnTo>
                  <a:lnTo>
                    <a:pt x="387" y="781"/>
                  </a:lnTo>
                  <a:lnTo>
                    <a:pt x="380" y="781"/>
                  </a:lnTo>
                  <a:lnTo>
                    <a:pt x="0" y="781"/>
                  </a:lnTo>
                  <a:lnTo>
                    <a:pt x="0" y="0"/>
                  </a:lnTo>
                  <a:lnTo>
                    <a:pt x="131" y="0"/>
                  </a:lnTo>
                  <a:lnTo>
                    <a:pt x="135" y="0"/>
                  </a:lnTo>
                  <a:lnTo>
                    <a:pt x="139" y="0"/>
                  </a:lnTo>
                  <a:lnTo>
                    <a:pt x="143" y="1"/>
                  </a:lnTo>
                  <a:lnTo>
                    <a:pt x="146" y="2"/>
                  </a:lnTo>
                  <a:lnTo>
                    <a:pt x="148" y="2"/>
                  </a:lnTo>
                  <a:lnTo>
                    <a:pt x="149" y="3"/>
                  </a:lnTo>
                  <a:lnTo>
                    <a:pt x="152" y="4"/>
                  </a:lnTo>
                  <a:lnTo>
                    <a:pt x="154" y="5"/>
                  </a:lnTo>
                  <a:lnTo>
                    <a:pt x="155" y="6"/>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187" name="Freeform 635">
              <a:extLst>
                <a:ext uri="{FF2B5EF4-FFF2-40B4-BE49-F238E27FC236}">
                  <a16:creationId xmlns:a16="http://schemas.microsoft.com/office/drawing/2014/main" id="{AFDCC67C-80FA-4B6F-A094-BAE29B434FAF}"/>
                </a:ext>
              </a:extLst>
            </p:cNvPr>
            <p:cNvSpPr>
              <a:spLocks noChangeAspect="1"/>
            </p:cNvSpPr>
            <p:nvPr/>
          </p:nvSpPr>
          <p:spPr bwMode="auto">
            <a:xfrm>
              <a:off x="4635500" y="3653791"/>
              <a:ext cx="71438" cy="176213"/>
            </a:xfrm>
            <a:custGeom>
              <a:avLst/>
              <a:gdLst>
                <a:gd name="T0" fmla="*/ 155 w 418"/>
                <a:gd name="T1" fmla="*/ 6 h 781"/>
                <a:gd name="T2" fmla="*/ 157 w 418"/>
                <a:gd name="T3" fmla="*/ 7 h 781"/>
                <a:gd name="T4" fmla="*/ 158 w 418"/>
                <a:gd name="T5" fmla="*/ 9 h 781"/>
                <a:gd name="T6" fmla="*/ 161 w 418"/>
                <a:gd name="T7" fmla="*/ 10 h 781"/>
                <a:gd name="T8" fmla="*/ 162 w 418"/>
                <a:gd name="T9" fmla="*/ 11 h 781"/>
                <a:gd name="T10" fmla="*/ 220 w 418"/>
                <a:gd name="T11" fmla="*/ 87 h 781"/>
                <a:gd name="T12" fmla="*/ 273 w 418"/>
                <a:gd name="T13" fmla="*/ 165 h 781"/>
                <a:gd name="T14" fmla="*/ 317 w 418"/>
                <a:gd name="T15" fmla="*/ 245 h 781"/>
                <a:gd name="T16" fmla="*/ 354 w 418"/>
                <a:gd name="T17" fmla="*/ 327 h 781"/>
                <a:gd name="T18" fmla="*/ 382 w 418"/>
                <a:gd name="T19" fmla="*/ 411 h 781"/>
                <a:gd name="T20" fmla="*/ 403 w 418"/>
                <a:gd name="T21" fmla="*/ 497 h 781"/>
                <a:gd name="T22" fmla="*/ 415 w 418"/>
                <a:gd name="T23" fmla="*/ 583 h 781"/>
                <a:gd name="T24" fmla="*/ 418 w 418"/>
                <a:gd name="T25" fmla="*/ 670 h 781"/>
                <a:gd name="T26" fmla="*/ 415 w 418"/>
                <a:gd name="T27" fmla="*/ 757 h 781"/>
                <a:gd name="T28" fmla="*/ 414 w 418"/>
                <a:gd name="T29" fmla="*/ 762 h 781"/>
                <a:gd name="T30" fmla="*/ 410 w 418"/>
                <a:gd name="T31" fmla="*/ 767 h 781"/>
                <a:gd name="T32" fmla="*/ 407 w 418"/>
                <a:gd name="T33" fmla="*/ 771 h 781"/>
                <a:gd name="T34" fmla="*/ 404 w 418"/>
                <a:gd name="T35" fmla="*/ 773 h 781"/>
                <a:gd name="T36" fmla="*/ 398 w 418"/>
                <a:gd name="T37" fmla="*/ 776 h 781"/>
                <a:gd name="T38" fmla="*/ 392 w 418"/>
                <a:gd name="T39" fmla="*/ 778 h 781"/>
                <a:gd name="T40" fmla="*/ 387 w 418"/>
                <a:gd name="T41" fmla="*/ 781 h 781"/>
                <a:gd name="T42" fmla="*/ 380 w 418"/>
                <a:gd name="T43" fmla="*/ 781 h 781"/>
                <a:gd name="T44" fmla="*/ 0 w 418"/>
                <a:gd name="T45" fmla="*/ 781 h 781"/>
                <a:gd name="T46" fmla="*/ 0 w 418"/>
                <a:gd name="T47" fmla="*/ 0 h 781"/>
                <a:gd name="T48" fmla="*/ 131 w 418"/>
                <a:gd name="T49" fmla="*/ 0 h 781"/>
                <a:gd name="T50" fmla="*/ 135 w 418"/>
                <a:gd name="T51" fmla="*/ 0 h 781"/>
                <a:gd name="T52" fmla="*/ 139 w 418"/>
                <a:gd name="T53" fmla="*/ 0 h 781"/>
                <a:gd name="T54" fmla="*/ 143 w 418"/>
                <a:gd name="T55" fmla="*/ 1 h 781"/>
                <a:gd name="T56" fmla="*/ 146 w 418"/>
                <a:gd name="T57" fmla="*/ 2 h 781"/>
                <a:gd name="T58" fmla="*/ 148 w 418"/>
                <a:gd name="T59" fmla="*/ 2 h 781"/>
                <a:gd name="T60" fmla="*/ 149 w 418"/>
                <a:gd name="T61" fmla="*/ 3 h 781"/>
                <a:gd name="T62" fmla="*/ 152 w 418"/>
                <a:gd name="T63" fmla="*/ 4 h 781"/>
                <a:gd name="T64" fmla="*/ 154 w 418"/>
                <a:gd name="T65" fmla="*/ 5 h 781"/>
                <a:gd name="T66" fmla="*/ 155 w 418"/>
                <a:gd name="T67" fmla="*/ 6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8" h="781">
                  <a:moveTo>
                    <a:pt x="155" y="6"/>
                  </a:moveTo>
                  <a:lnTo>
                    <a:pt x="157" y="7"/>
                  </a:lnTo>
                  <a:lnTo>
                    <a:pt x="158" y="9"/>
                  </a:lnTo>
                  <a:lnTo>
                    <a:pt x="161" y="10"/>
                  </a:lnTo>
                  <a:lnTo>
                    <a:pt x="162" y="11"/>
                  </a:lnTo>
                  <a:lnTo>
                    <a:pt x="220" y="87"/>
                  </a:lnTo>
                  <a:lnTo>
                    <a:pt x="273" y="165"/>
                  </a:lnTo>
                  <a:lnTo>
                    <a:pt x="317" y="245"/>
                  </a:lnTo>
                  <a:lnTo>
                    <a:pt x="354" y="327"/>
                  </a:lnTo>
                  <a:lnTo>
                    <a:pt x="382" y="411"/>
                  </a:lnTo>
                  <a:lnTo>
                    <a:pt x="403" y="497"/>
                  </a:lnTo>
                  <a:lnTo>
                    <a:pt x="415" y="583"/>
                  </a:lnTo>
                  <a:lnTo>
                    <a:pt x="418" y="670"/>
                  </a:lnTo>
                  <a:lnTo>
                    <a:pt x="415" y="757"/>
                  </a:lnTo>
                  <a:lnTo>
                    <a:pt x="414" y="762"/>
                  </a:lnTo>
                  <a:lnTo>
                    <a:pt x="410" y="767"/>
                  </a:lnTo>
                  <a:lnTo>
                    <a:pt x="407" y="771"/>
                  </a:lnTo>
                  <a:lnTo>
                    <a:pt x="404" y="773"/>
                  </a:lnTo>
                  <a:lnTo>
                    <a:pt x="398" y="776"/>
                  </a:lnTo>
                  <a:lnTo>
                    <a:pt x="392" y="778"/>
                  </a:lnTo>
                  <a:lnTo>
                    <a:pt x="387" y="781"/>
                  </a:lnTo>
                  <a:lnTo>
                    <a:pt x="380" y="781"/>
                  </a:lnTo>
                  <a:lnTo>
                    <a:pt x="0" y="781"/>
                  </a:lnTo>
                  <a:lnTo>
                    <a:pt x="0" y="0"/>
                  </a:lnTo>
                  <a:lnTo>
                    <a:pt x="131" y="0"/>
                  </a:lnTo>
                  <a:lnTo>
                    <a:pt x="135" y="0"/>
                  </a:lnTo>
                  <a:lnTo>
                    <a:pt x="139" y="0"/>
                  </a:lnTo>
                  <a:lnTo>
                    <a:pt x="143" y="1"/>
                  </a:lnTo>
                  <a:lnTo>
                    <a:pt x="146" y="2"/>
                  </a:lnTo>
                  <a:lnTo>
                    <a:pt x="148" y="2"/>
                  </a:lnTo>
                  <a:lnTo>
                    <a:pt x="149" y="3"/>
                  </a:lnTo>
                  <a:lnTo>
                    <a:pt x="152" y="4"/>
                  </a:lnTo>
                  <a:lnTo>
                    <a:pt x="154" y="5"/>
                  </a:lnTo>
                  <a:lnTo>
                    <a:pt x="155" y="6"/>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188" name="Freeform 636">
              <a:extLst>
                <a:ext uri="{FF2B5EF4-FFF2-40B4-BE49-F238E27FC236}">
                  <a16:creationId xmlns:a16="http://schemas.microsoft.com/office/drawing/2014/main" id="{55047B6E-88A1-4D58-B2B9-C35150AFC6D8}"/>
                </a:ext>
              </a:extLst>
            </p:cNvPr>
            <p:cNvSpPr>
              <a:spLocks noChangeAspect="1"/>
            </p:cNvSpPr>
            <p:nvPr/>
          </p:nvSpPr>
          <p:spPr bwMode="auto">
            <a:xfrm>
              <a:off x="4606925" y="3831591"/>
              <a:ext cx="95250" cy="180975"/>
            </a:xfrm>
            <a:custGeom>
              <a:avLst/>
              <a:gdLst>
                <a:gd name="T0" fmla="*/ 545 w 563"/>
                <a:gd name="T1" fmla="*/ 3 h 802"/>
                <a:gd name="T2" fmla="*/ 557 w 563"/>
                <a:gd name="T3" fmla="*/ 10 h 802"/>
                <a:gd name="T4" fmla="*/ 563 w 563"/>
                <a:gd name="T5" fmla="*/ 21 h 802"/>
                <a:gd name="T6" fmla="*/ 562 w 563"/>
                <a:gd name="T7" fmla="*/ 33 h 802"/>
                <a:gd name="T8" fmla="*/ 241 w 563"/>
                <a:gd name="T9" fmla="*/ 727 h 802"/>
                <a:gd name="T10" fmla="*/ 238 w 563"/>
                <a:gd name="T11" fmla="*/ 732 h 802"/>
                <a:gd name="T12" fmla="*/ 232 w 563"/>
                <a:gd name="T13" fmla="*/ 735 h 802"/>
                <a:gd name="T14" fmla="*/ 226 w 563"/>
                <a:gd name="T15" fmla="*/ 736 h 802"/>
                <a:gd name="T16" fmla="*/ 219 w 563"/>
                <a:gd name="T17" fmla="*/ 735 h 802"/>
                <a:gd name="T18" fmla="*/ 216 w 563"/>
                <a:gd name="T19" fmla="*/ 734 h 802"/>
                <a:gd name="T20" fmla="*/ 211 w 563"/>
                <a:gd name="T21" fmla="*/ 734 h 802"/>
                <a:gd name="T22" fmla="*/ 204 w 563"/>
                <a:gd name="T23" fmla="*/ 735 h 802"/>
                <a:gd name="T24" fmla="*/ 198 w 563"/>
                <a:gd name="T25" fmla="*/ 737 h 802"/>
                <a:gd name="T26" fmla="*/ 113 w 563"/>
                <a:gd name="T27" fmla="*/ 802 h 802"/>
                <a:gd name="T28" fmla="*/ 0 w 563"/>
                <a:gd name="T29" fmla="*/ 718 h 802"/>
                <a:gd name="T30" fmla="*/ 331 w 563"/>
                <a:gd name="T31" fmla="*/ 0 h 802"/>
                <a:gd name="T32" fmla="*/ 441 w 563"/>
                <a:gd name="T33" fmla="*/ 28 h 802"/>
                <a:gd name="T34" fmla="*/ 454 w 563"/>
                <a:gd name="T35" fmla="*/ 0 h 802"/>
                <a:gd name="T36" fmla="*/ 529 w 563"/>
                <a:gd name="T37" fmla="*/ 0 h 802"/>
                <a:gd name="T38" fmla="*/ 545 w 563"/>
                <a:gd name="T39" fmla="*/ 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3" h="802">
                  <a:moveTo>
                    <a:pt x="545" y="3"/>
                  </a:moveTo>
                  <a:lnTo>
                    <a:pt x="557" y="10"/>
                  </a:lnTo>
                  <a:lnTo>
                    <a:pt x="563" y="21"/>
                  </a:lnTo>
                  <a:lnTo>
                    <a:pt x="562" y="33"/>
                  </a:lnTo>
                  <a:lnTo>
                    <a:pt x="241" y="727"/>
                  </a:lnTo>
                  <a:lnTo>
                    <a:pt x="238" y="732"/>
                  </a:lnTo>
                  <a:lnTo>
                    <a:pt x="232" y="735"/>
                  </a:lnTo>
                  <a:lnTo>
                    <a:pt x="226" y="736"/>
                  </a:lnTo>
                  <a:lnTo>
                    <a:pt x="219" y="735"/>
                  </a:lnTo>
                  <a:lnTo>
                    <a:pt x="216" y="734"/>
                  </a:lnTo>
                  <a:lnTo>
                    <a:pt x="211" y="734"/>
                  </a:lnTo>
                  <a:lnTo>
                    <a:pt x="204" y="735"/>
                  </a:lnTo>
                  <a:lnTo>
                    <a:pt x="198" y="737"/>
                  </a:lnTo>
                  <a:lnTo>
                    <a:pt x="113" y="802"/>
                  </a:lnTo>
                  <a:lnTo>
                    <a:pt x="0" y="718"/>
                  </a:lnTo>
                  <a:lnTo>
                    <a:pt x="331" y="0"/>
                  </a:lnTo>
                  <a:lnTo>
                    <a:pt x="441" y="28"/>
                  </a:lnTo>
                  <a:lnTo>
                    <a:pt x="454" y="0"/>
                  </a:lnTo>
                  <a:lnTo>
                    <a:pt x="529" y="0"/>
                  </a:lnTo>
                  <a:lnTo>
                    <a:pt x="545" y="3"/>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189" name="Freeform 637">
              <a:extLst>
                <a:ext uri="{FF2B5EF4-FFF2-40B4-BE49-F238E27FC236}">
                  <a16:creationId xmlns:a16="http://schemas.microsoft.com/office/drawing/2014/main" id="{D93180E4-1CED-449B-8249-2517FB87B6AB}"/>
                </a:ext>
              </a:extLst>
            </p:cNvPr>
            <p:cNvSpPr>
              <a:spLocks noChangeAspect="1"/>
            </p:cNvSpPr>
            <p:nvPr/>
          </p:nvSpPr>
          <p:spPr bwMode="auto">
            <a:xfrm>
              <a:off x="4606925" y="3831591"/>
              <a:ext cx="95250" cy="180975"/>
            </a:xfrm>
            <a:custGeom>
              <a:avLst/>
              <a:gdLst>
                <a:gd name="T0" fmla="*/ 545 w 563"/>
                <a:gd name="T1" fmla="*/ 3 h 802"/>
                <a:gd name="T2" fmla="*/ 557 w 563"/>
                <a:gd name="T3" fmla="*/ 10 h 802"/>
                <a:gd name="T4" fmla="*/ 563 w 563"/>
                <a:gd name="T5" fmla="*/ 21 h 802"/>
                <a:gd name="T6" fmla="*/ 562 w 563"/>
                <a:gd name="T7" fmla="*/ 33 h 802"/>
                <a:gd name="T8" fmla="*/ 241 w 563"/>
                <a:gd name="T9" fmla="*/ 727 h 802"/>
                <a:gd name="T10" fmla="*/ 238 w 563"/>
                <a:gd name="T11" fmla="*/ 732 h 802"/>
                <a:gd name="T12" fmla="*/ 232 w 563"/>
                <a:gd name="T13" fmla="*/ 735 h 802"/>
                <a:gd name="T14" fmla="*/ 226 w 563"/>
                <a:gd name="T15" fmla="*/ 736 h 802"/>
                <a:gd name="T16" fmla="*/ 219 w 563"/>
                <a:gd name="T17" fmla="*/ 735 h 802"/>
                <a:gd name="T18" fmla="*/ 216 w 563"/>
                <a:gd name="T19" fmla="*/ 734 h 802"/>
                <a:gd name="T20" fmla="*/ 211 w 563"/>
                <a:gd name="T21" fmla="*/ 734 h 802"/>
                <a:gd name="T22" fmla="*/ 204 w 563"/>
                <a:gd name="T23" fmla="*/ 735 h 802"/>
                <a:gd name="T24" fmla="*/ 198 w 563"/>
                <a:gd name="T25" fmla="*/ 737 h 802"/>
                <a:gd name="T26" fmla="*/ 113 w 563"/>
                <a:gd name="T27" fmla="*/ 802 h 802"/>
                <a:gd name="T28" fmla="*/ 0 w 563"/>
                <a:gd name="T29" fmla="*/ 718 h 802"/>
                <a:gd name="T30" fmla="*/ 331 w 563"/>
                <a:gd name="T31" fmla="*/ 0 h 802"/>
                <a:gd name="T32" fmla="*/ 441 w 563"/>
                <a:gd name="T33" fmla="*/ 28 h 802"/>
                <a:gd name="T34" fmla="*/ 454 w 563"/>
                <a:gd name="T35" fmla="*/ 0 h 802"/>
                <a:gd name="T36" fmla="*/ 529 w 563"/>
                <a:gd name="T37" fmla="*/ 0 h 802"/>
                <a:gd name="T38" fmla="*/ 545 w 563"/>
                <a:gd name="T39" fmla="*/ 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3" h="802">
                  <a:moveTo>
                    <a:pt x="545" y="3"/>
                  </a:moveTo>
                  <a:lnTo>
                    <a:pt x="557" y="10"/>
                  </a:lnTo>
                  <a:lnTo>
                    <a:pt x="563" y="21"/>
                  </a:lnTo>
                  <a:lnTo>
                    <a:pt x="562" y="33"/>
                  </a:lnTo>
                  <a:lnTo>
                    <a:pt x="241" y="727"/>
                  </a:lnTo>
                  <a:lnTo>
                    <a:pt x="238" y="732"/>
                  </a:lnTo>
                  <a:lnTo>
                    <a:pt x="232" y="735"/>
                  </a:lnTo>
                  <a:lnTo>
                    <a:pt x="226" y="736"/>
                  </a:lnTo>
                  <a:lnTo>
                    <a:pt x="219" y="735"/>
                  </a:lnTo>
                  <a:lnTo>
                    <a:pt x="216" y="734"/>
                  </a:lnTo>
                  <a:lnTo>
                    <a:pt x="211" y="734"/>
                  </a:lnTo>
                  <a:lnTo>
                    <a:pt x="204" y="735"/>
                  </a:lnTo>
                  <a:lnTo>
                    <a:pt x="198" y="737"/>
                  </a:lnTo>
                  <a:lnTo>
                    <a:pt x="113" y="802"/>
                  </a:lnTo>
                  <a:lnTo>
                    <a:pt x="0" y="718"/>
                  </a:lnTo>
                  <a:lnTo>
                    <a:pt x="331" y="0"/>
                  </a:lnTo>
                  <a:lnTo>
                    <a:pt x="441" y="28"/>
                  </a:lnTo>
                  <a:lnTo>
                    <a:pt x="454" y="0"/>
                  </a:lnTo>
                  <a:lnTo>
                    <a:pt x="529" y="0"/>
                  </a:lnTo>
                  <a:lnTo>
                    <a:pt x="545" y="3"/>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190" name="Freeform 638">
              <a:extLst>
                <a:ext uri="{FF2B5EF4-FFF2-40B4-BE49-F238E27FC236}">
                  <a16:creationId xmlns:a16="http://schemas.microsoft.com/office/drawing/2014/main" id="{6E11DF2D-6852-4EC4-A246-646DC862680E}"/>
                </a:ext>
              </a:extLst>
            </p:cNvPr>
            <p:cNvSpPr>
              <a:spLocks noChangeAspect="1"/>
            </p:cNvSpPr>
            <p:nvPr/>
          </p:nvSpPr>
          <p:spPr bwMode="auto">
            <a:xfrm>
              <a:off x="4624388" y="3998278"/>
              <a:ext cx="31750" cy="31750"/>
            </a:xfrm>
            <a:custGeom>
              <a:avLst/>
              <a:gdLst>
                <a:gd name="T0" fmla="*/ 101 w 183"/>
                <a:gd name="T1" fmla="*/ 1 h 149"/>
                <a:gd name="T2" fmla="*/ 106 w 183"/>
                <a:gd name="T3" fmla="*/ 4 h 149"/>
                <a:gd name="T4" fmla="*/ 115 w 183"/>
                <a:gd name="T5" fmla="*/ 15 h 149"/>
                <a:gd name="T6" fmla="*/ 181 w 183"/>
                <a:gd name="T7" fmla="*/ 85 h 149"/>
                <a:gd name="T8" fmla="*/ 183 w 183"/>
                <a:gd name="T9" fmla="*/ 88 h 149"/>
                <a:gd name="T10" fmla="*/ 183 w 183"/>
                <a:gd name="T11" fmla="*/ 91 h 149"/>
                <a:gd name="T12" fmla="*/ 181 w 183"/>
                <a:gd name="T13" fmla="*/ 95 h 149"/>
                <a:gd name="T14" fmla="*/ 179 w 183"/>
                <a:gd name="T15" fmla="*/ 97 h 149"/>
                <a:gd name="T16" fmla="*/ 110 w 183"/>
                <a:gd name="T17" fmla="*/ 149 h 149"/>
                <a:gd name="T18" fmla="*/ 0 w 183"/>
                <a:gd name="T19" fmla="*/ 66 h 149"/>
                <a:gd name="T20" fmla="*/ 84 w 183"/>
                <a:gd name="T21" fmla="*/ 3 h 149"/>
                <a:gd name="T22" fmla="*/ 89 w 183"/>
                <a:gd name="T23" fmla="*/ 0 h 149"/>
                <a:gd name="T24" fmla="*/ 95 w 183"/>
                <a:gd name="T25" fmla="*/ 0 h 149"/>
                <a:gd name="T26" fmla="*/ 101 w 183"/>
                <a:gd name="T27" fmla="*/ 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3" h="149">
                  <a:moveTo>
                    <a:pt x="101" y="1"/>
                  </a:moveTo>
                  <a:lnTo>
                    <a:pt x="106" y="4"/>
                  </a:lnTo>
                  <a:lnTo>
                    <a:pt x="115" y="15"/>
                  </a:lnTo>
                  <a:lnTo>
                    <a:pt x="181" y="85"/>
                  </a:lnTo>
                  <a:lnTo>
                    <a:pt x="183" y="88"/>
                  </a:lnTo>
                  <a:lnTo>
                    <a:pt x="183" y="91"/>
                  </a:lnTo>
                  <a:lnTo>
                    <a:pt x="181" y="95"/>
                  </a:lnTo>
                  <a:lnTo>
                    <a:pt x="179" y="97"/>
                  </a:lnTo>
                  <a:lnTo>
                    <a:pt x="110" y="149"/>
                  </a:lnTo>
                  <a:lnTo>
                    <a:pt x="0" y="66"/>
                  </a:lnTo>
                  <a:lnTo>
                    <a:pt x="84" y="3"/>
                  </a:lnTo>
                  <a:lnTo>
                    <a:pt x="89" y="0"/>
                  </a:lnTo>
                  <a:lnTo>
                    <a:pt x="95" y="0"/>
                  </a:lnTo>
                  <a:lnTo>
                    <a:pt x="101" y="1"/>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191" name="Freeform 639">
              <a:extLst>
                <a:ext uri="{FF2B5EF4-FFF2-40B4-BE49-F238E27FC236}">
                  <a16:creationId xmlns:a16="http://schemas.microsoft.com/office/drawing/2014/main" id="{FD975A55-D3E3-43C2-A31D-76EC5D9FE01B}"/>
                </a:ext>
              </a:extLst>
            </p:cNvPr>
            <p:cNvSpPr>
              <a:spLocks noChangeAspect="1"/>
            </p:cNvSpPr>
            <p:nvPr/>
          </p:nvSpPr>
          <p:spPr bwMode="auto">
            <a:xfrm>
              <a:off x="4624388" y="3998278"/>
              <a:ext cx="31750" cy="31750"/>
            </a:xfrm>
            <a:custGeom>
              <a:avLst/>
              <a:gdLst>
                <a:gd name="T0" fmla="*/ 101 w 183"/>
                <a:gd name="T1" fmla="*/ 1 h 149"/>
                <a:gd name="T2" fmla="*/ 106 w 183"/>
                <a:gd name="T3" fmla="*/ 4 h 149"/>
                <a:gd name="T4" fmla="*/ 115 w 183"/>
                <a:gd name="T5" fmla="*/ 15 h 149"/>
                <a:gd name="T6" fmla="*/ 181 w 183"/>
                <a:gd name="T7" fmla="*/ 85 h 149"/>
                <a:gd name="T8" fmla="*/ 183 w 183"/>
                <a:gd name="T9" fmla="*/ 88 h 149"/>
                <a:gd name="T10" fmla="*/ 183 w 183"/>
                <a:gd name="T11" fmla="*/ 91 h 149"/>
                <a:gd name="T12" fmla="*/ 181 w 183"/>
                <a:gd name="T13" fmla="*/ 95 h 149"/>
                <a:gd name="T14" fmla="*/ 179 w 183"/>
                <a:gd name="T15" fmla="*/ 97 h 149"/>
                <a:gd name="T16" fmla="*/ 110 w 183"/>
                <a:gd name="T17" fmla="*/ 149 h 149"/>
                <a:gd name="T18" fmla="*/ 0 w 183"/>
                <a:gd name="T19" fmla="*/ 66 h 149"/>
                <a:gd name="T20" fmla="*/ 84 w 183"/>
                <a:gd name="T21" fmla="*/ 3 h 149"/>
                <a:gd name="T22" fmla="*/ 89 w 183"/>
                <a:gd name="T23" fmla="*/ 0 h 149"/>
                <a:gd name="T24" fmla="*/ 95 w 183"/>
                <a:gd name="T25" fmla="*/ 0 h 149"/>
                <a:gd name="T26" fmla="*/ 101 w 183"/>
                <a:gd name="T27" fmla="*/ 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3" h="149">
                  <a:moveTo>
                    <a:pt x="101" y="1"/>
                  </a:moveTo>
                  <a:lnTo>
                    <a:pt x="106" y="4"/>
                  </a:lnTo>
                  <a:lnTo>
                    <a:pt x="115" y="15"/>
                  </a:lnTo>
                  <a:lnTo>
                    <a:pt x="181" y="85"/>
                  </a:lnTo>
                  <a:lnTo>
                    <a:pt x="183" y="88"/>
                  </a:lnTo>
                  <a:lnTo>
                    <a:pt x="183" y="91"/>
                  </a:lnTo>
                  <a:lnTo>
                    <a:pt x="181" y="95"/>
                  </a:lnTo>
                  <a:lnTo>
                    <a:pt x="179" y="97"/>
                  </a:lnTo>
                  <a:lnTo>
                    <a:pt x="110" y="149"/>
                  </a:lnTo>
                  <a:lnTo>
                    <a:pt x="0" y="66"/>
                  </a:lnTo>
                  <a:lnTo>
                    <a:pt x="84" y="3"/>
                  </a:lnTo>
                  <a:lnTo>
                    <a:pt x="89" y="0"/>
                  </a:lnTo>
                  <a:lnTo>
                    <a:pt x="95" y="0"/>
                  </a:lnTo>
                  <a:lnTo>
                    <a:pt x="101" y="1"/>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192" name="Freeform 640">
              <a:extLst>
                <a:ext uri="{FF2B5EF4-FFF2-40B4-BE49-F238E27FC236}">
                  <a16:creationId xmlns:a16="http://schemas.microsoft.com/office/drawing/2014/main" id="{248D78A5-5F0C-4706-8DB2-D13AC545EF4B}"/>
                </a:ext>
              </a:extLst>
            </p:cNvPr>
            <p:cNvSpPr>
              <a:spLocks noChangeAspect="1"/>
            </p:cNvSpPr>
            <p:nvPr/>
          </p:nvSpPr>
          <p:spPr bwMode="auto">
            <a:xfrm>
              <a:off x="4697414" y="3933191"/>
              <a:ext cx="66675" cy="73025"/>
            </a:xfrm>
            <a:custGeom>
              <a:avLst/>
              <a:gdLst>
                <a:gd name="T0" fmla="*/ 0 w 392"/>
                <a:gd name="T1" fmla="*/ 273 h 321"/>
                <a:gd name="T2" fmla="*/ 0 w 392"/>
                <a:gd name="T3" fmla="*/ 166 h 321"/>
                <a:gd name="T4" fmla="*/ 0 w 392"/>
                <a:gd name="T5" fmla="*/ 156 h 321"/>
                <a:gd name="T6" fmla="*/ 5 w 392"/>
                <a:gd name="T7" fmla="*/ 145 h 321"/>
                <a:gd name="T8" fmla="*/ 14 w 392"/>
                <a:gd name="T9" fmla="*/ 137 h 321"/>
                <a:gd name="T10" fmla="*/ 232 w 392"/>
                <a:gd name="T11" fmla="*/ 6 h 321"/>
                <a:gd name="T12" fmla="*/ 243 w 392"/>
                <a:gd name="T13" fmla="*/ 1 h 321"/>
                <a:gd name="T14" fmla="*/ 257 w 392"/>
                <a:gd name="T15" fmla="*/ 0 h 321"/>
                <a:gd name="T16" fmla="*/ 270 w 392"/>
                <a:gd name="T17" fmla="*/ 3 h 321"/>
                <a:gd name="T18" fmla="*/ 280 w 392"/>
                <a:gd name="T19" fmla="*/ 9 h 321"/>
                <a:gd name="T20" fmla="*/ 392 w 392"/>
                <a:gd name="T21" fmla="*/ 113 h 321"/>
                <a:gd name="T22" fmla="*/ 44 w 392"/>
                <a:gd name="T23" fmla="*/ 321 h 321"/>
                <a:gd name="T24" fmla="*/ 8 w 392"/>
                <a:gd name="T25" fmla="*/ 288 h 321"/>
                <a:gd name="T26" fmla="*/ 6 w 392"/>
                <a:gd name="T27" fmla="*/ 282 h 321"/>
                <a:gd name="T28" fmla="*/ 0 w 392"/>
                <a:gd name="T29" fmla="*/ 27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2" h="321">
                  <a:moveTo>
                    <a:pt x="0" y="273"/>
                  </a:moveTo>
                  <a:lnTo>
                    <a:pt x="0" y="166"/>
                  </a:lnTo>
                  <a:lnTo>
                    <a:pt x="0" y="156"/>
                  </a:lnTo>
                  <a:lnTo>
                    <a:pt x="5" y="145"/>
                  </a:lnTo>
                  <a:lnTo>
                    <a:pt x="14" y="137"/>
                  </a:lnTo>
                  <a:lnTo>
                    <a:pt x="232" y="6"/>
                  </a:lnTo>
                  <a:lnTo>
                    <a:pt x="243" y="1"/>
                  </a:lnTo>
                  <a:lnTo>
                    <a:pt x="257" y="0"/>
                  </a:lnTo>
                  <a:lnTo>
                    <a:pt x="270" y="3"/>
                  </a:lnTo>
                  <a:lnTo>
                    <a:pt x="280" y="9"/>
                  </a:lnTo>
                  <a:lnTo>
                    <a:pt x="392" y="113"/>
                  </a:lnTo>
                  <a:lnTo>
                    <a:pt x="44" y="321"/>
                  </a:lnTo>
                  <a:lnTo>
                    <a:pt x="8" y="288"/>
                  </a:lnTo>
                  <a:lnTo>
                    <a:pt x="6" y="282"/>
                  </a:lnTo>
                  <a:lnTo>
                    <a:pt x="0" y="273"/>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193" name="Freeform 641">
              <a:extLst>
                <a:ext uri="{FF2B5EF4-FFF2-40B4-BE49-F238E27FC236}">
                  <a16:creationId xmlns:a16="http://schemas.microsoft.com/office/drawing/2014/main" id="{11874BF8-EB65-4B84-844A-779780F0ACB8}"/>
                </a:ext>
              </a:extLst>
            </p:cNvPr>
            <p:cNvSpPr>
              <a:spLocks noChangeAspect="1"/>
            </p:cNvSpPr>
            <p:nvPr/>
          </p:nvSpPr>
          <p:spPr bwMode="auto">
            <a:xfrm>
              <a:off x="4697414" y="3933191"/>
              <a:ext cx="66675" cy="73025"/>
            </a:xfrm>
            <a:custGeom>
              <a:avLst/>
              <a:gdLst>
                <a:gd name="T0" fmla="*/ 0 w 392"/>
                <a:gd name="T1" fmla="*/ 273 h 321"/>
                <a:gd name="T2" fmla="*/ 0 w 392"/>
                <a:gd name="T3" fmla="*/ 166 h 321"/>
                <a:gd name="T4" fmla="*/ 0 w 392"/>
                <a:gd name="T5" fmla="*/ 156 h 321"/>
                <a:gd name="T6" fmla="*/ 5 w 392"/>
                <a:gd name="T7" fmla="*/ 145 h 321"/>
                <a:gd name="T8" fmla="*/ 14 w 392"/>
                <a:gd name="T9" fmla="*/ 137 h 321"/>
                <a:gd name="T10" fmla="*/ 232 w 392"/>
                <a:gd name="T11" fmla="*/ 6 h 321"/>
                <a:gd name="T12" fmla="*/ 243 w 392"/>
                <a:gd name="T13" fmla="*/ 1 h 321"/>
                <a:gd name="T14" fmla="*/ 257 w 392"/>
                <a:gd name="T15" fmla="*/ 0 h 321"/>
                <a:gd name="T16" fmla="*/ 270 w 392"/>
                <a:gd name="T17" fmla="*/ 3 h 321"/>
                <a:gd name="T18" fmla="*/ 280 w 392"/>
                <a:gd name="T19" fmla="*/ 9 h 321"/>
                <a:gd name="T20" fmla="*/ 392 w 392"/>
                <a:gd name="T21" fmla="*/ 113 h 321"/>
                <a:gd name="T22" fmla="*/ 44 w 392"/>
                <a:gd name="T23" fmla="*/ 321 h 321"/>
                <a:gd name="T24" fmla="*/ 8 w 392"/>
                <a:gd name="T25" fmla="*/ 288 h 321"/>
                <a:gd name="T26" fmla="*/ 6 w 392"/>
                <a:gd name="T27" fmla="*/ 282 h 321"/>
                <a:gd name="T28" fmla="*/ 0 w 392"/>
                <a:gd name="T29" fmla="*/ 27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2" h="321">
                  <a:moveTo>
                    <a:pt x="0" y="273"/>
                  </a:moveTo>
                  <a:lnTo>
                    <a:pt x="0" y="166"/>
                  </a:lnTo>
                  <a:lnTo>
                    <a:pt x="0" y="156"/>
                  </a:lnTo>
                  <a:lnTo>
                    <a:pt x="5" y="145"/>
                  </a:lnTo>
                  <a:lnTo>
                    <a:pt x="14" y="137"/>
                  </a:lnTo>
                  <a:lnTo>
                    <a:pt x="232" y="6"/>
                  </a:lnTo>
                  <a:lnTo>
                    <a:pt x="243" y="1"/>
                  </a:lnTo>
                  <a:lnTo>
                    <a:pt x="257" y="0"/>
                  </a:lnTo>
                  <a:lnTo>
                    <a:pt x="270" y="3"/>
                  </a:lnTo>
                  <a:lnTo>
                    <a:pt x="280" y="9"/>
                  </a:lnTo>
                  <a:lnTo>
                    <a:pt x="392" y="113"/>
                  </a:lnTo>
                  <a:lnTo>
                    <a:pt x="44" y="321"/>
                  </a:lnTo>
                  <a:lnTo>
                    <a:pt x="8" y="288"/>
                  </a:lnTo>
                  <a:lnTo>
                    <a:pt x="6" y="282"/>
                  </a:lnTo>
                  <a:lnTo>
                    <a:pt x="0" y="273"/>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194" name="Freeform 642">
              <a:extLst>
                <a:ext uri="{FF2B5EF4-FFF2-40B4-BE49-F238E27FC236}">
                  <a16:creationId xmlns:a16="http://schemas.microsoft.com/office/drawing/2014/main" id="{AB69F11E-86AA-4DE7-A2FF-F9E59E3DF0C0}"/>
                </a:ext>
              </a:extLst>
            </p:cNvPr>
            <p:cNvSpPr>
              <a:spLocks noChangeAspect="1"/>
            </p:cNvSpPr>
            <p:nvPr/>
          </p:nvSpPr>
          <p:spPr bwMode="auto">
            <a:xfrm>
              <a:off x="4741863" y="3926841"/>
              <a:ext cx="190500" cy="30163"/>
            </a:xfrm>
            <a:custGeom>
              <a:avLst/>
              <a:gdLst>
                <a:gd name="T0" fmla="*/ 5 w 1116"/>
                <a:gd name="T1" fmla="*/ 16 h 142"/>
                <a:gd name="T2" fmla="*/ 23 w 1116"/>
                <a:gd name="T3" fmla="*/ 5 h 142"/>
                <a:gd name="T4" fmla="*/ 44 w 1116"/>
                <a:gd name="T5" fmla="*/ 0 h 142"/>
                <a:gd name="T6" fmla="*/ 955 w 1116"/>
                <a:gd name="T7" fmla="*/ 0 h 142"/>
                <a:gd name="T8" fmla="*/ 970 w 1116"/>
                <a:gd name="T9" fmla="*/ 2 h 142"/>
                <a:gd name="T10" fmla="*/ 982 w 1116"/>
                <a:gd name="T11" fmla="*/ 9 h 142"/>
                <a:gd name="T12" fmla="*/ 1113 w 1116"/>
                <a:gd name="T13" fmla="*/ 126 h 142"/>
                <a:gd name="T14" fmla="*/ 1116 w 1116"/>
                <a:gd name="T15" fmla="*/ 131 h 142"/>
                <a:gd name="T16" fmla="*/ 1114 w 1116"/>
                <a:gd name="T17" fmla="*/ 137 h 142"/>
                <a:gd name="T18" fmla="*/ 1110 w 1116"/>
                <a:gd name="T19" fmla="*/ 140 h 142"/>
                <a:gd name="T20" fmla="*/ 1102 w 1116"/>
                <a:gd name="T21" fmla="*/ 142 h 142"/>
                <a:gd name="T22" fmla="*/ 125 w 1116"/>
                <a:gd name="T23" fmla="*/ 142 h 142"/>
                <a:gd name="T24" fmla="*/ 4 w 1116"/>
                <a:gd name="T25" fmla="*/ 31 h 142"/>
                <a:gd name="T26" fmla="*/ 0 w 1116"/>
                <a:gd name="T27" fmla="*/ 23 h 142"/>
                <a:gd name="T28" fmla="*/ 5 w 1116"/>
                <a:gd name="T29"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16" h="142">
                  <a:moveTo>
                    <a:pt x="5" y="16"/>
                  </a:moveTo>
                  <a:lnTo>
                    <a:pt x="23" y="5"/>
                  </a:lnTo>
                  <a:lnTo>
                    <a:pt x="44" y="0"/>
                  </a:lnTo>
                  <a:lnTo>
                    <a:pt x="955" y="0"/>
                  </a:lnTo>
                  <a:lnTo>
                    <a:pt x="970" y="2"/>
                  </a:lnTo>
                  <a:lnTo>
                    <a:pt x="982" y="9"/>
                  </a:lnTo>
                  <a:lnTo>
                    <a:pt x="1113" y="126"/>
                  </a:lnTo>
                  <a:lnTo>
                    <a:pt x="1116" y="131"/>
                  </a:lnTo>
                  <a:lnTo>
                    <a:pt x="1114" y="137"/>
                  </a:lnTo>
                  <a:lnTo>
                    <a:pt x="1110" y="140"/>
                  </a:lnTo>
                  <a:lnTo>
                    <a:pt x="1102" y="142"/>
                  </a:lnTo>
                  <a:lnTo>
                    <a:pt x="125" y="142"/>
                  </a:lnTo>
                  <a:lnTo>
                    <a:pt x="4" y="31"/>
                  </a:lnTo>
                  <a:lnTo>
                    <a:pt x="0" y="23"/>
                  </a:lnTo>
                  <a:lnTo>
                    <a:pt x="5" y="16"/>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195" name="Freeform 643">
              <a:extLst>
                <a:ext uri="{FF2B5EF4-FFF2-40B4-BE49-F238E27FC236}">
                  <a16:creationId xmlns:a16="http://schemas.microsoft.com/office/drawing/2014/main" id="{FDE392DA-053E-4C2A-B7DD-86800A3B65BF}"/>
                </a:ext>
              </a:extLst>
            </p:cNvPr>
            <p:cNvSpPr>
              <a:spLocks noChangeAspect="1"/>
            </p:cNvSpPr>
            <p:nvPr/>
          </p:nvSpPr>
          <p:spPr bwMode="auto">
            <a:xfrm>
              <a:off x="4741863" y="3926841"/>
              <a:ext cx="190500" cy="30163"/>
            </a:xfrm>
            <a:custGeom>
              <a:avLst/>
              <a:gdLst>
                <a:gd name="T0" fmla="*/ 5 w 1116"/>
                <a:gd name="T1" fmla="*/ 16 h 142"/>
                <a:gd name="T2" fmla="*/ 23 w 1116"/>
                <a:gd name="T3" fmla="*/ 5 h 142"/>
                <a:gd name="T4" fmla="*/ 44 w 1116"/>
                <a:gd name="T5" fmla="*/ 0 h 142"/>
                <a:gd name="T6" fmla="*/ 955 w 1116"/>
                <a:gd name="T7" fmla="*/ 0 h 142"/>
                <a:gd name="T8" fmla="*/ 970 w 1116"/>
                <a:gd name="T9" fmla="*/ 2 h 142"/>
                <a:gd name="T10" fmla="*/ 982 w 1116"/>
                <a:gd name="T11" fmla="*/ 9 h 142"/>
                <a:gd name="T12" fmla="*/ 1113 w 1116"/>
                <a:gd name="T13" fmla="*/ 126 h 142"/>
                <a:gd name="T14" fmla="*/ 1116 w 1116"/>
                <a:gd name="T15" fmla="*/ 131 h 142"/>
                <a:gd name="T16" fmla="*/ 1114 w 1116"/>
                <a:gd name="T17" fmla="*/ 137 h 142"/>
                <a:gd name="T18" fmla="*/ 1110 w 1116"/>
                <a:gd name="T19" fmla="*/ 140 h 142"/>
                <a:gd name="T20" fmla="*/ 1102 w 1116"/>
                <a:gd name="T21" fmla="*/ 142 h 142"/>
                <a:gd name="T22" fmla="*/ 125 w 1116"/>
                <a:gd name="T23" fmla="*/ 142 h 142"/>
                <a:gd name="T24" fmla="*/ 4 w 1116"/>
                <a:gd name="T25" fmla="*/ 31 h 142"/>
                <a:gd name="T26" fmla="*/ 0 w 1116"/>
                <a:gd name="T27" fmla="*/ 23 h 142"/>
                <a:gd name="T28" fmla="*/ 5 w 1116"/>
                <a:gd name="T29"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16" h="142">
                  <a:moveTo>
                    <a:pt x="5" y="16"/>
                  </a:moveTo>
                  <a:lnTo>
                    <a:pt x="23" y="5"/>
                  </a:lnTo>
                  <a:lnTo>
                    <a:pt x="44" y="0"/>
                  </a:lnTo>
                  <a:lnTo>
                    <a:pt x="955" y="0"/>
                  </a:lnTo>
                  <a:lnTo>
                    <a:pt x="970" y="2"/>
                  </a:lnTo>
                  <a:lnTo>
                    <a:pt x="982" y="9"/>
                  </a:lnTo>
                  <a:lnTo>
                    <a:pt x="1113" y="126"/>
                  </a:lnTo>
                  <a:lnTo>
                    <a:pt x="1116" y="131"/>
                  </a:lnTo>
                  <a:lnTo>
                    <a:pt x="1114" y="137"/>
                  </a:lnTo>
                  <a:lnTo>
                    <a:pt x="1110" y="140"/>
                  </a:lnTo>
                  <a:lnTo>
                    <a:pt x="1102" y="142"/>
                  </a:lnTo>
                  <a:lnTo>
                    <a:pt x="125" y="142"/>
                  </a:lnTo>
                  <a:lnTo>
                    <a:pt x="4" y="31"/>
                  </a:lnTo>
                  <a:lnTo>
                    <a:pt x="0" y="23"/>
                  </a:lnTo>
                  <a:lnTo>
                    <a:pt x="5" y="16"/>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196" name="Freeform 644">
              <a:extLst>
                <a:ext uri="{FF2B5EF4-FFF2-40B4-BE49-F238E27FC236}">
                  <a16:creationId xmlns:a16="http://schemas.microsoft.com/office/drawing/2014/main" id="{EE294F54-3ECD-4DC0-ABDB-D5F8F1EB7258}"/>
                </a:ext>
              </a:extLst>
            </p:cNvPr>
            <p:cNvSpPr>
              <a:spLocks noChangeAspect="1"/>
            </p:cNvSpPr>
            <p:nvPr/>
          </p:nvSpPr>
          <p:spPr bwMode="auto">
            <a:xfrm>
              <a:off x="4908551" y="3958590"/>
              <a:ext cx="106363" cy="120650"/>
            </a:xfrm>
            <a:custGeom>
              <a:avLst/>
              <a:gdLst>
                <a:gd name="T0" fmla="*/ 169 w 635"/>
                <a:gd name="T1" fmla="*/ 10 h 535"/>
                <a:gd name="T2" fmla="*/ 626 w 635"/>
                <a:gd name="T3" fmla="*/ 417 h 535"/>
                <a:gd name="T4" fmla="*/ 632 w 635"/>
                <a:gd name="T5" fmla="*/ 424 h 535"/>
                <a:gd name="T6" fmla="*/ 632 w 635"/>
                <a:gd name="T7" fmla="*/ 426 h 535"/>
                <a:gd name="T8" fmla="*/ 635 w 635"/>
                <a:gd name="T9" fmla="*/ 433 h 535"/>
                <a:gd name="T10" fmla="*/ 635 w 635"/>
                <a:gd name="T11" fmla="*/ 472 h 535"/>
                <a:gd name="T12" fmla="*/ 631 w 635"/>
                <a:gd name="T13" fmla="*/ 482 h 535"/>
                <a:gd name="T14" fmla="*/ 622 w 635"/>
                <a:gd name="T15" fmla="*/ 490 h 535"/>
                <a:gd name="T16" fmla="*/ 551 w 635"/>
                <a:gd name="T17" fmla="*/ 535 h 535"/>
                <a:gd name="T18" fmla="*/ 0 w 635"/>
                <a:gd name="T19" fmla="*/ 47 h 535"/>
                <a:gd name="T20" fmla="*/ 66 w 635"/>
                <a:gd name="T21" fmla="*/ 7 h 535"/>
                <a:gd name="T22" fmla="*/ 76 w 635"/>
                <a:gd name="T23" fmla="*/ 1 h 535"/>
                <a:gd name="T24" fmla="*/ 88 w 635"/>
                <a:gd name="T25" fmla="*/ 0 h 535"/>
                <a:gd name="T26" fmla="*/ 142 w 635"/>
                <a:gd name="T27" fmla="*/ 0 h 535"/>
                <a:gd name="T28" fmla="*/ 156 w 635"/>
                <a:gd name="T29" fmla="*/ 2 h 535"/>
                <a:gd name="T30" fmla="*/ 169 w 635"/>
                <a:gd name="T31" fmla="*/ 1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5" h="535">
                  <a:moveTo>
                    <a:pt x="169" y="10"/>
                  </a:moveTo>
                  <a:lnTo>
                    <a:pt x="626" y="417"/>
                  </a:lnTo>
                  <a:lnTo>
                    <a:pt x="632" y="424"/>
                  </a:lnTo>
                  <a:lnTo>
                    <a:pt x="632" y="426"/>
                  </a:lnTo>
                  <a:lnTo>
                    <a:pt x="635" y="433"/>
                  </a:lnTo>
                  <a:lnTo>
                    <a:pt x="635" y="472"/>
                  </a:lnTo>
                  <a:lnTo>
                    <a:pt x="631" y="482"/>
                  </a:lnTo>
                  <a:lnTo>
                    <a:pt x="622" y="490"/>
                  </a:lnTo>
                  <a:lnTo>
                    <a:pt x="551" y="535"/>
                  </a:lnTo>
                  <a:lnTo>
                    <a:pt x="0" y="47"/>
                  </a:lnTo>
                  <a:lnTo>
                    <a:pt x="66" y="7"/>
                  </a:lnTo>
                  <a:lnTo>
                    <a:pt x="76" y="1"/>
                  </a:lnTo>
                  <a:lnTo>
                    <a:pt x="88" y="0"/>
                  </a:lnTo>
                  <a:lnTo>
                    <a:pt x="142" y="0"/>
                  </a:lnTo>
                  <a:lnTo>
                    <a:pt x="156" y="2"/>
                  </a:lnTo>
                  <a:lnTo>
                    <a:pt x="169" y="10"/>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197" name="Freeform 645">
              <a:extLst>
                <a:ext uri="{FF2B5EF4-FFF2-40B4-BE49-F238E27FC236}">
                  <a16:creationId xmlns:a16="http://schemas.microsoft.com/office/drawing/2014/main" id="{C80D0E76-E3DE-467C-97CA-D3F2DF2CF17F}"/>
                </a:ext>
              </a:extLst>
            </p:cNvPr>
            <p:cNvSpPr>
              <a:spLocks noChangeAspect="1"/>
            </p:cNvSpPr>
            <p:nvPr/>
          </p:nvSpPr>
          <p:spPr bwMode="auto">
            <a:xfrm>
              <a:off x="4908551" y="3958590"/>
              <a:ext cx="106363" cy="120650"/>
            </a:xfrm>
            <a:custGeom>
              <a:avLst/>
              <a:gdLst>
                <a:gd name="T0" fmla="*/ 169 w 635"/>
                <a:gd name="T1" fmla="*/ 10 h 535"/>
                <a:gd name="T2" fmla="*/ 626 w 635"/>
                <a:gd name="T3" fmla="*/ 417 h 535"/>
                <a:gd name="T4" fmla="*/ 632 w 635"/>
                <a:gd name="T5" fmla="*/ 424 h 535"/>
                <a:gd name="T6" fmla="*/ 632 w 635"/>
                <a:gd name="T7" fmla="*/ 426 h 535"/>
                <a:gd name="T8" fmla="*/ 635 w 635"/>
                <a:gd name="T9" fmla="*/ 433 h 535"/>
                <a:gd name="T10" fmla="*/ 635 w 635"/>
                <a:gd name="T11" fmla="*/ 472 h 535"/>
                <a:gd name="T12" fmla="*/ 631 w 635"/>
                <a:gd name="T13" fmla="*/ 482 h 535"/>
                <a:gd name="T14" fmla="*/ 622 w 635"/>
                <a:gd name="T15" fmla="*/ 490 h 535"/>
                <a:gd name="T16" fmla="*/ 551 w 635"/>
                <a:gd name="T17" fmla="*/ 535 h 535"/>
                <a:gd name="T18" fmla="*/ 0 w 635"/>
                <a:gd name="T19" fmla="*/ 47 h 535"/>
                <a:gd name="T20" fmla="*/ 66 w 635"/>
                <a:gd name="T21" fmla="*/ 7 h 535"/>
                <a:gd name="T22" fmla="*/ 76 w 635"/>
                <a:gd name="T23" fmla="*/ 1 h 535"/>
                <a:gd name="T24" fmla="*/ 88 w 635"/>
                <a:gd name="T25" fmla="*/ 0 h 535"/>
                <a:gd name="T26" fmla="*/ 142 w 635"/>
                <a:gd name="T27" fmla="*/ 0 h 535"/>
                <a:gd name="T28" fmla="*/ 156 w 635"/>
                <a:gd name="T29" fmla="*/ 2 h 535"/>
                <a:gd name="T30" fmla="*/ 169 w 635"/>
                <a:gd name="T31" fmla="*/ 1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5" h="535">
                  <a:moveTo>
                    <a:pt x="169" y="10"/>
                  </a:moveTo>
                  <a:lnTo>
                    <a:pt x="626" y="417"/>
                  </a:lnTo>
                  <a:lnTo>
                    <a:pt x="632" y="424"/>
                  </a:lnTo>
                  <a:lnTo>
                    <a:pt x="632" y="426"/>
                  </a:lnTo>
                  <a:lnTo>
                    <a:pt x="635" y="433"/>
                  </a:lnTo>
                  <a:lnTo>
                    <a:pt x="635" y="472"/>
                  </a:lnTo>
                  <a:lnTo>
                    <a:pt x="631" y="482"/>
                  </a:lnTo>
                  <a:lnTo>
                    <a:pt x="622" y="490"/>
                  </a:lnTo>
                  <a:lnTo>
                    <a:pt x="551" y="535"/>
                  </a:lnTo>
                  <a:lnTo>
                    <a:pt x="0" y="47"/>
                  </a:lnTo>
                  <a:lnTo>
                    <a:pt x="66" y="7"/>
                  </a:lnTo>
                  <a:lnTo>
                    <a:pt x="76" y="1"/>
                  </a:lnTo>
                  <a:lnTo>
                    <a:pt x="88" y="0"/>
                  </a:lnTo>
                  <a:lnTo>
                    <a:pt x="142" y="0"/>
                  </a:lnTo>
                  <a:lnTo>
                    <a:pt x="156" y="2"/>
                  </a:lnTo>
                  <a:lnTo>
                    <a:pt x="169" y="10"/>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198" name="Freeform 646">
              <a:extLst>
                <a:ext uri="{FF2B5EF4-FFF2-40B4-BE49-F238E27FC236}">
                  <a16:creationId xmlns:a16="http://schemas.microsoft.com/office/drawing/2014/main" id="{EE9BFD98-068D-4FEF-9FD6-C7DE94C4378E}"/>
                </a:ext>
              </a:extLst>
            </p:cNvPr>
            <p:cNvSpPr>
              <a:spLocks noChangeAspect="1"/>
            </p:cNvSpPr>
            <p:nvPr/>
          </p:nvSpPr>
          <p:spPr bwMode="auto">
            <a:xfrm>
              <a:off x="5013326" y="4118928"/>
              <a:ext cx="60325" cy="19050"/>
            </a:xfrm>
            <a:custGeom>
              <a:avLst/>
              <a:gdLst>
                <a:gd name="T0" fmla="*/ 4 w 355"/>
                <a:gd name="T1" fmla="*/ 14 h 83"/>
                <a:gd name="T2" fmla="*/ 10 w 355"/>
                <a:gd name="T3" fmla="*/ 7 h 83"/>
                <a:gd name="T4" fmla="*/ 17 w 355"/>
                <a:gd name="T5" fmla="*/ 3 h 83"/>
                <a:gd name="T6" fmla="*/ 26 w 355"/>
                <a:gd name="T7" fmla="*/ 1 h 83"/>
                <a:gd name="T8" fmla="*/ 34 w 355"/>
                <a:gd name="T9" fmla="*/ 0 h 83"/>
                <a:gd name="T10" fmla="*/ 262 w 355"/>
                <a:gd name="T11" fmla="*/ 0 h 83"/>
                <a:gd name="T12" fmla="*/ 268 w 355"/>
                <a:gd name="T13" fmla="*/ 1 h 83"/>
                <a:gd name="T14" fmla="*/ 271 w 355"/>
                <a:gd name="T15" fmla="*/ 3 h 83"/>
                <a:gd name="T16" fmla="*/ 275 w 355"/>
                <a:gd name="T17" fmla="*/ 6 h 83"/>
                <a:gd name="T18" fmla="*/ 276 w 355"/>
                <a:gd name="T19" fmla="*/ 11 h 83"/>
                <a:gd name="T20" fmla="*/ 276 w 355"/>
                <a:gd name="T21" fmla="*/ 46 h 83"/>
                <a:gd name="T22" fmla="*/ 277 w 355"/>
                <a:gd name="T23" fmla="*/ 50 h 83"/>
                <a:gd name="T24" fmla="*/ 280 w 355"/>
                <a:gd name="T25" fmla="*/ 54 h 83"/>
                <a:gd name="T26" fmla="*/ 285 w 355"/>
                <a:gd name="T27" fmla="*/ 56 h 83"/>
                <a:gd name="T28" fmla="*/ 289 w 355"/>
                <a:gd name="T29" fmla="*/ 56 h 83"/>
                <a:gd name="T30" fmla="*/ 341 w 355"/>
                <a:gd name="T31" fmla="*/ 56 h 83"/>
                <a:gd name="T32" fmla="*/ 347 w 355"/>
                <a:gd name="T33" fmla="*/ 57 h 83"/>
                <a:gd name="T34" fmla="*/ 351 w 355"/>
                <a:gd name="T35" fmla="*/ 59 h 83"/>
                <a:gd name="T36" fmla="*/ 355 w 355"/>
                <a:gd name="T37" fmla="*/ 63 h 83"/>
                <a:gd name="T38" fmla="*/ 355 w 355"/>
                <a:gd name="T39" fmla="*/ 66 h 83"/>
                <a:gd name="T40" fmla="*/ 355 w 355"/>
                <a:gd name="T41" fmla="*/ 83 h 83"/>
                <a:gd name="T42" fmla="*/ 54 w 355"/>
                <a:gd name="T43" fmla="*/ 83 h 83"/>
                <a:gd name="T44" fmla="*/ 54 w 355"/>
                <a:gd name="T45" fmla="*/ 58 h 83"/>
                <a:gd name="T46" fmla="*/ 0 w 355"/>
                <a:gd name="T47" fmla="*/ 58 h 83"/>
                <a:gd name="T48" fmla="*/ 0 w 355"/>
                <a:gd name="T49" fmla="*/ 27 h 83"/>
                <a:gd name="T50" fmla="*/ 0 w 355"/>
                <a:gd name="T51" fmla="*/ 26 h 83"/>
                <a:gd name="T52" fmla="*/ 1 w 355"/>
                <a:gd name="T53" fmla="*/ 20 h 83"/>
                <a:gd name="T54" fmla="*/ 4 w 355"/>
                <a:gd name="T55" fmla="*/ 1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5" h="83">
                  <a:moveTo>
                    <a:pt x="4" y="14"/>
                  </a:moveTo>
                  <a:lnTo>
                    <a:pt x="10" y="7"/>
                  </a:lnTo>
                  <a:lnTo>
                    <a:pt x="17" y="3"/>
                  </a:lnTo>
                  <a:lnTo>
                    <a:pt x="26" y="1"/>
                  </a:lnTo>
                  <a:lnTo>
                    <a:pt x="34" y="0"/>
                  </a:lnTo>
                  <a:lnTo>
                    <a:pt x="262" y="0"/>
                  </a:lnTo>
                  <a:lnTo>
                    <a:pt x="268" y="1"/>
                  </a:lnTo>
                  <a:lnTo>
                    <a:pt x="271" y="3"/>
                  </a:lnTo>
                  <a:lnTo>
                    <a:pt x="275" y="6"/>
                  </a:lnTo>
                  <a:lnTo>
                    <a:pt x="276" y="11"/>
                  </a:lnTo>
                  <a:lnTo>
                    <a:pt x="276" y="46"/>
                  </a:lnTo>
                  <a:lnTo>
                    <a:pt x="277" y="50"/>
                  </a:lnTo>
                  <a:lnTo>
                    <a:pt x="280" y="54"/>
                  </a:lnTo>
                  <a:lnTo>
                    <a:pt x="285" y="56"/>
                  </a:lnTo>
                  <a:lnTo>
                    <a:pt x="289" y="56"/>
                  </a:lnTo>
                  <a:lnTo>
                    <a:pt x="341" y="56"/>
                  </a:lnTo>
                  <a:lnTo>
                    <a:pt x="347" y="57"/>
                  </a:lnTo>
                  <a:lnTo>
                    <a:pt x="351" y="59"/>
                  </a:lnTo>
                  <a:lnTo>
                    <a:pt x="355" y="63"/>
                  </a:lnTo>
                  <a:lnTo>
                    <a:pt x="355" y="66"/>
                  </a:lnTo>
                  <a:lnTo>
                    <a:pt x="355" y="83"/>
                  </a:lnTo>
                  <a:lnTo>
                    <a:pt x="54" y="83"/>
                  </a:lnTo>
                  <a:lnTo>
                    <a:pt x="54" y="58"/>
                  </a:lnTo>
                  <a:lnTo>
                    <a:pt x="0" y="58"/>
                  </a:lnTo>
                  <a:lnTo>
                    <a:pt x="0" y="27"/>
                  </a:lnTo>
                  <a:lnTo>
                    <a:pt x="0" y="26"/>
                  </a:lnTo>
                  <a:lnTo>
                    <a:pt x="1" y="20"/>
                  </a:lnTo>
                  <a:lnTo>
                    <a:pt x="4" y="14"/>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199" name="Freeform 647">
              <a:extLst>
                <a:ext uri="{FF2B5EF4-FFF2-40B4-BE49-F238E27FC236}">
                  <a16:creationId xmlns:a16="http://schemas.microsoft.com/office/drawing/2014/main" id="{4CA10AB8-8411-4150-AFDF-B463071FDB91}"/>
                </a:ext>
              </a:extLst>
            </p:cNvPr>
            <p:cNvSpPr>
              <a:spLocks noChangeAspect="1"/>
            </p:cNvSpPr>
            <p:nvPr/>
          </p:nvSpPr>
          <p:spPr bwMode="auto">
            <a:xfrm>
              <a:off x="5013326" y="4118928"/>
              <a:ext cx="60325" cy="19050"/>
            </a:xfrm>
            <a:custGeom>
              <a:avLst/>
              <a:gdLst>
                <a:gd name="T0" fmla="*/ 4 w 355"/>
                <a:gd name="T1" fmla="*/ 14 h 83"/>
                <a:gd name="T2" fmla="*/ 10 w 355"/>
                <a:gd name="T3" fmla="*/ 7 h 83"/>
                <a:gd name="T4" fmla="*/ 17 w 355"/>
                <a:gd name="T5" fmla="*/ 3 h 83"/>
                <a:gd name="T6" fmla="*/ 26 w 355"/>
                <a:gd name="T7" fmla="*/ 1 h 83"/>
                <a:gd name="T8" fmla="*/ 34 w 355"/>
                <a:gd name="T9" fmla="*/ 0 h 83"/>
                <a:gd name="T10" fmla="*/ 262 w 355"/>
                <a:gd name="T11" fmla="*/ 0 h 83"/>
                <a:gd name="T12" fmla="*/ 268 w 355"/>
                <a:gd name="T13" fmla="*/ 1 h 83"/>
                <a:gd name="T14" fmla="*/ 271 w 355"/>
                <a:gd name="T15" fmla="*/ 3 h 83"/>
                <a:gd name="T16" fmla="*/ 275 w 355"/>
                <a:gd name="T17" fmla="*/ 6 h 83"/>
                <a:gd name="T18" fmla="*/ 276 w 355"/>
                <a:gd name="T19" fmla="*/ 11 h 83"/>
                <a:gd name="T20" fmla="*/ 276 w 355"/>
                <a:gd name="T21" fmla="*/ 46 h 83"/>
                <a:gd name="T22" fmla="*/ 277 w 355"/>
                <a:gd name="T23" fmla="*/ 50 h 83"/>
                <a:gd name="T24" fmla="*/ 280 w 355"/>
                <a:gd name="T25" fmla="*/ 54 h 83"/>
                <a:gd name="T26" fmla="*/ 285 w 355"/>
                <a:gd name="T27" fmla="*/ 56 h 83"/>
                <a:gd name="T28" fmla="*/ 289 w 355"/>
                <a:gd name="T29" fmla="*/ 56 h 83"/>
                <a:gd name="T30" fmla="*/ 341 w 355"/>
                <a:gd name="T31" fmla="*/ 56 h 83"/>
                <a:gd name="T32" fmla="*/ 347 w 355"/>
                <a:gd name="T33" fmla="*/ 57 h 83"/>
                <a:gd name="T34" fmla="*/ 351 w 355"/>
                <a:gd name="T35" fmla="*/ 59 h 83"/>
                <a:gd name="T36" fmla="*/ 355 w 355"/>
                <a:gd name="T37" fmla="*/ 63 h 83"/>
                <a:gd name="T38" fmla="*/ 355 w 355"/>
                <a:gd name="T39" fmla="*/ 66 h 83"/>
                <a:gd name="T40" fmla="*/ 355 w 355"/>
                <a:gd name="T41" fmla="*/ 83 h 83"/>
                <a:gd name="T42" fmla="*/ 54 w 355"/>
                <a:gd name="T43" fmla="*/ 83 h 83"/>
                <a:gd name="T44" fmla="*/ 54 w 355"/>
                <a:gd name="T45" fmla="*/ 58 h 83"/>
                <a:gd name="T46" fmla="*/ 0 w 355"/>
                <a:gd name="T47" fmla="*/ 58 h 83"/>
                <a:gd name="T48" fmla="*/ 0 w 355"/>
                <a:gd name="T49" fmla="*/ 27 h 83"/>
                <a:gd name="T50" fmla="*/ 0 w 355"/>
                <a:gd name="T51" fmla="*/ 26 h 83"/>
                <a:gd name="T52" fmla="*/ 1 w 355"/>
                <a:gd name="T53" fmla="*/ 20 h 83"/>
                <a:gd name="T54" fmla="*/ 4 w 355"/>
                <a:gd name="T55" fmla="*/ 1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5" h="83">
                  <a:moveTo>
                    <a:pt x="4" y="14"/>
                  </a:moveTo>
                  <a:lnTo>
                    <a:pt x="10" y="7"/>
                  </a:lnTo>
                  <a:lnTo>
                    <a:pt x="17" y="3"/>
                  </a:lnTo>
                  <a:lnTo>
                    <a:pt x="26" y="1"/>
                  </a:lnTo>
                  <a:lnTo>
                    <a:pt x="34" y="0"/>
                  </a:lnTo>
                  <a:lnTo>
                    <a:pt x="262" y="0"/>
                  </a:lnTo>
                  <a:lnTo>
                    <a:pt x="268" y="1"/>
                  </a:lnTo>
                  <a:lnTo>
                    <a:pt x="271" y="3"/>
                  </a:lnTo>
                  <a:lnTo>
                    <a:pt x="275" y="6"/>
                  </a:lnTo>
                  <a:lnTo>
                    <a:pt x="276" y="11"/>
                  </a:lnTo>
                  <a:lnTo>
                    <a:pt x="276" y="46"/>
                  </a:lnTo>
                  <a:lnTo>
                    <a:pt x="277" y="50"/>
                  </a:lnTo>
                  <a:lnTo>
                    <a:pt x="280" y="54"/>
                  </a:lnTo>
                  <a:lnTo>
                    <a:pt x="285" y="56"/>
                  </a:lnTo>
                  <a:lnTo>
                    <a:pt x="289" y="56"/>
                  </a:lnTo>
                  <a:lnTo>
                    <a:pt x="341" y="56"/>
                  </a:lnTo>
                  <a:lnTo>
                    <a:pt x="347" y="57"/>
                  </a:lnTo>
                  <a:lnTo>
                    <a:pt x="351" y="59"/>
                  </a:lnTo>
                  <a:lnTo>
                    <a:pt x="355" y="63"/>
                  </a:lnTo>
                  <a:lnTo>
                    <a:pt x="355" y="66"/>
                  </a:lnTo>
                  <a:lnTo>
                    <a:pt x="355" y="83"/>
                  </a:lnTo>
                  <a:lnTo>
                    <a:pt x="54" y="83"/>
                  </a:lnTo>
                  <a:lnTo>
                    <a:pt x="54" y="58"/>
                  </a:lnTo>
                  <a:lnTo>
                    <a:pt x="0" y="58"/>
                  </a:lnTo>
                  <a:lnTo>
                    <a:pt x="0" y="27"/>
                  </a:lnTo>
                  <a:lnTo>
                    <a:pt x="0" y="26"/>
                  </a:lnTo>
                  <a:lnTo>
                    <a:pt x="1" y="20"/>
                  </a:lnTo>
                  <a:lnTo>
                    <a:pt x="4" y="14"/>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00" name="Freeform 648">
              <a:extLst>
                <a:ext uri="{FF2B5EF4-FFF2-40B4-BE49-F238E27FC236}">
                  <a16:creationId xmlns:a16="http://schemas.microsoft.com/office/drawing/2014/main" id="{8A05CE44-CB48-427F-A550-DDECC3A0CAB0}"/>
                </a:ext>
              </a:extLst>
            </p:cNvPr>
            <p:cNvSpPr>
              <a:spLocks noChangeAspect="1"/>
            </p:cNvSpPr>
            <p:nvPr/>
          </p:nvSpPr>
          <p:spPr bwMode="auto">
            <a:xfrm>
              <a:off x="5065714" y="3858578"/>
              <a:ext cx="77787" cy="271462"/>
            </a:xfrm>
            <a:custGeom>
              <a:avLst/>
              <a:gdLst>
                <a:gd name="T0" fmla="*/ 0 w 463"/>
                <a:gd name="T1" fmla="*/ 1189 h 1204"/>
                <a:gd name="T2" fmla="*/ 6 w 463"/>
                <a:gd name="T3" fmla="*/ 1157 h 1204"/>
                <a:gd name="T4" fmla="*/ 249 w 463"/>
                <a:gd name="T5" fmla="*/ 14 h 1204"/>
                <a:gd name="T6" fmla="*/ 251 w 463"/>
                <a:gd name="T7" fmla="*/ 10 h 1204"/>
                <a:gd name="T8" fmla="*/ 253 w 463"/>
                <a:gd name="T9" fmla="*/ 7 h 1204"/>
                <a:gd name="T10" fmla="*/ 256 w 463"/>
                <a:gd name="T11" fmla="*/ 5 h 1204"/>
                <a:gd name="T12" fmla="*/ 260 w 463"/>
                <a:gd name="T13" fmla="*/ 2 h 1204"/>
                <a:gd name="T14" fmla="*/ 265 w 463"/>
                <a:gd name="T15" fmla="*/ 0 h 1204"/>
                <a:gd name="T16" fmla="*/ 270 w 463"/>
                <a:gd name="T17" fmla="*/ 0 h 1204"/>
                <a:gd name="T18" fmla="*/ 463 w 463"/>
                <a:gd name="T19" fmla="*/ 0 h 1204"/>
                <a:gd name="T20" fmla="*/ 209 w 463"/>
                <a:gd name="T21" fmla="*/ 1204 h 1204"/>
                <a:gd name="T22" fmla="*/ 18 w 463"/>
                <a:gd name="T23" fmla="*/ 1204 h 1204"/>
                <a:gd name="T24" fmla="*/ 15 w 463"/>
                <a:gd name="T25" fmla="*/ 1203 h 1204"/>
                <a:gd name="T26" fmla="*/ 11 w 463"/>
                <a:gd name="T27" fmla="*/ 1202 h 1204"/>
                <a:gd name="T28" fmla="*/ 8 w 463"/>
                <a:gd name="T29" fmla="*/ 1201 h 1204"/>
                <a:gd name="T30" fmla="*/ 4 w 463"/>
                <a:gd name="T31" fmla="*/ 1198 h 1204"/>
                <a:gd name="T32" fmla="*/ 2 w 463"/>
                <a:gd name="T33" fmla="*/ 1196 h 1204"/>
                <a:gd name="T34" fmla="*/ 1 w 463"/>
                <a:gd name="T35" fmla="*/ 1193 h 1204"/>
                <a:gd name="T36" fmla="*/ 0 w 463"/>
                <a:gd name="T37" fmla="*/ 1189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3" h="1204">
                  <a:moveTo>
                    <a:pt x="0" y="1189"/>
                  </a:moveTo>
                  <a:lnTo>
                    <a:pt x="6" y="1157"/>
                  </a:lnTo>
                  <a:lnTo>
                    <a:pt x="249" y="14"/>
                  </a:lnTo>
                  <a:lnTo>
                    <a:pt x="251" y="10"/>
                  </a:lnTo>
                  <a:lnTo>
                    <a:pt x="253" y="7"/>
                  </a:lnTo>
                  <a:lnTo>
                    <a:pt x="256" y="5"/>
                  </a:lnTo>
                  <a:lnTo>
                    <a:pt x="260" y="2"/>
                  </a:lnTo>
                  <a:lnTo>
                    <a:pt x="265" y="0"/>
                  </a:lnTo>
                  <a:lnTo>
                    <a:pt x="270" y="0"/>
                  </a:lnTo>
                  <a:lnTo>
                    <a:pt x="463" y="0"/>
                  </a:lnTo>
                  <a:lnTo>
                    <a:pt x="209" y="1204"/>
                  </a:lnTo>
                  <a:lnTo>
                    <a:pt x="18" y="1204"/>
                  </a:lnTo>
                  <a:lnTo>
                    <a:pt x="15" y="1203"/>
                  </a:lnTo>
                  <a:lnTo>
                    <a:pt x="11" y="1202"/>
                  </a:lnTo>
                  <a:lnTo>
                    <a:pt x="8" y="1201"/>
                  </a:lnTo>
                  <a:lnTo>
                    <a:pt x="4" y="1198"/>
                  </a:lnTo>
                  <a:lnTo>
                    <a:pt x="2" y="1196"/>
                  </a:lnTo>
                  <a:lnTo>
                    <a:pt x="1" y="1193"/>
                  </a:lnTo>
                  <a:lnTo>
                    <a:pt x="0" y="1189"/>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201" name="Freeform 649">
              <a:extLst>
                <a:ext uri="{FF2B5EF4-FFF2-40B4-BE49-F238E27FC236}">
                  <a16:creationId xmlns:a16="http://schemas.microsoft.com/office/drawing/2014/main" id="{6A677F31-8F16-4838-93AB-4A87C2DBCDC2}"/>
                </a:ext>
              </a:extLst>
            </p:cNvPr>
            <p:cNvSpPr>
              <a:spLocks noChangeAspect="1"/>
            </p:cNvSpPr>
            <p:nvPr/>
          </p:nvSpPr>
          <p:spPr bwMode="auto">
            <a:xfrm>
              <a:off x="5065714" y="3858578"/>
              <a:ext cx="77787" cy="271462"/>
            </a:xfrm>
            <a:custGeom>
              <a:avLst/>
              <a:gdLst>
                <a:gd name="T0" fmla="*/ 0 w 463"/>
                <a:gd name="T1" fmla="*/ 1189 h 1204"/>
                <a:gd name="T2" fmla="*/ 6 w 463"/>
                <a:gd name="T3" fmla="*/ 1157 h 1204"/>
                <a:gd name="T4" fmla="*/ 249 w 463"/>
                <a:gd name="T5" fmla="*/ 14 h 1204"/>
                <a:gd name="T6" fmla="*/ 251 w 463"/>
                <a:gd name="T7" fmla="*/ 10 h 1204"/>
                <a:gd name="T8" fmla="*/ 253 w 463"/>
                <a:gd name="T9" fmla="*/ 7 h 1204"/>
                <a:gd name="T10" fmla="*/ 256 w 463"/>
                <a:gd name="T11" fmla="*/ 5 h 1204"/>
                <a:gd name="T12" fmla="*/ 260 w 463"/>
                <a:gd name="T13" fmla="*/ 2 h 1204"/>
                <a:gd name="T14" fmla="*/ 265 w 463"/>
                <a:gd name="T15" fmla="*/ 0 h 1204"/>
                <a:gd name="T16" fmla="*/ 270 w 463"/>
                <a:gd name="T17" fmla="*/ 0 h 1204"/>
                <a:gd name="T18" fmla="*/ 463 w 463"/>
                <a:gd name="T19" fmla="*/ 0 h 1204"/>
                <a:gd name="T20" fmla="*/ 209 w 463"/>
                <a:gd name="T21" fmla="*/ 1204 h 1204"/>
                <a:gd name="T22" fmla="*/ 18 w 463"/>
                <a:gd name="T23" fmla="*/ 1204 h 1204"/>
                <a:gd name="T24" fmla="*/ 15 w 463"/>
                <a:gd name="T25" fmla="*/ 1203 h 1204"/>
                <a:gd name="T26" fmla="*/ 11 w 463"/>
                <a:gd name="T27" fmla="*/ 1202 h 1204"/>
                <a:gd name="T28" fmla="*/ 8 w 463"/>
                <a:gd name="T29" fmla="*/ 1201 h 1204"/>
                <a:gd name="T30" fmla="*/ 4 w 463"/>
                <a:gd name="T31" fmla="*/ 1198 h 1204"/>
                <a:gd name="T32" fmla="*/ 2 w 463"/>
                <a:gd name="T33" fmla="*/ 1196 h 1204"/>
                <a:gd name="T34" fmla="*/ 1 w 463"/>
                <a:gd name="T35" fmla="*/ 1193 h 1204"/>
                <a:gd name="T36" fmla="*/ 0 w 463"/>
                <a:gd name="T37" fmla="*/ 1189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3" h="1204">
                  <a:moveTo>
                    <a:pt x="0" y="1189"/>
                  </a:moveTo>
                  <a:lnTo>
                    <a:pt x="6" y="1157"/>
                  </a:lnTo>
                  <a:lnTo>
                    <a:pt x="249" y="14"/>
                  </a:lnTo>
                  <a:lnTo>
                    <a:pt x="251" y="10"/>
                  </a:lnTo>
                  <a:lnTo>
                    <a:pt x="253" y="7"/>
                  </a:lnTo>
                  <a:lnTo>
                    <a:pt x="256" y="5"/>
                  </a:lnTo>
                  <a:lnTo>
                    <a:pt x="260" y="2"/>
                  </a:lnTo>
                  <a:lnTo>
                    <a:pt x="265" y="0"/>
                  </a:lnTo>
                  <a:lnTo>
                    <a:pt x="270" y="0"/>
                  </a:lnTo>
                  <a:lnTo>
                    <a:pt x="463" y="0"/>
                  </a:lnTo>
                  <a:lnTo>
                    <a:pt x="209" y="1204"/>
                  </a:lnTo>
                  <a:lnTo>
                    <a:pt x="18" y="1204"/>
                  </a:lnTo>
                  <a:lnTo>
                    <a:pt x="15" y="1203"/>
                  </a:lnTo>
                  <a:lnTo>
                    <a:pt x="11" y="1202"/>
                  </a:lnTo>
                  <a:lnTo>
                    <a:pt x="8" y="1201"/>
                  </a:lnTo>
                  <a:lnTo>
                    <a:pt x="4" y="1198"/>
                  </a:lnTo>
                  <a:lnTo>
                    <a:pt x="2" y="1196"/>
                  </a:lnTo>
                  <a:lnTo>
                    <a:pt x="1" y="1193"/>
                  </a:lnTo>
                  <a:lnTo>
                    <a:pt x="0" y="118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02" name="Freeform 650">
              <a:extLst>
                <a:ext uri="{FF2B5EF4-FFF2-40B4-BE49-F238E27FC236}">
                  <a16:creationId xmlns:a16="http://schemas.microsoft.com/office/drawing/2014/main" id="{86E621BA-0061-4648-BD0F-0C89B1022C06}"/>
                </a:ext>
              </a:extLst>
            </p:cNvPr>
            <p:cNvSpPr>
              <a:spLocks noChangeAspect="1"/>
            </p:cNvSpPr>
            <p:nvPr/>
          </p:nvSpPr>
          <p:spPr bwMode="auto">
            <a:xfrm>
              <a:off x="5108575" y="3699828"/>
              <a:ext cx="107950" cy="157162"/>
            </a:xfrm>
            <a:custGeom>
              <a:avLst/>
              <a:gdLst>
                <a:gd name="T0" fmla="*/ 13 w 640"/>
                <a:gd name="T1" fmla="*/ 706 h 706"/>
                <a:gd name="T2" fmla="*/ 3 w 640"/>
                <a:gd name="T3" fmla="*/ 702 h 706"/>
                <a:gd name="T4" fmla="*/ 0 w 640"/>
                <a:gd name="T5" fmla="*/ 693 h 706"/>
                <a:gd name="T6" fmla="*/ 43 w 640"/>
                <a:gd name="T7" fmla="*/ 588 h 706"/>
                <a:gd name="T8" fmla="*/ 97 w 640"/>
                <a:gd name="T9" fmla="*/ 484 h 706"/>
                <a:gd name="T10" fmla="*/ 108 w 640"/>
                <a:gd name="T11" fmla="*/ 467 h 706"/>
                <a:gd name="T12" fmla="*/ 159 w 640"/>
                <a:gd name="T13" fmla="*/ 384 h 706"/>
                <a:gd name="T14" fmla="*/ 183 w 640"/>
                <a:gd name="T15" fmla="*/ 354 h 706"/>
                <a:gd name="T16" fmla="*/ 232 w 640"/>
                <a:gd name="T17" fmla="*/ 288 h 706"/>
                <a:gd name="T18" fmla="*/ 262 w 640"/>
                <a:gd name="T19" fmla="*/ 253 h 706"/>
                <a:gd name="T20" fmla="*/ 405 w 640"/>
                <a:gd name="T21" fmla="*/ 78 h 706"/>
                <a:gd name="T22" fmla="*/ 465 w 640"/>
                <a:gd name="T23" fmla="*/ 5 h 706"/>
                <a:gd name="T24" fmla="*/ 474 w 640"/>
                <a:gd name="T25" fmla="*/ 0 h 706"/>
                <a:gd name="T26" fmla="*/ 486 w 640"/>
                <a:gd name="T27" fmla="*/ 2 h 706"/>
                <a:gd name="T28" fmla="*/ 640 w 640"/>
                <a:gd name="T29" fmla="*/ 83 h 706"/>
                <a:gd name="T30" fmla="*/ 607 w 640"/>
                <a:gd name="T31" fmla="*/ 138 h 706"/>
                <a:gd name="T32" fmla="*/ 497 w 640"/>
                <a:gd name="T33" fmla="*/ 323 h 706"/>
                <a:gd name="T34" fmla="*/ 432 w 640"/>
                <a:gd name="T35" fmla="*/ 434 h 706"/>
                <a:gd name="T36" fmla="*/ 411 w 640"/>
                <a:gd name="T37" fmla="*/ 467 h 706"/>
                <a:gd name="T38" fmla="*/ 388 w 640"/>
                <a:gd name="T39" fmla="*/ 507 h 706"/>
                <a:gd name="T40" fmla="*/ 316 w 640"/>
                <a:gd name="T41" fmla="*/ 628 h 706"/>
                <a:gd name="T42" fmla="*/ 268 w 640"/>
                <a:gd name="T43" fmla="*/ 706 h 706"/>
                <a:gd name="T44" fmla="*/ 227 w 640"/>
                <a:gd name="T45" fmla="*/ 706 h 706"/>
                <a:gd name="T46" fmla="*/ 13 w 640"/>
                <a:gd name="T47" fmla="*/ 706 h 706"/>
                <a:gd name="T48" fmla="*/ 3 w 640"/>
                <a:gd name="T49" fmla="*/ 702 h 706"/>
                <a:gd name="T50" fmla="*/ 13 w 640"/>
                <a:gd name="T51"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0" h="706">
                  <a:moveTo>
                    <a:pt x="13" y="706"/>
                  </a:moveTo>
                  <a:lnTo>
                    <a:pt x="3" y="702"/>
                  </a:lnTo>
                  <a:lnTo>
                    <a:pt x="0" y="693"/>
                  </a:lnTo>
                  <a:lnTo>
                    <a:pt x="43" y="588"/>
                  </a:lnTo>
                  <a:lnTo>
                    <a:pt x="97" y="484"/>
                  </a:lnTo>
                  <a:lnTo>
                    <a:pt x="108" y="467"/>
                  </a:lnTo>
                  <a:lnTo>
                    <a:pt x="159" y="384"/>
                  </a:lnTo>
                  <a:lnTo>
                    <a:pt x="183" y="354"/>
                  </a:lnTo>
                  <a:lnTo>
                    <a:pt x="232" y="288"/>
                  </a:lnTo>
                  <a:lnTo>
                    <a:pt x="262" y="253"/>
                  </a:lnTo>
                  <a:lnTo>
                    <a:pt x="405" y="78"/>
                  </a:lnTo>
                  <a:lnTo>
                    <a:pt x="465" y="5"/>
                  </a:lnTo>
                  <a:lnTo>
                    <a:pt x="474" y="0"/>
                  </a:lnTo>
                  <a:lnTo>
                    <a:pt x="486" y="2"/>
                  </a:lnTo>
                  <a:lnTo>
                    <a:pt x="640" y="83"/>
                  </a:lnTo>
                  <a:lnTo>
                    <a:pt x="607" y="138"/>
                  </a:lnTo>
                  <a:lnTo>
                    <a:pt x="497" y="323"/>
                  </a:lnTo>
                  <a:lnTo>
                    <a:pt x="432" y="434"/>
                  </a:lnTo>
                  <a:lnTo>
                    <a:pt x="411" y="467"/>
                  </a:lnTo>
                  <a:lnTo>
                    <a:pt x="388" y="507"/>
                  </a:lnTo>
                  <a:lnTo>
                    <a:pt x="316" y="628"/>
                  </a:lnTo>
                  <a:lnTo>
                    <a:pt x="268" y="706"/>
                  </a:lnTo>
                  <a:lnTo>
                    <a:pt x="227" y="706"/>
                  </a:lnTo>
                  <a:lnTo>
                    <a:pt x="13" y="706"/>
                  </a:lnTo>
                  <a:lnTo>
                    <a:pt x="3" y="702"/>
                  </a:lnTo>
                  <a:lnTo>
                    <a:pt x="13" y="706"/>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203" name="Freeform 651">
              <a:extLst>
                <a:ext uri="{FF2B5EF4-FFF2-40B4-BE49-F238E27FC236}">
                  <a16:creationId xmlns:a16="http://schemas.microsoft.com/office/drawing/2014/main" id="{71D5981A-D9F1-4933-B7CD-9063C9C0712F}"/>
                </a:ext>
              </a:extLst>
            </p:cNvPr>
            <p:cNvSpPr>
              <a:spLocks noChangeAspect="1"/>
            </p:cNvSpPr>
            <p:nvPr/>
          </p:nvSpPr>
          <p:spPr bwMode="auto">
            <a:xfrm>
              <a:off x="5108575" y="3699828"/>
              <a:ext cx="107950" cy="157162"/>
            </a:xfrm>
            <a:custGeom>
              <a:avLst/>
              <a:gdLst>
                <a:gd name="T0" fmla="*/ 13 w 640"/>
                <a:gd name="T1" fmla="*/ 706 h 706"/>
                <a:gd name="T2" fmla="*/ 3 w 640"/>
                <a:gd name="T3" fmla="*/ 702 h 706"/>
                <a:gd name="T4" fmla="*/ 0 w 640"/>
                <a:gd name="T5" fmla="*/ 693 h 706"/>
                <a:gd name="T6" fmla="*/ 43 w 640"/>
                <a:gd name="T7" fmla="*/ 588 h 706"/>
                <a:gd name="T8" fmla="*/ 97 w 640"/>
                <a:gd name="T9" fmla="*/ 484 h 706"/>
                <a:gd name="T10" fmla="*/ 108 w 640"/>
                <a:gd name="T11" fmla="*/ 467 h 706"/>
                <a:gd name="T12" fmla="*/ 159 w 640"/>
                <a:gd name="T13" fmla="*/ 384 h 706"/>
                <a:gd name="T14" fmla="*/ 183 w 640"/>
                <a:gd name="T15" fmla="*/ 354 h 706"/>
                <a:gd name="T16" fmla="*/ 232 w 640"/>
                <a:gd name="T17" fmla="*/ 288 h 706"/>
                <a:gd name="T18" fmla="*/ 262 w 640"/>
                <a:gd name="T19" fmla="*/ 253 h 706"/>
                <a:gd name="T20" fmla="*/ 405 w 640"/>
                <a:gd name="T21" fmla="*/ 78 h 706"/>
                <a:gd name="T22" fmla="*/ 465 w 640"/>
                <a:gd name="T23" fmla="*/ 5 h 706"/>
                <a:gd name="T24" fmla="*/ 474 w 640"/>
                <a:gd name="T25" fmla="*/ 0 h 706"/>
                <a:gd name="T26" fmla="*/ 486 w 640"/>
                <a:gd name="T27" fmla="*/ 2 h 706"/>
                <a:gd name="T28" fmla="*/ 640 w 640"/>
                <a:gd name="T29" fmla="*/ 83 h 706"/>
                <a:gd name="T30" fmla="*/ 607 w 640"/>
                <a:gd name="T31" fmla="*/ 138 h 706"/>
                <a:gd name="T32" fmla="*/ 497 w 640"/>
                <a:gd name="T33" fmla="*/ 323 h 706"/>
                <a:gd name="T34" fmla="*/ 432 w 640"/>
                <a:gd name="T35" fmla="*/ 434 h 706"/>
                <a:gd name="T36" fmla="*/ 411 w 640"/>
                <a:gd name="T37" fmla="*/ 467 h 706"/>
                <a:gd name="T38" fmla="*/ 388 w 640"/>
                <a:gd name="T39" fmla="*/ 507 h 706"/>
                <a:gd name="T40" fmla="*/ 316 w 640"/>
                <a:gd name="T41" fmla="*/ 628 h 706"/>
                <a:gd name="T42" fmla="*/ 268 w 640"/>
                <a:gd name="T43" fmla="*/ 706 h 706"/>
                <a:gd name="T44" fmla="*/ 227 w 640"/>
                <a:gd name="T45" fmla="*/ 706 h 706"/>
                <a:gd name="T46" fmla="*/ 13 w 640"/>
                <a:gd name="T47" fmla="*/ 706 h 706"/>
                <a:gd name="T48" fmla="*/ 3 w 640"/>
                <a:gd name="T49" fmla="*/ 702 h 706"/>
                <a:gd name="T50" fmla="*/ 13 w 640"/>
                <a:gd name="T51"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0" h="706">
                  <a:moveTo>
                    <a:pt x="13" y="706"/>
                  </a:moveTo>
                  <a:lnTo>
                    <a:pt x="3" y="702"/>
                  </a:lnTo>
                  <a:lnTo>
                    <a:pt x="0" y="693"/>
                  </a:lnTo>
                  <a:lnTo>
                    <a:pt x="43" y="588"/>
                  </a:lnTo>
                  <a:lnTo>
                    <a:pt x="97" y="484"/>
                  </a:lnTo>
                  <a:lnTo>
                    <a:pt x="108" y="467"/>
                  </a:lnTo>
                  <a:lnTo>
                    <a:pt x="159" y="384"/>
                  </a:lnTo>
                  <a:lnTo>
                    <a:pt x="183" y="354"/>
                  </a:lnTo>
                  <a:lnTo>
                    <a:pt x="232" y="288"/>
                  </a:lnTo>
                  <a:lnTo>
                    <a:pt x="262" y="253"/>
                  </a:lnTo>
                  <a:lnTo>
                    <a:pt x="405" y="78"/>
                  </a:lnTo>
                  <a:lnTo>
                    <a:pt x="465" y="5"/>
                  </a:lnTo>
                  <a:lnTo>
                    <a:pt x="474" y="0"/>
                  </a:lnTo>
                  <a:lnTo>
                    <a:pt x="486" y="2"/>
                  </a:lnTo>
                  <a:lnTo>
                    <a:pt x="640" y="83"/>
                  </a:lnTo>
                  <a:lnTo>
                    <a:pt x="607" y="138"/>
                  </a:lnTo>
                  <a:lnTo>
                    <a:pt x="497" y="323"/>
                  </a:lnTo>
                  <a:lnTo>
                    <a:pt x="432" y="434"/>
                  </a:lnTo>
                  <a:lnTo>
                    <a:pt x="411" y="467"/>
                  </a:lnTo>
                  <a:lnTo>
                    <a:pt x="388" y="507"/>
                  </a:lnTo>
                  <a:lnTo>
                    <a:pt x="316" y="628"/>
                  </a:lnTo>
                  <a:lnTo>
                    <a:pt x="268" y="706"/>
                  </a:lnTo>
                  <a:lnTo>
                    <a:pt x="227" y="706"/>
                  </a:lnTo>
                  <a:lnTo>
                    <a:pt x="13" y="706"/>
                  </a:lnTo>
                  <a:lnTo>
                    <a:pt x="3" y="702"/>
                  </a:lnTo>
                  <a:lnTo>
                    <a:pt x="13" y="706"/>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04" name="Freeform 652">
              <a:extLst>
                <a:ext uri="{FF2B5EF4-FFF2-40B4-BE49-F238E27FC236}">
                  <a16:creationId xmlns:a16="http://schemas.microsoft.com/office/drawing/2014/main" id="{4A7CBE66-A076-422F-B5DC-E2CDE809D018}"/>
                </a:ext>
              </a:extLst>
            </p:cNvPr>
            <p:cNvSpPr>
              <a:spLocks noChangeAspect="1"/>
            </p:cNvSpPr>
            <p:nvPr/>
          </p:nvSpPr>
          <p:spPr bwMode="auto">
            <a:xfrm>
              <a:off x="5189538" y="3550603"/>
              <a:ext cx="127000" cy="188912"/>
            </a:xfrm>
            <a:custGeom>
              <a:avLst/>
              <a:gdLst>
                <a:gd name="T0" fmla="*/ 6 w 755"/>
                <a:gd name="T1" fmla="*/ 657 h 844"/>
                <a:gd name="T2" fmla="*/ 0 w 755"/>
                <a:gd name="T3" fmla="*/ 651 h 844"/>
                <a:gd name="T4" fmla="*/ 2 w 755"/>
                <a:gd name="T5" fmla="*/ 644 h 844"/>
                <a:gd name="T6" fmla="*/ 603 w 755"/>
                <a:gd name="T7" fmla="*/ 4 h 844"/>
                <a:gd name="T8" fmla="*/ 615 w 755"/>
                <a:gd name="T9" fmla="*/ 0 h 844"/>
                <a:gd name="T10" fmla="*/ 681 w 755"/>
                <a:gd name="T11" fmla="*/ 0 h 844"/>
                <a:gd name="T12" fmla="*/ 692 w 755"/>
                <a:gd name="T13" fmla="*/ 4 h 844"/>
                <a:gd name="T14" fmla="*/ 693 w 755"/>
                <a:gd name="T15" fmla="*/ 13 h 844"/>
                <a:gd name="T16" fmla="*/ 675 w 755"/>
                <a:gd name="T17" fmla="*/ 51 h 844"/>
                <a:gd name="T18" fmla="*/ 676 w 755"/>
                <a:gd name="T19" fmla="*/ 62 h 844"/>
                <a:gd name="T20" fmla="*/ 688 w 755"/>
                <a:gd name="T21" fmla="*/ 69 h 844"/>
                <a:gd name="T22" fmla="*/ 755 w 755"/>
                <a:gd name="T23" fmla="*/ 88 h 844"/>
                <a:gd name="T24" fmla="*/ 384 w 755"/>
                <a:gd name="T25" fmla="*/ 844 h 844"/>
                <a:gd name="T26" fmla="*/ 307 w 755"/>
                <a:gd name="T27" fmla="*/ 820 h 844"/>
                <a:gd name="T28" fmla="*/ 6 w 755"/>
                <a:gd name="T29" fmla="*/ 657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5" h="844">
                  <a:moveTo>
                    <a:pt x="6" y="657"/>
                  </a:moveTo>
                  <a:lnTo>
                    <a:pt x="0" y="651"/>
                  </a:lnTo>
                  <a:lnTo>
                    <a:pt x="2" y="644"/>
                  </a:lnTo>
                  <a:lnTo>
                    <a:pt x="603" y="4"/>
                  </a:lnTo>
                  <a:lnTo>
                    <a:pt x="615" y="0"/>
                  </a:lnTo>
                  <a:lnTo>
                    <a:pt x="681" y="0"/>
                  </a:lnTo>
                  <a:lnTo>
                    <a:pt x="692" y="4"/>
                  </a:lnTo>
                  <a:lnTo>
                    <a:pt x="693" y="13"/>
                  </a:lnTo>
                  <a:lnTo>
                    <a:pt x="675" y="51"/>
                  </a:lnTo>
                  <a:lnTo>
                    <a:pt x="676" y="62"/>
                  </a:lnTo>
                  <a:lnTo>
                    <a:pt x="688" y="69"/>
                  </a:lnTo>
                  <a:lnTo>
                    <a:pt x="755" y="88"/>
                  </a:lnTo>
                  <a:lnTo>
                    <a:pt x="384" y="844"/>
                  </a:lnTo>
                  <a:lnTo>
                    <a:pt x="307" y="820"/>
                  </a:lnTo>
                  <a:lnTo>
                    <a:pt x="6" y="657"/>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205" name="Freeform 653">
              <a:extLst>
                <a:ext uri="{FF2B5EF4-FFF2-40B4-BE49-F238E27FC236}">
                  <a16:creationId xmlns:a16="http://schemas.microsoft.com/office/drawing/2014/main" id="{BE4DAA7B-1C7E-4878-BA46-A58A1B0E1494}"/>
                </a:ext>
              </a:extLst>
            </p:cNvPr>
            <p:cNvSpPr>
              <a:spLocks noChangeAspect="1"/>
            </p:cNvSpPr>
            <p:nvPr/>
          </p:nvSpPr>
          <p:spPr bwMode="auto">
            <a:xfrm>
              <a:off x="5189538" y="3550603"/>
              <a:ext cx="127000" cy="188912"/>
            </a:xfrm>
            <a:custGeom>
              <a:avLst/>
              <a:gdLst>
                <a:gd name="T0" fmla="*/ 6 w 755"/>
                <a:gd name="T1" fmla="*/ 657 h 844"/>
                <a:gd name="T2" fmla="*/ 0 w 755"/>
                <a:gd name="T3" fmla="*/ 651 h 844"/>
                <a:gd name="T4" fmla="*/ 2 w 755"/>
                <a:gd name="T5" fmla="*/ 644 h 844"/>
                <a:gd name="T6" fmla="*/ 603 w 755"/>
                <a:gd name="T7" fmla="*/ 4 h 844"/>
                <a:gd name="T8" fmla="*/ 615 w 755"/>
                <a:gd name="T9" fmla="*/ 0 h 844"/>
                <a:gd name="T10" fmla="*/ 681 w 755"/>
                <a:gd name="T11" fmla="*/ 0 h 844"/>
                <a:gd name="T12" fmla="*/ 692 w 755"/>
                <a:gd name="T13" fmla="*/ 4 h 844"/>
                <a:gd name="T14" fmla="*/ 693 w 755"/>
                <a:gd name="T15" fmla="*/ 13 h 844"/>
                <a:gd name="T16" fmla="*/ 675 w 755"/>
                <a:gd name="T17" fmla="*/ 51 h 844"/>
                <a:gd name="T18" fmla="*/ 676 w 755"/>
                <a:gd name="T19" fmla="*/ 62 h 844"/>
                <a:gd name="T20" fmla="*/ 688 w 755"/>
                <a:gd name="T21" fmla="*/ 69 h 844"/>
                <a:gd name="T22" fmla="*/ 755 w 755"/>
                <a:gd name="T23" fmla="*/ 88 h 844"/>
                <a:gd name="T24" fmla="*/ 384 w 755"/>
                <a:gd name="T25" fmla="*/ 844 h 844"/>
                <a:gd name="T26" fmla="*/ 307 w 755"/>
                <a:gd name="T27" fmla="*/ 820 h 844"/>
                <a:gd name="T28" fmla="*/ 6 w 755"/>
                <a:gd name="T29" fmla="*/ 657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5" h="844">
                  <a:moveTo>
                    <a:pt x="6" y="657"/>
                  </a:moveTo>
                  <a:lnTo>
                    <a:pt x="0" y="651"/>
                  </a:lnTo>
                  <a:lnTo>
                    <a:pt x="2" y="644"/>
                  </a:lnTo>
                  <a:lnTo>
                    <a:pt x="603" y="4"/>
                  </a:lnTo>
                  <a:lnTo>
                    <a:pt x="615" y="0"/>
                  </a:lnTo>
                  <a:lnTo>
                    <a:pt x="681" y="0"/>
                  </a:lnTo>
                  <a:lnTo>
                    <a:pt x="692" y="4"/>
                  </a:lnTo>
                  <a:lnTo>
                    <a:pt x="693" y="13"/>
                  </a:lnTo>
                  <a:lnTo>
                    <a:pt x="675" y="51"/>
                  </a:lnTo>
                  <a:lnTo>
                    <a:pt x="676" y="62"/>
                  </a:lnTo>
                  <a:lnTo>
                    <a:pt x="688" y="69"/>
                  </a:lnTo>
                  <a:lnTo>
                    <a:pt x="755" y="88"/>
                  </a:lnTo>
                  <a:lnTo>
                    <a:pt x="384" y="844"/>
                  </a:lnTo>
                  <a:lnTo>
                    <a:pt x="307" y="820"/>
                  </a:lnTo>
                  <a:lnTo>
                    <a:pt x="6" y="657"/>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06" name="Freeform 654">
              <a:extLst>
                <a:ext uri="{FF2B5EF4-FFF2-40B4-BE49-F238E27FC236}">
                  <a16:creationId xmlns:a16="http://schemas.microsoft.com/office/drawing/2014/main" id="{F7350A6A-B4FA-4A70-A70C-EFF3AFC18218}"/>
                </a:ext>
              </a:extLst>
            </p:cNvPr>
            <p:cNvSpPr>
              <a:spLocks noChangeAspect="1"/>
            </p:cNvSpPr>
            <p:nvPr/>
          </p:nvSpPr>
          <p:spPr bwMode="auto">
            <a:xfrm>
              <a:off x="5305426" y="3550604"/>
              <a:ext cx="150813" cy="39687"/>
            </a:xfrm>
            <a:custGeom>
              <a:avLst/>
              <a:gdLst>
                <a:gd name="T0" fmla="*/ 29 w 895"/>
                <a:gd name="T1" fmla="*/ 0 h 178"/>
                <a:gd name="T2" fmla="*/ 635 w 895"/>
                <a:gd name="T3" fmla="*/ 0 h 178"/>
                <a:gd name="T4" fmla="*/ 861 w 895"/>
                <a:gd name="T5" fmla="*/ 0 h 178"/>
                <a:gd name="T6" fmla="*/ 879 w 895"/>
                <a:gd name="T7" fmla="*/ 3 h 178"/>
                <a:gd name="T8" fmla="*/ 892 w 895"/>
                <a:gd name="T9" fmla="*/ 13 h 178"/>
                <a:gd name="T10" fmla="*/ 895 w 895"/>
                <a:gd name="T11" fmla="*/ 26 h 178"/>
                <a:gd name="T12" fmla="*/ 891 w 895"/>
                <a:gd name="T13" fmla="*/ 40 h 178"/>
                <a:gd name="T14" fmla="*/ 769 w 895"/>
                <a:gd name="T15" fmla="*/ 178 h 178"/>
                <a:gd name="T16" fmla="*/ 217 w 895"/>
                <a:gd name="T17" fmla="*/ 178 h 178"/>
                <a:gd name="T18" fmla="*/ 217 w 895"/>
                <a:gd name="T19" fmla="*/ 143 h 178"/>
                <a:gd name="T20" fmla="*/ 212 w 895"/>
                <a:gd name="T21" fmla="*/ 118 h 178"/>
                <a:gd name="T22" fmla="*/ 197 w 895"/>
                <a:gd name="T23" fmla="*/ 95 h 178"/>
                <a:gd name="T24" fmla="*/ 171 w 895"/>
                <a:gd name="T25" fmla="*/ 75 h 178"/>
                <a:gd name="T26" fmla="*/ 139 w 895"/>
                <a:gd name="T27" fmla="*/ 65 h 178"/>
                <a:gd name="T28" fmla="*/ 107 w 895"/>
                <a:gd name="T29" fmla="*/ 61 h 178"/>
                <a:gd name="T30" fmla="*/ 19 w 895"/>
                <a:gd name="T31" fmla="*/ 61 h 178"/>
                <a:gd name="T32" fmla="*/ 0 w 895"/>
                <a:gd name="T33" fmla="*/ 42 h 178"/>
                <a:gd name="T34" fmla="*/ 15 w 895"/>
                <a:gd name="T35" fmla="*/ 7 h 178"/>
                <a:gd name="T36" fmla="*/ 21 w 895"/>
                <a:gd name="T37" fmla="*/ 2 h 178"/>
                <a:gd name="T38" fmla="*/ 29 w 895"/>
                <a:gd name="T3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5" h="178">
                  <a:moveTo>
                    <a:pt x="29" y="0"/>
                  </a:moveTo>
                  <a:lnTo>
                    <a:pt x="635" y="0"/>
                  </a:lnTo>
                  <a:lnTo>
                    <a:pt x="861" y="0"/>
                  </a:lnTo>
                  <a:lnTo>
                    <a:pt x="879" y="3"/>
                  </a:lnTo>
                  <a:lnTo>
                    <a:pt x="892" y="13"/>
                  </a:lnTo>
                  <a:lnTo>
                    <a:pt x="895" y="26"/>
                  </a:lnTo>
                  <a:lnTo>
                    <a:pt x="891" y="40"/>
                  </a:lnTo>
                  <a:lnTo>
                    <a:pt x="769" y="178"/>
                  </a:lnTo>
                  <a:lnTo>
                    <a:pt x="217" y="178"/>
                  </a:lnTo>
                  <a:lnTo>
                    <a:pt x="217" y="143"/>
                  </a:lnTo>
                  <a:lnTo>
                    <a:pt x="212" y="118"/>
                  </a:lnTo>
                  <a:lnTo>
                    <a:pt x="197" y="95"/>
                  </a:lnTo>
                  <a:lnTo>
                    <a:pt x="171" y="75"/>
                  </a:lnTo>
                  <a:lnTo>
                    <a:pt x="139" y="65"/>
                  </a:lnTo>
                  <a:lnTo>
                    <a:pt x="107" y="61"/>
                  </a:lnTo>
                  <a:lnTo>
                    <a:pt x="19" y="61"/>
                  </a:lnTo>
                  <a:lnTo>
                    <a:pt x="0" y="42"/>
                  </a:lnTo>
                  <a:lnTo>
                    <a:pt x="15" y="7"/>
                  </a:lnTo>
                  <a:lnTo>
                    <a:pt x="21" y="2"/>
                  </a:lnTo>
                  <a:lnTo>
                    <a:pt x="29" y="0"/>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207" name="Freeform 655">
              <a:extLst>
                <a:ext uri="{FF2B5EF4-FFF2-40B4-BE49-F238E27FC236}">
                  <a16:creationId xmlns:a16="http://schemas.microsoft.com/office/drawing/2014/main" id="{6DD6AA59-E9E9-485A-814C-93703FCADD6B}"/>
                </a:ext>
              </a:extLst>
            </p:cNvPr>
            <p:cNvSpPr>
              <a:spLocks noChangeAspect="1"/>
            </p:cNvSpPr>
            <p:nvPr/>
          </p:nvSpPr>
          <p:spPr bwMode="auto">
            <a:xfrm>
              <a:off x="5305426" y="3550604"/>
              <a:ext cx="150813" cy="39687"/>
            </a:xfrm>
            <a:custGeom>
              <a:avLst/>
              <a:gdLst>
                <a:gd name="T0" fmla="*/ 29 w 895"/>
                <a:gd name="T1" fmla="*/ 0 h 178"/>
                <a:gd name="T2" fmla="*/ 635 w 895"/>
                <a:gd name="T3" fmla="*/ 0 h 178"/>
                <a:gd name="T4" fmla="*/ 861 w 895"/>
                <a:gd name="T5" fmla="*/ 0 h 178"/>
                <a:gd name="T6" fmla="*/ 879 w 895"/>
                <a:gd name="T7" fmla="*/ 3 h 178"/>
                <a:gd name="T8" fmla="*/ 892 w 895"/>
                <a:gd name="T9" fmla="*/ 13 h 178"/>
                <a:gd name="T10" fmla="*/ 895 w 895"/>
                <a:gd name="T11" fmla="*/ 26 h 178"/>
                <a:gd name="T12" fmla="*/ 891 w 895"/>
                <a:gd name="T13" fmla="*/ 40 h 178"/>
                <a:gd name="T14" fmla="*/ 769 w 895"/>
                <a:gd name="T15" fmla="*/ 178 h 178"/>
                <a:gd name="T16" fmla="*/ 217 w 895"/>
                <a:gd name="T17" fmla="*/ 178 h 178"/>
                <a:gd name="T18" fmla="*/ 217 w 895"/>
                <a:gd name="T19" fmla="*/ 143 h 178"/>
                <a:gd name="T20" fmla="*/ 212 w 895"/>
                <a:gd name="T21" fmla="*/ 118 h 178"/>
                <a:gd name="T22" fmla="*/ 197 w 895"/>
                <a:gd name="T23" fmla="*/ 95 h 178"/>
                <a:gd name="T24" fmla="*/ 171 w 895"/>
                <a:gd name="T25" fmla="*/ 75 h 178"/>
                <a:gd name="T26" fmla="*/ 139 w 895"/>
                <a:gd name="T27" fmla="*/ 65 h 178"/>
                <a:gd name="T28" fmla="*/ 107 w 895"/>
                <a:gd name="T29" fmla="*/ 61 h 178"/>
                <a:gd name="T30" fmla="*/ 19 w 895"/>
                <a:gd name="T31" fmla="*/ 61 h 178"/>
                <a:gd name="T32" fmla="*/ 0 w 895"/>
                <a:gd name="T33" fmla="*/ 42 h 178"/>
                <a:gd name="T34" fmla="*/ 15 w 895"/>
                <a:gd name="T35" fmla="*/ 7 h 178"/>
                <a:gd name="T36" fmla="*/ 21 w 895"/>
                <a:gd name="T37" fmla="*/ 2 h 178"/>
                <a:gd name="T38" fmla="*/ 29 w 895"/>
                <a:gd name="T3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5" h="178">
                  <a:moveTo>
                    <a:pt x="29" y="0"/>
                  </a:moveTo>
                  <a:lnTo>
                    <a:pt x="635" y="0"/>
                  </a:lnTo>
                  <a:lnTo>
                    <a:pt x="861" y="0"/>
                  </a:lnTo>
                  <a:lnTo>
                    <a:pt x="879" y="3"/>
                  </a:lnTo>
                  <a:lnTo>
                    <a:pt x="892" y="13"/>
                  </a:lnTo>
                  <a:lnTo>
                    <a:pt x="895" y="26"/>
                  </a:lnTo>
                  <a:lnTo>
                    <a:pt x="891" y="40"/>
                  </a:lnTo>
                  <a:lnTo>
                    <a:pt x="769" y="178"/>
                  </a:lnTo>
                  <a:lnTo>
                    <a:pt x="217" y="178"/>
                  </a:lnTo>
                  <a:lnTo>
                    <a:pt x="217" y="143"/>
                  </a:lnTo>
                  <a:lnTo>
                    <a:pt x="212" y="118"/>
                  </a:lnTo>
                  <a:lnTo>
                    <a:pt x="197" y="95"/>
                  </a:lnTo>
                  <a:lnTo>
                    <a:pt x="171" y="75"/>
                  </a:lnTo>
                  <a:lnTo>
                    <a:pt x="139" y="65"/>
                  </a:lnTo>
                  <a:lnTo>
                    <a:pt x="107" y="61"/>
                  </a:lnTo>
                  <a:lnTo>
                    <a:pt x="19" y="61"/>
                  </a:lnTo>
                  <a:lnTo>
                    <a:pt x="0" y="42"/>
                  </a:lnTo>
                  <a:lnTo>
                    <a:pt x="15" y="7"/>
                  </a:lnTo>
                  <a:lnTo>
                    <a:pt x="21" y="2"/>
                  </a:lnTo>
                  <a:lnTo>
                    <a:pt x="29" y="0"/>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08" name="Freeform 656">
              <a:extLst>
                <a:ext uri="{FF2B5EF4-FFF2-40B4-BE49-F238E27FC236}">
                  <a16:creationId xmlns:a16="http://schemas.microsoft.com/office/drawing/2014/main" id="{D3151565-D121-4C6E-83D6-1AE7389FF678}"/>
                </a:ext>
              </a:extLst>
            </p:cNvPr>
            <p:cNvSpPr>
              <a:spLocks noChangeAspect="1"/>
            </p:cNvSpPr>
            <p:nvPr/>
          </p:nvSpPr>
          <p:spPr bwMode="auto">
            <a:xfrm>
              <a:off x="4743451" y="1339216"/>
              <a:ext cx="212725" cy="119063"/>
            </a:xfrm>
            <a:custGeom>
              <a:avLst/>
              <a:gdLst>
                <a:gd name="T0" fmla="*/ 1229 w 1250"/>
                <a:gd name="T1" fmla="*/ 57 h 526"/>
                <a:gd name="T2" fmla="*/ 107 w 1250"/>
                <a:gd name="T3" fmla="*/ 525 h 526"/>
                <a:gd name="T4" fmla="*/ 99 w 1250"/>
                <a:gd name="T5" fmla="*/ 526 h 526"/>
                <a:gd name="T6" fmla="*/ 92 w 1250"/>
                <a:gd name="T7" fmla="*/ 524 h 526"/>
                <a:gd name="T8" fmla="*/ 0 w 1250"/>
                <a:gd name="T9" fmla="*/ 473 h 526"/>
                <a:gd name="T10" fmla="*/ 54 w 1250"/>
                <a:gd name="T11" fmla="*/ 419 h 526"/>
                <a:gd name="T12" fmla="*/ 10 w 1250"/>
                <a:gd name="T13" fmla="*/ 395 h 526"/>
                <a:gd name="T14" fmla="*/ 316 w 1250"/>
                <a:gd name="T15" fmla="*/ 93 h 526"/>
                <a:gd name="T16" fmla="*/ 592 w 1250"/>
                <a:gd name="T17" fmla="*/ 93 h 526"/>
                <a:gd name="T18" fmla="*/ 1205 w 1250"/>
                <a:gd name="T19" fmla="*/ 0 h 526"/>
                <a:gd name="T20" fmla="*/ 1219 w 1250"/>
                <a:gd name="T21" fmla="*/ 1 h 526"/>
                <a:gd name="T22" fmla="*/ 1232 w 1250"/>
                <a:gd name="T23" fmla="*/ 5 h 526"/>
                <a:gd name="T24" fmla="*/ 1242 w 1250"/>
                <a:gd name="T25" fmla="*/ 13 h 526"/>
                <a:gd name="T26" fmla="*/ 1248 w 1250"/>
                <a:gd name="T27" fmla="*/ 21 h 526"/>
                <a:gd name="T28" fmla="*/ 1250 w 1250"/>
                <a:gd name="T29" fmla="*/ 32 h 526"/>
                <a:gd name="T30" fmla="*/ 1247 w 1250"/>
                <a:gd name="T31" fmla="*/ 42 h 526"/>
                <a:gd name="T32" fmla="*/ 1239 w 1250"/>
                <a:gd name="T33" fmla="*/ 51 h 526"/>
                <a:gd name="T34" fmla="*/ 1229 w 1250"/>
                <a:gd name="T35" fmla="*/ 57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50" h="526">
                  <a:moveTo>
                    <a:pt x="1229" y="57"/>
                  </a:moveTo>
                  <a:lnTo>
                    <a:pt x="107" y="525"/>
                  </a:lnTo>
                  <a:lnTo>
                    <a:pt x="99" y="526"/>
                  </a:lnTo>
                  <a:lnTo>
                    <a:pt x="92" y="524"/>
                  </a:lnTo>
                  <a:lnTo>
                    <a:pt x="0" y="473"/>
                  </a:lnTo>
                  <a:lnTo>
                    <a:pt x="54" y="419"/>
                  </a:lnTo>
                  <a:lnTo>
                    <a:pt x="10" y="395"/>
                  </a:lnTo>
                  <a:lnTo>
                    <a:pt x="316" y="93"/>
                  </a:lnTo>
                  <a:lnTo>
                    <a:pt x="592" y="93"/>
                  </a:lnTo>
                  <a:lnTo>
                    <a:pt x="1205" y="0"/>
                  </a:lnTo>
                  <a:lnTo>
                    <a:pt x="1219" y="1"/>
                  </a:lnTo>
                  <a:lnTo>
                    <a:pt x="1232" y="5"/>
                  </a:lnTo>
                  <a:lnTo>
                    <a:pt x="1242" y="13"/>
                  </a:lnTo>
                  <a:lnTo>
                    <a:pt x="1248" y="21"/>
                  </a:lnTo>
                  <a:lnTo>
                    <a:pt x="1250" y="32"/>
                  </a:lnTo>
                  <a:lnTo>
                    <a:pt x="1247" y="42"/>
                  </a:lnTo>
                  <a:lnTo>
                    <a:pt x="1239" y="51"/>
                  </a:lnTo>
                  <a:lnTo>
                    <a:pt x="1229" y="57"/>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209" name="Freeform 657">
              <a:extLst>
                <a:ext uri="{FF2B5EF4-FFF2-40B4-BE49-F238E27FC236}">
                  <a16:creationId xmlns:a16="http://schemas.microsoft.com/office/drawing/2014/main" id="{75BF1DA8-6F6D-4205-8A09-1B5381A980D9}"/>
                </a:ext>
              </a:extLst>
            </p:cNvPr>
            <p:cNvSpPr>
              <a:spLocks noChangeAspect="1"/>
            </p:cNvSpPr>
            <p:nvPr/>
          </p:nvSpPr>
          <p:spPr bwMode="auto">
            <a:xfrm>
              <a:off x="4743451" y="1339216"/>
              <a:ext cx="212725" cy="119063"/>
            </a:xfrm>
            <a:custGeom>
              <a:avLst/>
              <a:gdLst>
                <a:gd name="T0" fmla="*/ 1229 w 1250"/>
                <a:gd name="T1" fmla="*/ 57 h 526"/>
                <a:gd name="T2" fmla="*/ 107 w 1250"/>
                <a:gd name="T3" fmla="*/ 525 h 526"/>
                <a:gd name="T4" fmla="*/ 99 w 1250"/>
                <a:gd name="T5" fmla="*/ 526 h 526"/>
                <a:gd name="T6" fmla="*/ 92 w 1250"/>
                <a:gd name="T7" fmla="*/ 524 h 526"/>
                <a:gd name="T8" fmla="*/ 0 w 1250"/>
                <a:gd name="T9" fmla="*/ 473 h 526"/>
                <a:gd name="T10" fmla="*/ 54 w 1250"/>
                <a:gd name="T11" fmla="*/ 419 h 526"/>
                <a:gd name="T12" fmla="*/ 10 w 1250"/>
                <a:gd name="T13" fmla="*/ 395 h 526"/>
                <a:gd name="T14" fmla="*/ 316 w 1250"/>
                <a:gd name="T15" fmla="*/ 93 h 526"/>
                <a:gd name="T16" fmla="*/ 592 w 1250"/>
                <a:gd name="T17" fmla="*/ 93 h 526"/>
                <a:gd name="T18" fmla="*/ 1205 w 1250"/>
                <a:gd name="T19" fmla="*/ 0 h 526"/>
                <a:gd name="T20" fmla="*/ 1219 w 1250"/>
                <a:gd name="T21" fmla="*/ 1 h 526"/>
                <a:gd name="T22" fmla="*/ 1232 w 1250"/>
                <a:gd name="T23" fmla="*/ 5 h 526"/>
                <a:gd name="T24" fmla="*/ 1242 w 1250"/>
                <a:gd name="T25" fmla="*/ 13 h 526"/>
                <a:gd name="T26" fmla="*/ 1248 w 1250"/>
                <a:gd name="T27" fmla="*/ 21 h 526"/>
                <a:gd name="T28" fmla="*/ 1250 w 1250"/>
                <a:gd name="T29" fmla="*/ 32 h 526"/>
                <a:gd name="T30" fmla="*/ 1247 w 1250"/>
                <a:gd name="T31" fmla="*/ 42 h 526"/>
                <a:gd name="T32" fmla="*/ 1239 w 1250"/>
                <a:gd name="T33" fmla="*/ 51 h 526"/>
                <a:gd name="T34" fmla="*/ 1229 w 1250"/>
                <a:gd name="T35" fmla="*/ 57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50" h="526">
                  <a:moveTo>
                    <a:pt x="1229" y="57"/>
                  </a:moveTo>
                  <a:lnTo>
                    <a:pt x="107" y="525"/>
                  </a:lnTo>
                  <a:lnTo>
                    <a:pt x="99" y="526"/>
                  </a:lnTo>
                  <a:lnTo>
                    <a:pt x="92" y="524"/>
                  </a:lnTo>
                  <a:lnTo>
                    <a:pt x="0" y="473"/>
                  </a:lnTo>
                  <a:lnTo>
                    <a:pt x="54" y="419"/>
                  </a:lnTo>
                  <a:lnTo>
                    <a:pt x="10" y="395"/>
                  </a:lnTo>
                  <a:lnTo>
                    <a:pt x="316" y="93"/>
                  </a:lnTo>
                  <a:lnTo>
                    <a:pt x="592" y="93"/>
                  </a:lnTo>
                  <a:lnTo>
                    <a:pt x="1205" y="0"/>
                  </a:lnTo>
                  <a:lnTo>
                    <a:pt x="1219" y="1"/>
                  </a:lnTo>
                  <a:lnTo>
                    <a:pt x="1232" y="5"/>
                  </a:lnTo>
                  <a:lnTo>
                    <a:pt x="1242" y="13"/>
                  </a:lnTo>
                  <a:lnTo>
                    <a:pt x="1248" y="21"/>
                  </a:lnTo>
                  <a:lnTo>
                    <a:pt x="1250" y="32"/>
                  </a:lnTo>
                  <a:lnTo>
                    <a:pt x="1247" y="42"/>
                  </a:lnTo>
                  <a:lnTo>
                    <a:pt x="1239" y="51"/>
                  </a:lnTo>
                  <a:lnTo>
                    <a:pt x="1229" y="57"/>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10" name="Freeform 658">
              <a:extLst>
                <a:ext uri="{FF2B5EF4-FFF2-40B4-BE49-F238E27FC236}">
                  <a16:creationId xmlns:a16="http://schemas.microsoft.com/office/drawing/2014/main" id="{6A1E6B11-2F43-4AD0-B57A-D1958905F434}"/>
                </a:ext>
              </a:extLst>
            </p:cNvPr>
            <p:cNvSpPr>
              <a:spLocks noChangeAspect="1"/>
            </p:cNvSpPr>
            <p:nvPr/>
          </p:nvSpPr>
          <p:spPr bwMode="auto">
            <a:xfrm>
              <a:off x="4672014" y="1440815"/>
              <a:ext cx="85725" cy="90488"/>
            </a:xfrm>
            <a:custGeom>
              <a:avLst/>
              <a:gdLst>
                <a:gd name="T0" fmla="*/ 497 w 504"/>
                <a:gd name="T1" fmla="*/ 106 h 403"/>
                <a:gd name="T2" fmla="*/ 208 w 504"/>
                <a:gd name="T3" fmla="*/ 393 h 403"/>
                <a:gd name="T4" fmla="*/ 199 w 504"/>
                <a:gd name="T5" fmla="*/ 399 h 403"/>
                <a:gd name="T6" fmla="*/ 188 w 504"/>
                <a:gd name="T7" fmla="*/ 402 h 403"/>
                <a:gd name="T8" fmla="*/ 175 w 504"/>
                <a:gd name="T9" fmla="*/ 403 h 403"/>
                <a:gd name="T10" fmla="*/ 0 w 504"/>
                <a:gd name="T11" fmla="*/ 361 h 403"/>
                <a:gd name="T12" fmla="*/ 365 w 504"/>
                <a:gd name="T13" fmla="*/ 0 h 403"/>
                <a:gd name="T14" fmla="*/ 490 w 504"/>
                <a:gd name="T15" fmla="*/ 71 h 403"/>
                <a:gd name="T16" fmla="*/ 498 w 504"/>
                <a:gd name="T17" fmla="*/ 77 h 403"/>
                <a:gd name="T18" fmla="*/ 503 w 504"/>
                <a:gd name="T19" fmla="*/ 84 h 403"/>
                <a:gd name="T20" fmla="*/ 504 w 504"/>
                <a:gd name="T21" fmla="*/ 91 h 403"/>
                <a:gd name="T22" fmla="*/ 502 w 504"/>
                <a:gd name="T23" fmla="*/ 99 h 403"/>
                <a:gd name="T24" fmla="*/ 497 w 504"/>
                <a:gd name="T25" fmla="*/ 106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403">
                  <a:moveTo>
                    <a:pt x="497" y="106"/>
                  </a:moveTo>
                  <a:lnTo>
                    <a:pt x="208" y="393"/>
                  </a:lnTo>
                  <a:lnTo>
                    <a:pt x="199" y="399"/>
                  </a:lnTo>
                  <a:lnTo>
                    <a:pt x="188" y="402"/>
                  </a:lnTo>
                  <a:lnTo>
                    <a:pt x="175" y="403"/>
                  </a:lnTo>
                  <a:lnTo>
                    <a:pt x="0" y="361"/>
                  </a:lnTo>
                  <a:lnTo>
                    <a:pt x="365" y="0"/>
                  </a:lnTo>
                  <a:lnTo>
                    <a:pt x="490" y="71"/>
                  </a:lnTo>
                  <a:lnTo>
                    <a:pt x="498" y="77"/>
                  </a:lnTo>
                  <a:lnTo>
                    <a:pt x="503" y="84"/>
                  </a:lnTo>
                  <a:lnTo>
                    <a:pt x="504" y="91"/>
                  </a:lnTo>
                  <a:lnTo>
                    <a:pt x="502" y="99"/>
                  </a:lnTo>
                  <a:lnTo>
                    <a:pt x="497" y="106"/>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211" name="Freeform 659">
              <a:extLst>
                <a:ext uri="{FF2B5EF4-FFF2-40B4-BE49-F238E27FC236}">
                  <a16:creationId xmlns:a16="http://schemas.microsoft.com/office/drawing/2014/main" id="{5B5E7969-58CA-4476-8605-6CFB91BB8D65}"/>
                </a:ext>
              </a:extLst>
            </p:cNvPr>
            <p:cNvSpPr>
              <a:spLocks noChangeAspect="1"/>
            </p:cNvSpPr>
            <p:nvPr/>
          </p:nvSpPr>
          <p:spPr bwMode="auto">
            <a:xfrm>
              <a:off x="4672014" y="1440815"/>
              <a:ext cx="85725" cy="90488"/>
            </a:xfrm>
            <a:custGeom>
              <a:avLst/>
              <a:gdLst>
                <a:gd name="T0" fmla="*/ 497 w 504"/>
                <a:gd name="T1" fmla="*/ 106 h 403"/>
                <a:gd name="T2" fmla="*/ 208 w 504"/>
                <a:gd name="T3" fmla="*/ 393 h 403"/>
                <a:gd name="T4" fmla="*/ 199 w 504"/>
                <a:gd name="T5" fmla="*/ 399 h 403"/>
                <a:gd name="T6" fmla="*/ 188 w 504"/>
                <a:gd name="T7" fmla="*/ 402 h 403"/>
                <a:gd name="T8" fmla="*/ 175 w 504"/>
                <a:gd name="T9" fmla="*/ 403 h 403"/>
                <a:gd name="T10" fmla="*/ 0 w 504"/>
                <a:gd name="T11" fmla="*/ 361 h 403"/>
                <a:gd name="T12" fmla="*/ 365 w 504"/>
                <a:gd name="T13" fmla="*/ 0 h 403"/>
                <a:gd name="T14" fmla="*/ 490 w 504"/>
                <a:gd name="T15" fmla="*/ 71 h 403"/>
                <a:gd name="T16" fmla="*/ 498 w 504"/>
                <a:gd name="T17" fmla="*/ 77 h 403"/>
                <a:gd name="T18" fmla="*/ 503 w 504"/>
                <a:gd name="T19" fmla="*/ 84 h 403"/>
                <a:gd name="T20" fmla="*/ 504 w 504"/>
                <a:gd name="T21" fmla="*/ 91 h 403"/>
                <a:gd name="T22" fmla="*/ 502 w 504"/>
                <a:gd name="T23" fmla="*/ 99 h 403"/>
                <a:gd name="T24" fmla="*/ 497 w 504"/>
                <a:gd name="T25" fmla="*/ 106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403">
                  <a:moveTo>
                    <a:pt x="497" y="106"/>
                  </a:moveTo>
                  <a:lnTo>
                    <a:pt x="208" y="393"/>
                  </a:lnTo>
                  <a:lnTo>
                    <a:pt x="199" y="399"/>
                  </a:lnTo>
                  <a:lnTo>
                    <a:pt x="188" y="402"/>
                  </a:lnTo>
                  <a:lnTo>
                    <a:pt x="175" y="403"/>
                  </a:lnTo>
                  <a:lnTo>
                    <a:pt x="0" y="361"/>
                  </a:lnTo>
                  <a:lnTo>
                    <a:pt x="365" y="0"/>
                  </a:lnTo>
                  <a:lnTo>
                    <a:pt x="490" y="71"/>
                  </a:lnTo>
                  <a:lnTo>
                    <a:pt x="498" y="77"/>
                  </a:lnTo>
                  <a:lnTo>
                    <a:pt x="503" y="84"/>
                  </a:lnTo>
                  <a:lnTo>
                    <a:pt x="504" y="91"/>
                  </a:lnTo>
                  <a:lnTo>
                    <a:pt x="502" y="99"/>
                  </a:lnTo>
                  <a:lnTo>
                    <a:pt x="497" y="106"/>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12" name="Freeform 660">
              <a:extLst>
                <a:ext uri="{FF2B5EF4-FFF2-40B4-BE49-F238E27FC236}">
                  <a16:creationId xmlns:a16="http://schemas.microsoft.com/office/drawing/2014/main" id="{5EE9C742-8B41-46FE-BE7A-7221F5E94517}"/>
                </a:ext>
              </a:extLst>
            </p:cNvPr>
            <p:cNvSpPr>
              <a:spLocks noChangeAspect="1"/>
            </p:cNvSpPr>
            <p:nvPr/>
          </p:nvSpPr>
          <p:spPr bwMode="auto">
            <a:xfrm>
              <a:off x="4616451" y="1523365"/>
              <a:ext cx="85725" cy="82550"/>
            </a:xfrm>
            <a:custGeom>
              <a:avLst/>
              <a:gdLst>
                <a:gd name="T0" fmla="*/ 498 w 505"/>
                <a:gd name="T1" fmla="*/ 68 h 363"/>
                <a:gd name="T2" fmla="*/ 221 w 505"/>
                <a:gd name="T3" fmla="*/ 342 h 363"/>
                <a:gd name="T4" fmla="*/ 209 w 505"/>
                <a:gd name="T5" fmla="*/ 353 h 363"/>
                <a:gd name="T6" fmla="*/ 202 w 505"/>
                <a:gd name="T7" fmla="*/ 358 h 363"/>
                <a:gd name="T8" fmla="*/ 193 w 505"/>
                <a:gd name="T9" fmla="*/ 362 h 363"/>
                <a:gd name="T10" fmla="*/ 184 w 505"/>
                <a:gd name="T11" fmla="*/ 363 h 363"/>
                <a:gd name="T12" fmla="*/ 174 w 505"/>
                <a:gd name="T13" fmla="*/ 363 h 363"/>
                <a:gd name="T14" fmla="*/ 165 w 505"/>
                <a:gd name="T15" fmla="*/ 361 h 363"/>
                <a:gd name="T16" fmla="*/ 0 w 505"/>
                <a:gd name="T17" fmla="*/ 323 h 363"/>
                <a:gd name="T18" fmla="*/ 327 w 505"/>
                <a:gd name="T19" fmla="*/ 0 h 363"/>
                <a:gd name="T20" fmla="*/ 486 w 505"/>
                <a:gd name="T21" fmla="*/ 30 h 363"/>
                <a:gd name="T22" fmla="*/ 496 w 505"/>
                <a:gd name="T23" fmla="*/ 35 h 363"/>
                <a:gd name="T24" fmla="*/ 503 w 505"/>
                <a:gd name="T25" fmla="*/ 42 h 363"/>
                <a:gd name="T26" fmla="*/ 505 w 505"/>
                <a:gd name="T27" fmla="*/ 51 h 363"/>
                <a:gd name="T28" fmla="*/ 504 w 505"/>
                <a:gd name="T29" fmla="*/ 61 h 363"/>
                <a:gd name="T30" fmla="*/ 498 w 505"/>
                <a:gd name="T31" fmla="*/ 68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63">
                  <a:moveTo>
                    <a:pt x="498" y="68"/>
                  </a:moveTo>
                  <a:lnTo>
                    <a:pt x="221" y="342"/>
                  </a:lnTo>
                  <a:lnTo>
                    <a:pt x="209" y="353"/>
                  </a:lnTo>
                  <a:lnTo>
                    <a:pt x="202" y="358"/>
                  </a:lnTo>
                  <a:lnTo>
                    <a:pt x="193" y="362"/>
                  </a:lnTo>
                  <a:lnTo>
                    <a:pt x="184" y="363"/>
                  </a:lnTo>
                  <a:lnTo>
                    <a:pt x="174" y="363"/>
                  </a:lnTo>
                  <a:lnTo>
                    <a:pt x="165" y="361"/>
                  </a:lnTo>
                  <a:lnTo>
                    <a:pt x="0" y="323"/>
                  </a:lnTo>
                  <a:lnTo>
                    <a:pt x="327" y="0"/>
                  </a:lnTo>
                  <a:lnTo>
                    <a:pt x="486" y="30"/>
                  </a:lnTo>
                  <a:lnTo>
                    <a:pt x="496" y="35"/>
                  </a:lnTo>
                  <a:lnTo>
                    <a:pt x="503" y="42"/>
                  </a:lnTo>
                  <a:lnTo>
                    <a:pt x="505" y="51"/>
                  </a:lnTo>
                  <a:lnTo>
                    <a:pt x="504" y="61"/>
                  </a:lnTo>
                  <a:lnTo>
                    <a:pt x="498" y="68"/>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213" name="Freeform 661">
              <a:extLst>
                <a:ext uri="{FF2B5EF4-FFF2-40B4-BE49-F238E27FC236}">
                  <a16:creationId xmlns:a16="http://schemas.microsoft.com/office/drawing/2014/main" id="{860D1D3B-BADB-4508-AD6A-0DF20DF667C1}"/>
                </a:ext>
              </a:extLst>
            </p:cNvPr>
            <p:cNvSpPr>
              <a:spLocks noChangeAspect="1"/>
            </p:cNvSpPr>
            <p:nvPr/>
          </p:nvSpPr>
          <p:spPr bwMode="auto">
            <a:xfrm>
              <a:off x="4616451" y="1523365"/>
              <a:ext cx="85725" cy="82550"/>
            </a:xfrm>
            <a:custGeom>
              <a:avLst/>
              <a:gdLst>
                <a:gd name="T0" fmla="*/ 498 w 505"/>
                <a:gd name="T1" fmla="*/ 68 h 363"/>
                <a:gd name="T2" fmla="*/ 221 w 505"/>
                <a:gd name="T3" fmla="*/ 342 h 363"/>
                <a:gd name="T4" fmla="*/ 209 w 505"/>
                <a:gd name="T5" fmla="*/ 353 h 363"/>
                <a:gd name="T6" fmla="*/ 202 w 505"/>
                <a:gd name="T7" fmla="*/ 358 h 363"/>
                <a:gd name="T8" fmla="*/ 193 w 505"/>
                <a:gd name="T9" fmla="*/ 362 h 363"/>
                <a:gd name="T10" fmla="*/ 184 w 505"/>
                <a:gd name="T11" fmla="*/ 363 h 363"/>
                <a:gd name="T12" fmla="*/ 174 w 505"/>
                <a:gd name="T13" fmla="*/ 363 h 363"/>
                <a:gd name="T14" fmla="*/ 165 w 505"/>
                <a:gd name="T15" fmla="*/ 361 h 363"/>
                <a:gd name="T16" fmla="*/ 0 w 505"/>
                <a:gd name="T17" fmla="*/ 323 h 363"/>
                <a:gd name="T18" fmla="*/ 327 w 505"/>
                <a:gd name="T19" fmla="*/ 0 h 363"/>
                <a:gd name="T20" fmla="*/ 486 w 505"/>
                <a:gd name="T21" fmla="*/ 30 h 363"/>
                <a:gd name="T22" fmla="*/ 496 w 505"/>
                <a:gd name="T23" fmla="*/ 35 h 363"/>
                <a:gd name="T24" fmla="*/ 503 w 505"/>
                <a:gd name="T25" fmla="*/ 42 h 363"/>
                <a:gd name="T26" fmla="*/ 505 w 505"/>
                <a:gd name="T27" fmla="*/ 51 h 363"/>
                <a:gd name="T28" fmla="*/ 504 w 505"/>
                <a:gd name="T29" fmla="*/ 61 h 363"/>
                <a:gd name="T30" fmla="*/ 498 w 505"/>
                <a:gd name="T31" fmla="*/ 68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63">
                  <a:moveTo>
                    <a:pt x="498" y="68"/>
                  </a:moveTo>
                  <a:lnTo>
                    <a:pt x="221" y="342"/>
                  </a:lnTo>
                  <a:lnTo>
                    <a:pt x="209" y="353"/>
                  </a:lnTo>
                  <a:lnTo>
                    <a:pt x="202" y="358"/>
                  </a:lnTo>
                  <a:lnTo>
                    <a:pt x="193" y="362"/>
                  </a:lnTo>
                  <a:lnTo>
                    <a:pt x="184" y="363"/>
                  </a:lnTo>
                  <a:lnTo>
                    <a:pt x="174" y="363"/>
                  </a:lnTo>
                  <a:lnTo>
                    <a:pt x="165" y="361"/>
                  </a:lnTo>
                  <a:lnTo>
                    <a:pt x="0" y="323"/>
                  </a:lnTo>
                  <a:lnTo>
                    <a:pt x="327" y="0"/>
                  </a:lnTo>
                  <a:lnTo>
                    <a:pt x="486" y="30"/>
                  </a:lnTo>
                  <a:lnTo>
                    <a:pt x="496" y="35"/>
                  </a:lnTo>
                  <a:lnTo>
                    <a:pt x="503" y="42"/>
                  </a:lnTo>
                  <a:lnTo>
                    <a:pt x="505" y="51"/>
                  </a:lnTo>
                  <a:lnTo>
                    <a:pt x="504" y="61"/>
                  </a:lnTo>
                  <a:lnTo>
                    <a:pt x="498" y="68"/>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14" name="Freeform 662">
              <a:extLst>
                <a:ext uri="{FF2B5EF4-FFF2-40B4-BE49-F238E27FC236}">
                  <a16:creationId xmlns:a16="http://schemas.microsoft.com/office/drawing/2014/main" id="{2464952E-D3CF-4ECB-85FB-A233591728CA}"/>
                </a:ext>
              </a:extLst>
            </p:cNvPr>
            <p:cNvSpPr>
              <a:spLocks noChangeAspect="1"/>
            </p:cNvSpPr>
            <p:nvPr/>
          </p:nvSpPr>
          <p:spPr bwMode="auto">
            <a:xfrm>
              <a:off x="4565650" y="1596390"/>
              <a:ext cx="82550" cy="95250"/>
            </a:xfrm>
            <a:custGeom>
              <a:avLst/>
              <a:gdLst>
                <a:gd name="T0" fmla="*/ 484 w 486"/>
                <a:gd name="T1" fmla="*/ 73 h 429"/>
                <a:gd name="T2" fmla="*/ 284 w 486"/>
                <a:gd name="T3" fmla="*/ 415 h 429"/>
                <a:gd name="T4" fmla="*/ 284 w 486"/>
                <a:gd name="T5" fmla="*/ 416 h 429"/>
                <a:gd name="T6" fmla="*/ 281 w 486"/>
                <a:gd name="T7" fmla="*/ 420 h 429"/>
                <a:gd name="T8" fmla="*/ 277 w 486"/>
                <a:gd name="T9" fmla="*/ 423 h 429"/>
                <a:gd name="T10" fmla="*/ 273 w 486"/>
                <a:gd name="T11" fmla="*/ 425 h 429"/>
                <a:gd name="T12" fmla="*/ 268 w 486"/>
                <a:gd name="T13" fmla="*/ 427 h 429"/>
                <a:gd name="T14" fmla="*/ 262 w 486"/>
                <a:gd name="T15" fmla="*/ 429 h 429"/>
                <a:gd name="T16" fmla="*/ 257 w 486"/>
                <a:gd name="T17" fmla="*/ 429 h 429"/>
                <a:gd name="T18" fmla="*/ 252 w 486"/>
                <a:gd name="T19" fmla="*/ 429 h 429"/>
                <a:gd name="T20" fmla="*/ 246 w 486"/>
                <a:gd name="T21" fmla="*/ 429 h 429"/>
                <a:gd name="T22" fmla="*/ 241 w 486"/>
                <a:gd name="T23" fmla="*/ 428 h 429"/>
                <a:gd name="T24" fmla="*/ 236 w 486"/>
                <a:gd name="T25" fmla="*/ 426 h 429"/>
                <a:gd name="T26" fmla="*/ 233 w 486"/>
                <a:gd name="T27" fmla="*/ 425 h 429"/>
                <a:gd name="T28" fmla="*/ 0 w 486"/>
                <a:gd name="T29" fmla="*/ 294 h 429"/>
                <a:gd name="T30" fmla="*/ 297 w 486"/>
                <a:gd name="T31" fmla="*/ 0 h 429"/>
                <a:gd name="T32" fmla="*/ 462 w 486"/>
                <a:gd name="T33" fmla="*/ 38 h 429"/>
                <a:gd name="T34" fmla="*/ 464 w 486"/>
                <a:gd name="T35" fmla="*/ 39 h 429"/>
                <a:gd name="T36" fmla="*/ 469 w 486"/>
                <a:gd name="T37" fmla="*/ 41 h 429"/>
                <a:gd name="T38" fmla="*/ 475 w 486"/>
                <a:gd name="T39" fmla="*/ 43 h 429"/>
                <a:gd name="T40" fmla="*/ 478 w 486"/>
                <a:gd name="T41" fmla="*/ 46 h 429"/>
                <a:gd name="T42" fmla="*/ 481 w 486"/>
                <a:gd name="T43" fmla="*/ 49 h 429"/>
                <a:gd name="T44" fmla="*/ 484 w 486"/>
                <a:gd name="T45" fmla="*/ 54 h 429"/>
                <a:gd name="T46" fmla="*/ 485 w 486"/>
                <a:gd name="T47" fmla="*/ 58 h 429"/>
                <a:gd name="T48" fmla="*/ 486 w 486"/>
                <a:gd name="T49" fmla="*/ 62 h 429"/>
                <a:gd name="T50" fmla="*/ 485 w 486"/>
                <a:gd name="T51" fmla="*/ 67 h 429"/>
                <a:gd name="T52" fmla="*/ 484 w 486"/>
                <a:gd name="T53" fmla="*/ 71 h 429"/>
                <a:gd name="T54" fmla="*/ 484 w 486"/>
                <a:gd name="T55" fmla="*/ 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6" h="429">
                  <a:moveTo>
                    <a:pt x="484" y="73"/>
                  </a:moveTo>
                  <a:lnTo>
                    <a:pt x="284" y="415"/>
                  </a:lnTo>
                  <a:lnTo>
                    <a:pt x="284" y="416"/>
                  </a:lnTo>
                  <a:lnTo>
                    <a:pt x="281" y="420"/>
                  </a:lnTo>
                  <a:lnTo>
                    <a:pt x="277" y="423"/>
                  </a:lnTo>
                  <a:lnTo>
                    <a:pt x="273" y="425"/>
                  </a:lnTo>
                  <a:lnTo>
                    <a:pt x="268" y="427"/>
                  </a:lnTo>
                  <a:lnTo>
                    <a:pt x="262" y="429"/>
                  </a:lnTo>
                  <a:lnTo>
                    <a:pt x="257" y="429"/>
                  </a:lnTo>
                  <a:lnTo>
                    <a:pt x="252" y="429"/>
                  </a:lnTo>
                  <a:lnTo>
                    <a:pt x="246" y="429"/>
                  </a:lnTo>
                  <a:lnTo>
                    <a:pt x="241" y="428"/>
                  </a:lnTo>
                  <a:lnTo>
                    <a:pt x="236" y="426"/>
                  </a:lnTo>
                  <a:lnTo>
                    <a:pt x="233" y="425"/>
                  </a:lnTo>
                  <a:lnTo>
                    <a:pt x="0" y="294"/>
                  </a:lnTo>
                  <a:lnTo>
                    <a:pt x="297" y="0"/>
                  </a:lnTo>
                  <a:lnTo>
                    <a:pt x="462" y="38"/>
                  </a:lnTo>
                  <a:lnTo>
                    <a:pt x="464" y="39"/>
                  </a:lnTo>
                  <a:lnTo>
                    <a:pt x="469" y="41"/>
                  </a:lnTo>
                  <a:lnTo>
                    <a:pt x="475" y="43"/>
                  </a:lnTo>
                  <a:lnTo>
                    <a:pt x="478" y="46"/>
                  </a:lnTo>
                  <a:lnTo>
                    <a:pt x="481" y="49"/>
                  </a:lnTo>
                  <a:lnTo>
                    <a:pt x="484" y="54"/>
                  </a:lnTo>
                  <a:lnTo>
                    <a:pt x="485" y="58"/>
                  </a:lnTo>
                  <a:lnTo>
                    <a:pt x="486" y="62"/>
                  </a:lnTo>
                  <a:lnTo>
                    <a:pt x="485" y="67"/>
                  </a:lnTo>
                  <a:lnTo>
                    <a:pt x="484" y="71"/>
                  </a:lnTo>
                  <a:lnTo>
                    <a:pt x="484" y="73"/>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215" name="Freeform 663">
              <a:extLst>
                <a:ext uri="{FF2B5EF4-FFF2-40B4-BE49-F238E27FC236}">
                  <a16:creationId xmlns:a16="http://schemas.microsoft.com/office/drawing/2014/main" id="{8908F45D-07F0-4A90-A69D-F7A4C9F2634A}"/>
                </a:ext>
              </a:extLst>
            </p:cNvPr>
            <p:cNvSpPr>
              <a:spLocks noChangeAspect="1"/>
            </p:cNvSpPr>
            <p:nvPr/>
          </p:nvSpPr>
          <p:spPr bwMode="auto">
            <a:xfrm>
              <a:off x="4565650" y="1596390"/>
              <a:ext cx="82550" cy="95250"/>
            </a:xfrm>
            <a:custGeom>
              <a:avLst/>
              <a:gdLst>
                <a:gd name="T0" fmla="*/ 484 w 486"/>
                <a:gd name="T1" fmla="*/ 73 h 429"/>
                <a:gd name="T2" fmla="*/ 284 w 486"/>
                <a:gd name="T3" fmla="*/ 415 h 429"/>
                <a:gd name="T4" fmla="*/ 284 w 486"/>
                <a:gd name="T5" fmla="*/ 416 h 429"/>
                <a:gd name="T6" fmla="*/ 281 w 486"/>
                <a:gd name="T7" fmla="*/ 420 h 429"/>
                <a:gd name="T8" fmla="*/ 277 w 486"/>
                <a:gd name="T9" fmla="*/ 423 h 429"/>
                <a:gd name="T10" fmla="*/ 273 w 486"/>
                <a:gd name="T11" fmla="*/ 425 h 429"/>
                <a:gd name="T12" fmla="*/ 268 w 486"/>
                <a:gd name="T13" fmla="*/ 427 h 429"/>
                <a:gd name="T14" fmla="*/ 262 w 486"/>
                <a:gd name="T15" fmla="*/ 429 h 429"/>
                <a:gd name="T16" fmla="*/ 257 w 486"/>
                <a:gd name="T17" fmla="*/ 429 h 429"/>
                <a:gd name="T18" fmla="*/ 252 w 486"/>
                <a:gd name="T19" fmla="*/ 429 h 429"/>
                <a:gd name="T20" fmla="*/ 246 w 486"/>
                <a:gd name="T21" fmla="*/ 429 h 429"/>
                <a:gd name="T22" fmla="*/ 241 w 486"/>
                <a:gd name="T23" fmla="*/ 428 h 429"/>
                <a:gd name="T24" fmla="*/ 236 w 486"/>
                <a:gd name="T25" fmla="*/ 426 h 429"/>
                <a:gd name="T26" fmla="*/ 233 w 486"/>
                <a:gd name="T27" fmla="*/ 425 h 429"/>
                <a:gd name="T28" fmla="*/ 0 w 486"/>
                <a:gd name="T29" fmla="*/ 294 h 429"/>
                <a:gd name="T30" fmla="*/ 297 w 486"/>
                <a:gd name="T31" fmla="*/ 0 h 429"/>
                <a:gd name="T32" fmla="*/ 462 w 486"/>
                <a:gd name="T33" fmla="*/ 38 h 429"/>
                <a:gd name="T34" fmla="*/ 464 w 486"/>
                <a:gd name="T35" fmla="*/ 39 h 429"/>
                <a:gd name="T36" fmla="*/ 469 w 486"/>
                <a:gd name="T37" fmla="*/ 41 h 429"/>
                <a:gd name="T38" fmla="*/ 475 w 486"/>
                <a:gd name="T39" fmla="*/ 43 h 429"/>
                <a:gd name="T40" fmla="*/ 478 w 486"/>
                <a:gd name="T41" fmla="*/ 46 h 429"/>
                <a:gd name="T42" fmla="*/ 481 w 486"/>
                <a:gd name="T43" fmla="*/ 49 h 429"/>
                <a:gd name="T44" fmla="*/ 484 w 486"/>
                <a:gd name="T45" fmla="*/ 54 h 429"/>
                <a:gd name="T46" fmla="*/ 485 w 486"/>
                <a:gd name="T47" fmla="*/ 58 h 429"/>
                <a:gd name="T48" fmla="*/ 486 w 486"/>
                <a:gd name="T49" fmla="*/ 62 h 429"/>
                <a:gd name="T50" fmla="*/ 485 w 486"/>
                <a:gd name="T51" fmla="*/ 67 h 429"/>
                <a:gd name="T52" fmla="*/ 484 w 486"/>
                <a:gd name="T53" fmla="*/ 71 h 429"/>
                <a:gd name="T54" fmla="*/ 484 w 486"/>
                <a:gd name="T55" fmla="*/ 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6" h="429">
                  <a:moveTo>
                    <a:pt x="484" y="73"/>
                  </a:moveTo>
                  <a:lnTo>
                    <a:pt x="284" y="415"/>
                  </a:lnTo>
                  <a:lnTo>
                    <a:pt x="284" y="416"/>
                  </a:lnTo>
                  <a:lnTo>
                    <a:pt x="281" y="420"/>
                  </a:lnTo>
                  <a:lnTo>
                    <a:pt x="277" y="423"/>
                  </a:lnTo>
                  <a:lnTo>
                    <a:pt x="273" y="425"/>
                  </a:lnTo>
                  <a:lnTo>
                    <a:pt x="268" y="427"/>
                  </a:lnTo>
                  <a:lnTo>
                    <a:pt x="262" y="429"/>
                  </a:lnTo>
                  <a:lnTo>
                    <a:pt x="257" y="429"/>
                  </a:lnTo>
                  <a:lnTo>
                    <a:pt x="252" y="429"/>
                  </a:lnTo>
                  <a:lnTo>
                    <a:pt x="246" y="429"/>
                  </a:lnTo>
                  <a:lnTo>
                    <a:pt x="241" y="428"/>
                  </a:lnTo>
                  <a:lnTo>
                    <a:pt x="236" y="426"/>
                  </a:lnTo>
                  <a:lnTo>
                    <a:pt x="233" y="425"/>
                  </a:lnTo>
                  <a:lnTo>
                    <a:pt x="0" y="294"/>
                  </a:lnTo>
                  <a:lnTo>
                    <a:pt x="297" y="0"/>
                  </a:lnTo>
                  <a:lnTo>
                    <a:pt x="462" y="38"/>
                  </a:lnTo>
                  <a:lnTo>
                    <a:pt x="464" y="39"/>
                  </a:lnTo>
                  <a:lnTo>
                    <a:pt x="469" y="41"/>
                  </a:lnTo>
                  <a:lnTo>
                    <a:pt x="475" y="43"/>
                  </a:lnTo>
                  <a:lnTo>
                    <a:pt x="478" y="46"/>
                  </a:lnTo>
                  <a:lnTo>
                    <a:pt x="481" y="49"/>
                  </a:lnTo>
                  <a:lnTo>
                    <a:pt x="484" y="54"/>
                  </a:lnTo>
                  <a:lnTo>
                    <a:pt x="485" y="58"/>
                  </a:lnTo>
                  <a:lnTo>
                    <a:pt x="486" y="62"/>
                  </a:lnTo>
                  <a:lnTo>
                    <a:pt x="485" y="67"/>
                  </a:lnTo>
                  <a:lnTo>
                    <a:pt x="484" y="71"/>
                  </a:lnTo>
                  <a:lnTo>
                    <a:pt x="484" y="73"/>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16" name="Freeform 664">
              <a:extLst>
                <a:ext uri="{FF2B5EF4-FFF2-40B4-BE49-F238E27FC236}">
                  <a16:creationId xmlns:a16="http://schemas.microsoft.com/office/drawing/2014/main" id="{8A26AE10-5460-4682-BF74-70FB58E4A252}"/>
                </a:ext>
              </a:extLst>
            </p:cNvPr>
            <p:cNvSpPr>
              <a:spLocks noChangeAspect="1"/>
            </p:cNvSpPr>
            <p:nvPr/>
          </p:nvSpPr>
          <p:spPr bwMode="auto">
            <a:xfrm>
              <a:off x="4513263" y="1663066"/>
              <a:ext cx="95250" cy="130175"/>
            </a:xfrm>
            <a:custGeom>
              <a:avLst/>
              <a:gdLst>
                <a:gd name="T0" fmla="*/ 572 w 573"/>
                <a:gd name="T1" fmla="*/ 169 h 579"/>
                <a:gd name="T2" fmla="*/ 413 w 573"/>
                <a:gd name="T3" fmla="*/ 478 h 579"/>
                <a:gd name="T4" fmla="*/ 409 w 573"/>
                <a:gd name="T5" fmla="*/ 485 h 579"/>
                <a:gd name="T6" fmla="*/ 407 w 573"/>
                <a:gd name="T7" fmla="*/ 489 h 579"/>
                <a:gd name="T8" fmla="*/ 401 w 573"/>
                <a:gd name="T9" fmla="*/ 495 h 579"/>
                <a:gd name="T10" fmla="*/ 398 w 573"/>
                <a:gd name="T11" fmla="*/ 498 h 579"/>
                <a:gd name="T12" fmla="*/ 327 w 573"/>
                <a:gd name="T13" fmla="*/ 569 h 579"/>
                <a:gd name="T14" fmla="*/ 324 w 573"/>
                <a:gd name="T15" fmla="*/ 571 h 579"/>
                <a:gd name="T16" fmla="*/ 321 w 573"/>
                <a:gd name="T17" fmla="*/ 573 h 579"/>
                <a:gd name="T18" fmla="*/ 315 w 573"/>
                <a:gd name="T19" fmla="*/ 576 h 579"/>
                <a:gd name="T20" fmla="*/ 311 w 573"/>
                <a:gd name="T21" fmla="*/ 577 h 579"/>
                <a:gd name="T22" fmla="*/ 305 w 573"/>
                <a:gd name="T23" fmla="*/ 579 h 579"/>
                <a:gd name="T24" fmla="*/ 300 w 573"/>
                <a:gd name="T25" fmla="*/ 579 h 579"/>
                <a:gd name="T26" fmla="*/ 293 w 573"/>
                <a:gd name="T27" fmla="*/ 579 h 579"/>
                <a:gd name="T28" fmla="*/ 288 w 573"/>
                <a:gd name="T29" fmla="*/ 578 h 579"/>
                <a:gd name="T30" fmla="*/ 283 w 573"/>
                <a:gd name="T31" fmla="*/ 576 h 579"/>
                <a:gd name="T32" fmla="*/ 278 w 573"/>
                <a:gd name="T33" fmla="*/ 574 h 579"/>
                <a:gd name="T34" fmla="*/ 278 w 573"/>
                <a:gd name="T35" fmla="*/ 574 h 579"/>
                <a:gd name="T36" fmla="*/ 0 w 573"/>
                <a:gd name="T37" fmla="*/ 418 h 579"/>
                <a:gd name="T38" fmla="*/ 152 w 573"/>
                <a:gd name="T39" fmla="*/ 267 h 579"/>
                <a:gd name="T40" fmla="*/ 81 w 573"/>
                <a:gd name="T41" fmla="*/ 226 h 579"/>
                <a:gd name="T42" fmla="*/ 312 w 573"/>
                <a:gd name="T43" fmla="*/ 0 h 579"/>
                <a:gd name="T44" fmla="*/ 560 w 573"/>
                <a:gd name="T45" fmla="*/ 139 h 579"/>
                <a:gd name="T46" fmla="*/ 562 w 573"/>
                <a:gd name="T47" fmla="*/ 140 h 579"/>
                <a:gd name="T48" fmla="*/ 565 w 573"/>
                <a:gd name="T49" fmla="*/ 143 h 579"/>
                <a:gd name="T50" fmla="*/ 569 w 573"/>
                <a:gd name="T51" fmla="*/ 146 h 579"/>
                <a:gd name="T52" fmla="*/ 572 w 573"/>
                <a:gd name="T53" fmla="*/ 150 h 579"/>
                <a:gd name="T54" fmla="*/ 573 w 573"/>
                <a:gd name="T55" fmla="*/ 155 h 579"/>
                <a:gd name="T56" fmla="*/ 573 w 573"/>
                <a:gd name="T57" fmla="*/ 159 h 579"/>
                <a:gd name="T58" fmla="*/ 573 w 573"/>
                <a:gd name="T59" fmla="*/ 163 h 579"/>
                <a:gd name="T60" fmla="*/ 572 w 573"/>
                <a:gd name="T61" fmla="*/ 167 h 579"/>
                <a:gd name="T62" fmla="*/ 572 w 573"/>
                <a:gd name="T63" fmla="*/ 169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3" h="579">
                  <a:moveTo>
                    <a:pt x="572" y="169"/>
                  </a:moveTo>
                  <a:lnTo>
                    <a:pt x="413" y="478"/>
                  </a:lnTo>
                  <a:lnTo>
                    <a:pt x="409" y="485"/>
                  </a:lnTo>
                  <a:lnTo>
                    <a:pt x="407" y="489"/>
                  </a:lnTo>
                  <a:lnTo>
                    <a:pt x="401" y="495"/>
                  </a:lnTo>
                  <a:lnTo>
                    <a:pt x="398" y="498"/>
                  </a:lnTo>
                  <a:lnTo>
                    <a:pt x="327" y="569"/>
                  </a:lnTo>
                  <a:lnTo>
                    <a:pt x="324" y="571"/>
                  </a:lnTo>
                  <a:lnTo>
                    <a:pt x="321" y="573"/>
                  </a:lnTo>
                  <a:lnTo>
                    <a:pt x="315" y="576"/>
                  </a:lnTo>
                  <a:lnTo>
                    <a:pt x="311" y="577"/>
                  </a:lnTo>
                  <a:lnTo>
                    <a:pt x="305" y="579"/>
                  </a:lnTo>
                  <a:lnTo>
                    <a:pt x="300" y="579"/>
                  </a:lnTo>
                  <a:lnTo>
                    <a:pt x="293" y="579"/>
                  </a:lnTo>
                  <a:lnTo>
                    <a:pt x="288" y="578"/>
                  </a:lnTo>
                  <a:lnTo>
                    <a:pt x="283" y="576"/>
                  </a:lnTo>
                  <a:lnTo>
                    <a:pt x="278" y="574"/>
                  </a:lnTo>
                  <a:lnTo>
                    <a:pt x="278" y="574"/>
                  </a:lnTo>
                  <a:lnTo>
                    <a:pt x="0" y="418"/>
                  </a:lnTo>
                  <a:lnTo>
                    <a:pt x="152" y="267"/>
                  </a:lnTo>
                  <a:lnTo>
                    <a:pt x="81" y="226"/>
                  </a:lnTo>
                  <a:lnTo>
                    <a:pt x="312" y="0"/>
                  </a:lnTo>
                  <a:lnTo>
                    <a:pt x="560" y="139"/>
                  </a:lnTo>
                  <a:lnTo>
                    <a:pt x="562" y="140"/>
                  </a:lnTo>
                  <a:lnTo>
                    <a:pt x="565" y="143"/>
                  </a:lnTo>
                  <a:lnTo>
                    <a:pt x="569" y="146"/>
                  </a:lnTo>
                  <a:lnTo>
                    <a:pt x="572" y="150"/>
                  </a:lnTo>
                  <a:lnTo>
                    <a:pt x="573" y="155"/>
                  </a:lnTo>
                  <a:lnTo>
                    <a:pt x="573" y="159"/>
                  </a:lnTo>
                  <a:lnTo>
                    <a:pt x="573" y="163"/>
                  </a:lnTo>
                  <a:lnTo>
                    <a:pt x="572" y="167"/>
                  </a:lnTo>
                  <a:lnTo>
                    <a:pt x="572" y="169"/>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217" name="Freeform 665">
              <a:extLst>
                <a:ext uri="{FF2B5EF4-FFF2-40B4-BE49-F238E27FC236}">
                  <a16:creationId xmlns:a16="http://schemas.microsoft.com/office/drawing/2014/main" id="{AD22EC95-164D-45C0-B165-8F4F17DEAEAE}"/>
                </a:ext>
              </a:extLst>
            </p:cNvPr>
            <p:cNvSpPr>
              <a:spLocks noChangeAspect="1"/>
            </p:cNvSpPr>
            <p:nvPr/>
          </p:nvSpPr>
          <p:spPr bwMode="auto">
            <a:xfrm>
              <a:off x="4513263" y="1663066"/>
              <a:ext cx="95250" cy="130175"/>
            </a:xfrm>
            <a:custGeom>
              <a:avLst/>
              <a:gdLst>
                <a:gd name="T0" fmla="*/ 572 w 573"/>
                <a:gd name="T1" fmla="*/ 169 h 579"/>
                <a:gd name="T2" fmla="*/ 413 w 573"/>
                <a:gd name="T3" fmla="*/ 478 h 579"/>
                <a:gd name="T4" fmla="*/ 409 w 573"/>
                <a:gd name="T5" fmla="*/ 485 h 579"/>
                <a:gd name="T6" fmla="*/ 407 w 573"/>
                <a:gd name="T7" fmla="*/ 489 h 579"/>
                <a:gd name="T8" fmla="*/ 401 w 573"/>
                <a:gd name="T9" fmla="*/ 495 h 579"/>
                <a:gd name="T10" fmla="*/ 398 w 573"/>
                <a:gd name="T11" fmla="*/ 498 h 579"/>
                <a:gd name="T12" fmla="*/ 327 w 573"/>
                <a:gd name="T13" fmla="*/ 569 h 579"/>
                <a:gd name="T14" fmla="*/ 324 w 573"/>
                <a:gd name="T15" fmla="*/ 571 h 579"/>
                <a:gd name="T16" fmla="*/ 321 w 573"/>
                <a:gd name="T17" fmla="*/ 573 h 579"/>
                <a:gd name="T18" fmla="*/ 315 w 573"/>
                <a:gd name="T19" fmla="*/ 576 h 579"/>
                <a:gd name="T20" fmla="*/ 311 w 573"/>
                <a:gd name="T21" fmla="*/ 577 h 579"/>
                <a:gd name="T22" fmla="*/ 305 w 573"/>
                <a:gd name="T23" fmla="*/ 579 h 579"/>
                <a:gd name="T24" fmla="*/ 300 w 573"/>
                <a:gd name="T25" fmla="*/ 579 h 579"/>
                <a:gd name="T26" fmla="*/ 293 w 573"/>
                <a:gd name="T27" fmla="*/ 579 h 579"/>
                <a:gd name="T28" fmla="*/ 288 w 573"/>
                <a:gd name="T29" fmla="*/ 578 h 579"/>
                <a:gd name="T30" fmla="*/ 283 w 573"/>
                <a:gd name="T31" fmla="*/ 576 h 579"/>
                <a:gd name="T32" fmla="*/ 278 w 573"/>
                <a:gd name="T33" fmla="*/ 574 h 579"/>
                <a:gd name="T34" fmla="*/ 278 w 573"/>
                <a:gd name="T35" fmla="*/ 574 h 579"/>
                <a:gd name="T36" fmla="*/ 0 w 573"/>
                <a:gd name="T37" fmla="*/ 418 h 579"/>
                <a:gd name="T38" fmla="*/ 152 w 573"/>
                <a:gd name="T39" fmla="*/ 267 h 579"/>
                <a:gd name="T40" fmla="*/ 81 w 573"/>
                <a:gd name="T41" fmla="*/ 226 h 579"/>
                <a:gd name="T42" fmla="*/ 312 w 573"/>
                <a:gd name="T43" fmla="*/ 0 h 579"/>
                <a:gd name="T44" fmla="*/ 560 w 573"/>
                <a:gd name="T45" fmla="*/ 139 h 579"/>
                <a:gd name="T46" fmla="*/ 562 w 573"/>
                <a:gd name="T47" fmla="*/ 140 h 579"/>
                <a:gd name="T48" fmla="*/ 565 w 573"/>
                <a:gd name="T49" fmla="*/ 143 h 579"/>
                <a:gd name="T50" fmla="*/ 569 w 573"/>
                <a:gd name="T51" fmla="*/ 146 h 579"/>
                <a:gd name="T52" fmla="*/ 572 w 573"/>
                <a:gd name="T53" fmla="*/ 150 h 579"/>
                <a:gd name="T54" fmla="*/ 573 w 573"/>
                <a:gd name="T55" fmla="*/ 155 h 579"/>
                <a:gd name="T56" fmla="*/ 573 w 573"/>
                <a:gd name="T57" fmla="*/ 159 h 579"/>
                <a:gd name="T58" fmla="*/ 573 w 573"/>
                <a:gd name="T59" fmla="*/ 163 h 579"/>
                <a:gd name="T60" fmla="*/ 572 w 573"/>
                <a:gd name="T61" fmla="*/ 167 h 579"/>
                <a:gd name="T62" fmla="*/ 572 w 573"/>
                <a:gd name="T63" fmla="*/ 169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3" h="579">
                  <a:moveTo>
                    <a:pt x="572" y="169"/>
                  </a:moveTo>
                  <a:lnTo>
                    <a:pt x="413" y="478"/>
                  </a:lnTo>
                  <a:lnTo>
                    <a:pt x="409" y="485"/>
                  </a:lnTo>
                  <a:lnTo>
                    <a:pt x="407" y="489"/>
                  </a:lnTo>
                  <a:lnTo>
                    <a:pt x="401" y="495"/>
                  </a:lnTo>
                  <a:lnTo>
                    <a:pt x="398" y="498"/>
                  </a:lnTo>
                  <a:lnTo>
                    <a:pt x="327" y="569"/>
                  </a:lnTo>
                  <a:lnTo>
                    <a:pt x="324" y="571"/>
                  </a:lnTo>
                  <a:lnTo>
                    <a:pt x="321" y="573"/>
                  </a:lnTo>
                  <a:lnTo>
                    <a:pt x="315" y="576"/>
                  </a:lnTo>
                  <a:lnTo>
                    <a:pt x="311" y="577"/>
                  </a:lnTo>
                  <a:lnTo>
                    <a:pt x="305" y="579"/>
                  </a:lnTo>
                  <a:lnTo>
                    <a:pt x="300" y="579"/>
                  </a:lnTo>
                  <a:lnTo>
                    <a:pt x="293" y="579"/>
                  </a:lnTo>
                  <a:lnTo>
                    <a:pt x="288" y="578"/>
                  </a:lnTo>
                  <a:lnTo>
                    <a:pt x="283" y="576"/>
                  </a:lnTo>
                  <a:lnTo>
                    <a:pt x="278" y="574"/>
                  </a:lnTo>
                  <a:lnTo>
                    <a:pt x="278" y="574"/>
                  </a:lnTo>
                  <a:lnTo>
                    <a:pt x="0" y="418"/>
                  </a:lnTo>
                  <a:lnTo>
                    <a:pt x="152" y="267"/>
                  </a:lnTo>
                  <a:lnTo>
                    <a:pt x="81" y="226"/>
                  </a:lnTo>
                  <a:lnTo>
                    <a:pt x="312" y="0"/>
                  </a:lnTo>
                  <a:lnTo>
                    <a:pt x="560" y="139"/>
                  </a:lnTo>
                  <a:lnTo>
                    <a:pt x="562" y="140"/>
                  </a:lnTo>
                  <a:lnTo>
                    <a:pt x="565" y="143"/>
                  </a:lnTo>
                  <a:lnTo>
                    <a:pt x="569" y="146"/>
                  </a:lnTo>
                  <a:lnTo>
                    <a:pt x="572" y="150"/>
                  </a:lnTo>
                  <a:lnTo>
                    <a:pt x="573" y="155"/>
                  </a:lnTo>
                  <a:lnTo>
                    <a:pt x="573" y="159"/>
                  </a:lnTo>
                  <a:lnTo>
                    <a:pt x="573" y="163"/>
                  </a:lnTo>
                  <a:lnTo>
                    <a:pt x="572" y="167"/>
                  </a:lnTo>
                  <a:lnTo>
                    <a:pt x="572" y="16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18" name="Freeform 666">
              <a:extLst>
                <a:ext uri="{FF2B5EF4-FFF2-40B4-BE49-F238E27FC236}">
                  <a16:creationId xmlns:a16="http://schemas.microsoft.com/office/drawing/2014/main" id="{20F8D471-356B-4B3C-9AF7-AE0A40482019}"/>
                </a:ext>
              </a:extLst>
            </p:cNvPr>
            <p:cNvSpPr>
              <a:spLocks noChangeAspect="1"/>
            </p:cNvSpPr>
            <p:nvPr/>
          </p:nvSpPr>
          <p:spPr bwMode="auto">
            <a:xfrm>
              <a:off x="5387976" y="1604329"/>
              <a:ext cx="142875" cy="104775"/>
            </a:xfrm>
            <a:custGeom>
              <a:avLst/>
              <a:gdLst>
                <a:gd name="T0" fmla="*/ 415 w 851"/>
                <a:gd name="T1" fmla="*/ 465 h 465"/>
                <a:gd name="T2" fmla="*/ 11 w 851"/>
                <a:gd name="T3" fmla="*/ 196 h 465"/>
                <a:gd name="T4" fmla="*/ 3 w 851"/>
                <a:gd name="T5" fmla="*/ 188 h 465"/>
                <a:gd name="T6" fmla="*/ 0 w 851"/>
                <a:gd name="T7" fmla="*/ 179 h 465"/>
                <a:gd name="T8" fmla="*/ 1 w 851"/>
                <a:gd name="T9" fmla="*/ 170 h 465"/>
                <a:gd name="T10" fmla="*/ 6 w 851"/>
                <a:gd name="T11" fmla="*/ 162 h 465"/>
                <a:gd name="T12" fmla="*/ 15 w 851"/>
                <a:gd name="T13" fmla="*/ 156 h 465"/>
                <a:gd name="T14" fmla="*/ 300 w 851"/>
                <a:gd name="T15" fmla="*/ 4 h 465"/>
                <a:gd name="T16" fmla="*/ 307 w 851"/>
                <a:gd name="T17" fmla="*/ 1 h 465"/>
                <a:gd name="T18" fmla="*/ 317 w 851"/>
                <a:gd name="T19" fmla="*/ 0 h 465"/>
                <a:gd name="T20" fmla="*/ 326 w 851"/>
                <a:gd name="T21" fmla="*/ 0 h 465"/>
                <a:gd name="T22" fmla="*/ 335 w 851"/>
                <a:gd name="T23" fmla="*/ 2 h 465"/>
                <a:gd name="T24" fmla="*/ 342 w 851"/>
                <a:gd name="T25" fmla="*/ 6 h 465"/>
                <a:gd name="T26" fmla="*/ 851 w 851"/>
                <a:gd name="T27" fmla="*/ 346 h 465"/>
                <a:gd name="T28" fmla="*/ 851 w 851"/>
                <a:gd name="T29" fmla="*/ 465 h 465"/>
                <a:gd name="T30" fmla="*/ 415 w 851"/>
                <a:gd name="T31" fmla="*/ 465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1" h="465">
                  <a:moveTo>
                    <a:pt x="415" y="465"/>
                  </a:moveTo>
                  <a:lnTo>
                    <a:pt x="11" y="196"/>
                  </a:lnTo>
                  <a:lnTo>
                    <a:pt x="3" y="188"/>
                  </a:lnTo>
                  <a:lnTo>
                    <a:pt x="0" y="179"/>
                  </a:lnTo>
                  <a:lnTo>
                    <a:pt x="1" y="170"/>
                  </a:lnTo>
                  <a:lnTo>
                    <a:pt x="6" y="162"/>
                  </a:lnTo>
                  <a:lnTo>
                    <a:pt x="15" y="156"/>
                  </a:lnTo>
                  <a:lnTo>
                    <a:pt x="300" y="4"/>
                  </a:lnTo>
                  <a:lnTo>
                    <a:pt x="307" y="1"/>
                  </a:lnTo>
                  <a:lnTo>
                    <a:pt x="317" y="0"/>
                  </a:lnTo>
                  <a:lnTo>
                    <a:pt x="326" y="0"/>
                  </a:lnTo>
                  <a:lnTo>
                    <a:pt x="335" y="2"/>
                  </a:lnTo>
                  <a:lnTo>
                    <a:pt x="342" y="6"/>
                  </a:lnTo>
                  <a:lnTo>
                    <a:pt x="851" y="346"/>
                  </a:lnTo>
                  <a:lnTo>
                    <a:pt x="851" y="465"/>
                  </a:lnTo>
                  <a:lnTo>
                    <a:pt x="415" y="465"/>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219" name="Freeform 667">
              <a:extLst>
                <a:ext uri="{FF2B5EF4-FFF2-40B4-BE49-F238E27FC236}">
                  <a16:creationId xmlns:a16="http://schemas.microsoft.com/office/drawing/2014/main" id="{F586DBBF-03C7-4F1E-8348-4B289259B292}"/>
                </a:ext>
              </a:extLst>
            </p:cNvPr>
            <p:cNvSpPr>
              <a:spLocks noChangeAspect="1"/>
            </p:cNvSpPr>
            <p:nvPr/>
          </p:nvSpPr>
          <p:spPr bwMode="auto">
            <a:xfrm>
              <a:off x="5387976" y="1604329"/>
              <a:ext cx="142875" cy="104775"/>
            </a:xfrm>
            <a:custGeom>
              <a:avLst/>
              <a:gdLst>
                <a:gd name="T0" fmla="*/ 415 w 851"/>
                <a:gd name="T1" fmla="*/ 465 h 465"/>
                <a:gd name="T2" fmla="*/ 11 w 851"/>
                <a:gd name="T3" fmla="*/ 196 h 465"/>
                <a:gd name="T4" fmla="*/ 3 w 851"/>
                <a:gd name="T5" fmla="*/ 188 h 465"/>
                <a:gd name="T6" fmla="*/ 0 w 851"/>
                <a:gd name="T7" fmla="*/ 179 h 465"/>
                <a:gd name="T8" fmla="*/ 1 w 851"/>
                <a:gd name="T9" fmla="*/ 170 h 465"/>
                <a:gd name="T10" fmla="*/ 6 w 851"/>
                <a:gd name="T11" fmla="*/ 162 h 465"/>
                <a:gd name="T12" fmla="*/ 15 w 851"/>
                <a:gd name="T13" fmla="*/ 156 h 465"/>
                <a:gd name="T14" fmla="*/ 300 w 851"/>
                <a:gd name="T15" fmla="*/ 4 h 465"/>
                <a:gd name="T16" fmla="*/ 307 w 851"/>
                <a:gd name="T17" fmla="*/ 1 h 465"/>
                <a:gd name="T18" fmla="*/ 317 w 851"/>
                <a:gd name="T19" fmla="*/ 0 h 465"/>
                <a:gd name="T20" fmla="*/ 326 w 851"/>
                <a:gd name="T21" fmla="*/ 0 h 465"/>
                <a:gd name="T22" fmla="*/ 335 w 851"/>
                <a:gd name="T23" fmla="*/ 2 h 465"/>
                <a:gd name="T24" fmla="*/ 342 w 851"/>
                <a:gd name="T25" fmla="*/ 6 h 465"/>
                <a:gd name="T26" fmla="*/ 851 w 851"/>
                <a:gd name="T27" fmla="*/ 346 h 465"/>
                <a:gd name="T28" fmla="*/ 851 w 851"/>
                <a:gd name="T29" fmla="*/ 465 h 465"/>
                <a:gd name="T30" fmla="*/ 415 w 851"/>
                <a:gd name="T31" fmla="*/ 465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1" h="465">
                  <a:moveTo>
                    <a:pt x="415" y="465"/>
                  </a:moveTo>
                  <a:lnTo>
                    <a:pt x="11" y="196"/>
                  </a:lnTo>
                  <a:lnTo>
                    <a:pt x="3" y="188"/>
                  </a:lnTo>
                  <a:lnTo>
                    <a:pt x="0" y="179"/>
                  </a:lnTo>
                  <a:lnTo>
                    <a:pt x="1" y="170"/>
                  </a:lnTo>
                  <a:lnTo>
                    <a:pt x="6" y="162"/>
                  </a:lnTo>
                  <a:lnTo>
                    <a:pt x="15" y="156"/>
                  </a:lnTo>
                  <a:lnTo>
                    <a:pt x="300" y="4"/>
                  </a:lnTo>
                  <a:lnTo>
                    <a:pt x="307" y="1"/>
                  </a:lnTo>
                  <a:lnTo>
                    <a:pt x="317" y="0"/>
                  </a:lnTo>
                  <a:lnTo>
                    <a:pt x="326" y="0"/>
                  </a:lnTo>
                  <a:lnTo>
                    <a:pt x="335" y="2"/>
                  </a:lnTo>
                  <a:lnTo>
                    <a:pt x="342" y="6"/>
                  </a:lnTo>
                  <a:lnTo>
                    <a:pt x="851" y="346"/>
                  </a:lnTo>
                  <a:lnTo>
                    <a:pt x="851" y="465"/>
                  </a:lnTo>
                  <a:lnTo>
                    <a:pt x="415" y="465"/>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20" name="Freeform 668">
              <a:extLst>
                <a:ext uri="{FF2B5EF4-FFF2-40B4-BE49-F238E27FC236}">
                  <a16:creationId xmlns:a16="http://schemas.microsoft.com/office/drawing/2014/main" id="{ACCA233F-AE79-4EA2-A5AD-486F5AFE4677}"/>
                </a:ext>
              </a:extLst>
            </p:cNvPr>
            <p:cNvSpPr>
              <a:spLocks noChangeAspect="1"/>
            </p:cNvSpPr>
            <p:nvPr/>
          </p:nvSpPr>
          <p:spPr bwMode="auto">
            <a:xfrm>
              <a:off x="5265738" y="1455104"/>
              <a:ext cx="163512" cy="173037"/>
            </a:xfrm>
            <a:custGeom>
              <a:avLst/>
              <a:gdLst>
                <a:gd name="T0" fmla="*/ 640 w 981"/>
                <a:gd name="T1" fmla="*/ 768 h 778"/>
                <a:gd name="T2" fmla="*/ 5 w 981"/>
                <a:gd name="T3" fmla="*/ 121 h 778"/>
                <a:gd name="T4" fmla="*/ 0 w 981"/>
                <a:gd name="T5" fmla="*/ 112 h 778"/>
                <a:gd name="T6" fmla="*/ 0 w 981"/>
                <a:gd name="T7" fmla="*/ 102 h 778"/>
                <a:gd name="T8" fmla="*/ 4 w 981"/>
                <a:gd name="T9" fmla="*/ 92 h 778"/>
                <a:gd name="T10" fmla="*/ 13 w 981"/>
                <a:gd name="T11" fmla="*/ 85 h 778"/>
                <a:gd name="T12" fmla="*/ 63 w 981"/>
                <a:gd name="T13" fmla="*/ 59 h 778"/>
                <a:gd name="T14" fmla="*/ 184 w 981"/>
                <a:gd name="T15" fmla="*/ 92 h 778"/>
                <a:gd name="T16" fmla="*/ 188 w 981"/>
                <a:gd name="T17" fmla="*/ 92 h 778"/>
                <a:gd name="T18" fmla="*/ 192 w 981"/>
                <a:gd name="T19" fmla="*/ 92 h 778"/>
                <a:gd name="T20" fmla="*/ 198 w 981"/>
                <a:gd name="T21" fmla="*/ 93 h 778"/>
                <a:gd name="T22" fmla="*/ 203 w 981"/>
                <a:gd name="T23" fmla="*/ 92 h 778"/>
                <a:gd name="T24" fmla="*/ 209 w 981"/>
                <a:gd name="T25" fmla="*/ 91 h 778"/>
                <a:gd name="T26" fmla="*/ 215 w 981"/>
                <a:gd name="T27" fmla="*/ 89 h 778"/>
                <a:gd name="T28" fmla="*/ 219 w 981"/>
                <a:gd name="T29" fmla="*/ 87 h 778"/>
                <a:gd name="T30" fmla="*/ 222 w 981"/>
                <a:gd name="T31" fmla="*/ 84 h 778"/>
                <a:gd name="T32" fmla="*/ 226 w 981"/>
                <a:gd name="T33" fmla="*/ 80 h 778"/>
                <a:gd name="T34" fmla="*/ 228 w 981"/>
                <a:gd name="T35" fmla="*/ 77 h 778"/>
                <a:gd name="T36" fmla="*/ 266 w 981"/>
                <a:gd name="T37" fmla="*/ 0 h 778"/>
                <a:gd name="T38" fmla="*/ 442 w 981"/>
                <a:gd name="T39" fmla="*/ 47 h 778"/>
                <a:gd name="T40" fmla="*/ 974 w 981"/>
                <a:gd name="T41" fmla="*/ 591 h 778"/>
                <a:gd name="T42" fmla="*/ 980 w 981"/>
                <a:gd name="T43" fmla="*/ 601 h 778"/>
                <a:gd name="T44" fmla="*/ 981 w 981"/>
                <a:gd name="T45" fmla="*/ 611 h 778"/>
                <a:gd name="T46" fmla="*/ 975 w 981"/>
                <a:gd name="T47" fmla="*/ 620 h 778"/>
                <a:gd name="T48" fmla="*/ 966 w 981"/>
                <a:gd name="T49" fmla="*/ 627 h 778"/>
                <a:gd name="T50" fmla="*/ 687 w 981"/>
                <a:gd name="T51" fmla="*/ 774 h 778"/>
                <a:gd name="T52" fmla="*/ 675 w 981"/>
                <a:gd name="T53" fmla="*/ 778 h 778"/>
                <a:gd name="T54" fmla="*/ 661 w 981"/>
                <a:gd name="T55" fmla="*/ 778 h 778"/>
                <a:gd name="T56" fmla="*/ 649 w 981"/>
                <a:gd name="T57" fmla="*/ 775 h 778"/>
                <a:gd name="T58" fmla="*/ 640 w 981"/>
                <a:gd name="T59" fmla="*/ 768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1" h="778">
                  <a:moveTo>
                    <a:pt x="640" y="768"/>
                  </a:moveTo>
                  <a:lnTo>
                    <a:pt x="5" y="121"/>
                  </a:lnTo>
                  <a:lnTo>
                    <a:pt x="0" y="112"/>
                  </a:lnTo>
                  <a:lnTo>
                    <a:pt x="0" y="102"/>
                  </a:lnTo>
                  <a:lnTo>
                    <a:pt x="4" y="92"/>
                  </a:lnTo>
                  <a:lnTo>
                    <a:pt x="13" y="85"/>
                  </a:lnTo>
                  <a:lnTo>
                    <a:pt x="63" y="59"/>
                  </a:lnTo>
                  <a:lnTo>
                    <a:pt x="184" y="92"/>
                  </a:lnTo>
                  <a:lnTo>
                    <a:pt x="188" y="92"/>
                  </a:lnTo>
                  <a:lnTo>
                    <a:pt x="192" y="92"/>
                  </a:lnTo>
                  <a:lnTo>
                    <a:pt x="198" y="93"/>
                  </a:lnTo>
                  <a:lnTo>
                    <a:pt x="203" y="92"/>
                  </a:lnTo>
                  <a:lnTo>
                    <a:pt x="209" y="91"/>
                  </a:lnTo>
                  <a:lnTo>
                    <a:pt x="215" y="89"/>
                  </a:lnTo>
                  <a:lnTo>
                    <a:pt x="219" y="87"/>
                  </a:lnTo>
                  <a:lnTo>
                    <a:pt x="222" y="84"/>
                  </a:lnTo>
                  <a:lnTo>
                    <a:pt x="226" y="80"/>
                  </a:lnTo>
                  <a:lnTo>
                    <a:pt x="228" y="77"/>
                  </a:lnTo>
                  <a:lnTo>
                    <a:pt x="266" y="0"/>
                  </a:lnTo>
                  <a:lnTo>
                    <a:pt x="442" y="47"/>
                  </a:lnTo>
                  <a:lnTo>
                    <a:pt x="974" y="591"/>
                  </a:lnTo>
                  <a:lnTo>
                    <a:pt x="980" y="601"/>
                  </a:lnTo>
                  <a:lnTo>
                    <a:pt x="981" y="611"/>
                  </a:lnTo>
                  <a:lnTo>
                    <a:pt x="975" y="620"/>
                  </a:lnTo>
                  <a:lnTo>
                    <a:pt x="966" y="627"/>
                  </a:lnTo>
                  <a:lnTo>
                    <a:pt x="687" y="774"/>
                  </a:lnTo>
                  <a:lnTo>
                    <a:pt x="675" y="778"/>
                  </a:lnTo>
                  <a:lnTo>
                    <a:pt x="661" y="778"/>
                  </a:lnTo>
                  <a:lnTo>
                    <a:pt x="649" y="775"/>
                  </a:lnTo>
                  <a:lnTo>
                    <a:pt x="640" y="768"/>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221" name="Freeform 669">
              <a:extLst>
                <a:ext uri="{FF2B5EF4-FFF2-40B4-BE49-F238E27FC236}">
                  <a16:creationId xmlns:a16="http://schemas.microsoft.com/office/drawing/2014/main" id="{7BED63A5-3CD8-4706-8941-291297A027BE}"/>
                </a:ext>
              </a:extLst>
            </p:cNvPr>
            <p:cNvSpPr>
              <a:spLocks noChangeAspect="1"/>
            </p:cNvSpPr>
            <p:nvPr/>
          </p:nvSpPr>
          <p:spPr bwMode="auto">
            <a:xfrm>
              <a:off x="5265738" y="1455104"/>
              <a:ext cx="163512" cy="173037"/>
            </a:xfrm>
            <a:custGeom>
              <a:avLst/>
              <a:gdLst>
                <a:gd name="T0" fmla="*/ 640 w 981"/>
                <a:gd name="T1" fmla="*/ 768 h 778"/>
                <a:gd name="T2" fmla="*/ 5 w 981"/>
                <a:gd name="T3" fmla="*/ 121 h 778"/>
                <a:gd name="T4" fmla="*/ 0 w 981"/>
                <a:gd name="T5" fmla="*/ 112 h 778"/>
                <a:gd name="T6" fmla="*/ 0 w 981"/>
                <a:gd name="T7" fmla="*/ 102 h 778"/>
                <a:gd name="T8" fmla="*/ 4 w 981"/>
                <a:gd name="T9" fmla="*/ 92 h 778"/>
                <a:gd name="T10" fmla="*/ 13 w 981"/>
                <a:gd name="T11" fmla="*/ 85 h 778"/>
                <a:gd name="T12" fmla="*/ 63 w 981"/>
                <a:gd name="T13" fmla="*/ 59 h 778"/>
                <a:gd name="T14" fmla="*/ 184 w 981"/>
                <a:gd name="T15" fmla="*/ 92 h 778"/>
                <a:gd name="T16" fmla="*/ 188 w 981"/>
                <a:gd name="T17" fmla="*/ 92 h 778"/>
                <a:gd name="T18" fmla="*/ 192 w 981"/>
                <a:gd name="T19" fmla="*/ 92 h 778"/>
                <a:gd name="T20" fmla="*/ 198 w 981"/>
                <a:gd name="T21" fmla="*/ 93 h 778"/>
                <a:gd name="T22" fmla="*/ 203 w 981"/>
                <a:gd name="T23" fmla="*/ 92 h 778"/>
                <a:gd name="T24" fmla="*/ 209 w 981"/>
                <a:gd name="T25" fmla="*/ 91 h 778"/>
                <a:gd name="T26" fmla="*/ 215 w 981"/>
                <a:gd name="T27" fmla="*/ 89 h 778"/>
                <a:gd name="T28" fmla="*/ 219 w 981"/>
                <a:gd name="T29" fmla="*/ 87 h 778"/>
                <a:gd name="T30" fmla="*/ 222 w 981"/>
                <a:gd name="T31" fmla="*/ 84 h 778"/>
                <a:gd name="T32" fmla="*/ 226 w 981"/>
                <a:gd name="T33" fmla="*/ 80 h 778"/>
                <a:gd name="T34" fmla="*/ 228 w 981"/>
                <a:gd name="T35" fmla="*/ 77 h 778"/>
                <a:gd name="T36" fmla="*/ 266 w 981"/>
                <a:gd name="T37" fmla="*/ 0 h 778"/>
                <a:gd name="T38" fmla="*/ 442 w 981"/>
                <a:gd name="T39" fmla="*/ 47 h 778"/>
                <a:gd name="T40" fmla="*/ 974 w 981"/>
                <a:gd name="T41" fmla="*/ 591 h 778"/>
                <a:gd name="T42" fmla="*/ 980 w 981"/>
                <a:gd name="T43" fmla="*/ 601 h 778"/>
                <a:gd name="T44" fmla="*/ 981 w 981"/>
                <a:gd name="T45" fmla="*/ 611 h 778"/>
                <a:gd name="T46" fmla="*/ 975 w 981"/>
                <a:gd name="T47" fmla="*/ 620 h 778"/>
                <a:gd name="T48" fmla="*/ 966 w 981"/>
                <a:gd name="T49" fmla="*/ 627 h 778"/>
                <a:gd name="T50" fmla="*/ 687 w 981"/>
                <a:gd name="T51" fmla="*/ 774 h 778"/>
                <a:gd name="T52" fmla="*/ 675 w 981"/>
                <a:gd name="T53" fmla="*/ 778 h 778"/>
                <a:gd name="T54" fmla="*/ 661 w 981"/>
                <a:gd name="T55" fmla="*/ 778 h 778"/>
                <a:gd name="T56" fmla="*/ 649 w 981"/>
                <a:gd name="T57" fmla="*/ 775 h 778"/>
                <a:gd name="T58" fmla="*/ 640 w 981"/>
                <a:gd name="T59" fmla="*/ 768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1" h="778">
                  <a:moveTo>
                    <a:pt x="640" y="768"/>
                  </a:moveTo>
                  <a:lnTo>
                    <a:pt x="5" y="121"/>
                  </a:lnTo>
                  <a:lnTo>
                    <a:pt x="0" y="112"/>
                  </a:lnTo>
                  <a:lnTo>
                    <a:pt x="0" y="102"/>
                  </a:lnTo>
                  <a:lnTo>
                    <a:pt x="4" y="92"/>
                  </a:lnTo>
                  <a:lnTo>
                    <a:pt x="13" y="85"/>
                  </a:lnTo>
                  <a:lnTo>
                    <a:pt x="63" y="59"/>
                  </a:lnTo>
                  <a:lnTo>
                    <a:pt x="184" y="92"/>
                  </a:lnTo>
                  <a:lnTo>
                    <a:pt x="188" y="92"/>
                  </a:lnTo>
                  <a:lnTo>
                    <a:pt x="192" y="92"/>
                  </a:lnTo>
                  <a:lnTo>
                    <a:pt x="198" y="93"/>
                  </a:lnTo>
                  <a:lnTo>
                    <a:pt x="203" y="92"/>
                  </a:lnTo>
                  <a:lnTo>
                    <a:pt x="209" y="91"/>
                  </a:lnTo>
                  <a:lnTo>
                    <a:pt x="215" y="89"/>
                  </a:lnTo>
                  <a:lnTo>
                    <a:pt x="219" y="87"/>
                  </a:lnTo>
                  <a:lnTo>
                    <a:pt x="222" y="84"/>
                  </a:lnTo>
                  <a:lnTo>
                    <a:pt x="226" y="80"/>
                  </a:lnTo>
                  <a:lnTo>
                    <a:pt x="228" y="77"/>
                  </a:lnTo>
                  <a:lnTo>
                    <a:pt x="266" y="0"/>
                  </a:lnTo>
                  <a:lnTo>
                    <a:pt x="442" y="47"/>
                  </a:lnTo>
                  <a:lnTo>
                    <a:pt x="974" y="591"/>
                  </a:lnTo>
                  <a:lnTo>
                    <a:pt x="980" y="601"/>
                  </a:lnTo>
                  <a:lnTo>
                    <a:pt x="981" y="611"/>
                  </a:lnTo>
                  <a:lnTo>
                    <a:pt x="975" y="620"/>
                  </a:lnTo>
                  <a:lnTo>
                    <a:pt x="966" y="627"/>
                  </a:lnTo>
                  <a:lnTo>
                    <a:pt x="687" y="774"/>
                  </a:lnTo>
                  <a:lnTo>
                    <a:pt x="675" y="778"/>
                  </a:lnTo>
                  <a:lnTo>
                    <a:pt x="661" y="778"/>
                  </a:lnTo>
                  <a:lnTo>
                    <a:pt x="649" y="775"/>
                  </a:lnTo>
                  <a:lnTo>
                    <a:pt x="640" y="768"/>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22" name="Freeform 670">
              <a:extLst>
                <a:ext uri="{FF2B5EF4-FFF2-40B4-BE49-F238E27FC236}">
                  <a16:creationId xmlns:a16="http://schemas.microsoft.com/office/drawing/2014/main" id="{9091C642-2503-4B13-A15B-BD4E7911F4D5}"/>
                </a:ext>
              </a:extLst>
            </p:cNvPr>
            <p:cNvSpPr>
              <a:spLocks noChangeAspect="1"/>
            </p:cNvSpPr>
            <p:nvPr/>
          </p:nvSpPr>
          <p:spPr bwMode="auto">
            <a:xfrm>
              <a:off x="5211764" y="1413829"/>
              <a:ext cx="96837" cy="58737"/>
            </a:xfrm>
            <a:custGeom>
              <a:avLst/>
              <a:gdLst>
                <a:gd name="T0" fmla="*/ 479 w 573"/>
                <a:gd name="T1" fmla="*/ 259 h 260"/>
                <a:gd name="T2" fmla="*/ 22 w 573"/>
                <a:gd name="T3" fmla="*/ 135 h 260"/>
                <a:gd name="T4" fmla="*/ 13 w 573"/>
                <a:gd name="T5" fmla="*/ 131 h 260"/>
                <a:gd name="T6" fmla="*/ 5 w 573"/>
                <a:gd name="T7" fmla="*/ 125 h 260"/>
                <a:gd name="T8" fmla="*/ 1 w 573"/>
                <a:gd name="T9" fmla="*/ 118 h 260"/>
                <a:gd name="T10" fmla="*/ 0 w 573"/>
                <a:gd name="T11" fmla="*/ 111 h 260"/>
                <a:gd name="T12" fmla="*/ 2 w 573"/>
                <a:gd name="T13" fmla="*/ 103 h 260"/>
                <a:gd name="T14" fmla="*/ 52 w 573"/>
                <a:gd name="T15" fmla="*/ 0 h 260"/>
                <a:gd name="T16" fmla="*/ 573 w 573"/>
                <a:gd name="T17" fmla="*/ 141 h 260"/>
                <a:gd name="T18" fmla="*/ 523 w 573"/>
                <a:gd name="T19" fmla="*/ 244 h 260"/>
                <a:gd name="T20" fmla="*/ 518 w 573"/>
                <a:gd name="T21" fmla="*/ 251 h 260"/>
                <a:gd name="T22" fmla="*/ 509 w 573"/>
                <a:gd name="T23" fmla="*/ 256 h 260"/>
                <a:gd name="T24" fmla="*/ 500 w 573"/>
                <a:gd name="T25" fmla="*/ 259 h 260"/>
                <a:gd name="T26" fmla="*/ 490 w 573"/>
                <a:gd name="T27" fmla="*/ 260 h 260"/>
                <a:gd name="T28" fmla="*/ 479 w 573"/>
                <a:gd name="T29" fmla="*/ 25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3" h="260">
                  <a:moveTo>
                    <a:pt x="479" y="259"/>
                  </a:moveTo>
                  <a:lnTo>
                    <a:pt x="22" y="135"/>
                  </a:lnTo>
                  <a:lnTo>
                    <a:pt x="13" y="131"/>
                  </a:lnTo>
                  <a:lnTo>
                    <a:pt x="5" y="125"/>
                  </a:lnTo>
                  <a:lnTo>
                    <a:pt x="1" y="118"/>
                  </a:lnTo>
                  <a:lnTo>
                    <a:pt x="0" y="111"/>
                  </a:lnTo>
                  <a:lnTo>
                    <a:pt x="2" y="103"/>
                  </a:lnTo>
                  <a:lnTo>
                    <a:pt x="52" y="0"/>
                  </a:lnTo>
                  <a:lnTo>
                    <a:pt x="573" y="141"/>
                  </a:lnTo>
                  <a:lnTo>
                    <a:pt x="523" y="244"/>
                  </a:lnTo>
                  <a:lnTo>
                    <a:pt x="518" y="251"/>
                  </a:lnTo>
                  <a:lnTo>
                    <a:pt x="509" y="256"/>
                  </a:lnTo>
                  <a:lnTo>
                    <a:pt x="500" y="259"/>
                  </a:lnTo>
                  <a:lnTo>
                    <a:pt x="490" y="260"/>
                  </a:lnTo>
                  <a:lnTo>
                    <a:pt x="479" y="259"/>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223" name="Freeform 671">
              <a:extLst>
                <a:ext uri="{FF2B5EF4-FFF2-40B4-BE49-F238E27FC236}">
                  <a16:creationId xmlns:a16="http://schemas.microsoft.com/office/drawing/2014/main" id="{446AA929-468C-4AFB-A5D0-BAB7DCBAB12D}"/>
                </a:ext>
              </a:extLst>
            </p:cNvPr>
            <p:cNvSpPr>
              <a:spLocks noChangeAspect="1"/>
            </p:cNvSpPr>
            <p:nvPr/>
          </p:nvSpPr>
          <p:spPr bwMode="auto">
            <a:xfrm>
              <a:off x="5211764" y="1413829"/>
              <a:ext cx="96837" cy="58737"/>
            </a:xfrm>
            <a:custGeom>
              <a:avLst/>
              <a:gdLst>
                <a:gd name="T0" fmla="*/ 479 w 573"/>
                <a:gd name="T1" fmla="*/ 259 h 260"/>
                <a:gd name="T2" fmla="*/ 22 w 573"/>
                <a:gd name="T3" fmla="*/ 135 h 260"/>
                <a:gd name="T4" fmla="*/ 13 w 573"/>
                <a:gd name="T5" fmla="*/ 131 h 260"/>
                <a:gd name="T6" fmla="*/ 5 w 573"/>
                <a:gd name="T7" fmla="*/ 125 h 260"/>
                <a:gd name="T8" fmla="*/ 1 w 573"/>
                <a:gd name="T9" fmla="*/ 118 h 260"/>
                <a:gd name="T10" fmla="*/ 0 w 573"/>
                <a:gd name="T11" fmla="*/ 111 h 260"/>
                <a:gd name="T12" fmla="*/ 2 w 573"/>
                <a:gd name="T13" fmla="*/ 103 h 260"/>
                <a:gd name="T14" fmla="*/ 52 w 573"/>
                <a:gd name="T15" fmla="*/ 0 h 260"/>
                <a:gd name="T16" fmla="*/ 573 w 573"/>
                <a:gd name="T17" fmla="*/ 141 h 260"/>
                <a:gd name="T18" fmla="*/ 523 w 573"/>
                <a:gd name="T19" fmla="*/ 244 h 260"/>
                <a:gd name="T20" fmla="*/ 518 w 573"/>
                <a:gd name="T21" fmla="*/ 251 h 260"/>
                <a:gd name="T22" fmla="*/ 509 w 573"/>
                <a:gd name="T23" fmla="*/ 256 h 260"/>
                <a:gd name="T24" fmla="*/ 500 w 573"/>
                <a:gd name="T25" fmla="*/ 259 h 260"/>
                <a:gd name="T26" fmla="*/ 490 w 573"/>
                <a:gd name="T27" fmla="*/ 260 h 260"/>
                <a:gd name="T28" fmla="*/ 479 w 573"/>
                <a:gd name="T29" fmla="*/ 25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3" h="260">
                  <a:moveTo>
                    <a:pt x="479" y="259"/>
                  </a:moveTo>
                  <a:lnTo>
                    <a:pt x="22" y="135"/>
                  </a:lnTo>
                  <a:lnTo>
                    <a:pt x="13" y="131"/>
                  </a:lnTo>
                  <a:lnTo>
                    <a:pt x="5" y="125"/>
                  </a:lnTo>
                  <a:lnTo>
                    <a:pt x="1" y="118"/>
                  </a:lnTo>
                  <a:lnTo>
                    <a:pt x="0" y="111"/>
                  </a:lnTo>
                  <a:lnTo>
                    <a:pt x="2" y="103"/>
                  </a:lnTo>
                  <a:lnTo>
                    <a:pt x="52" y="0"/>
                  </a:lnTo>
                  <a:lnTo>
                    <a:pt x="573" y="141"/>
                  </a:lnTo>
                  <a:lnTo>
                    <a:pt x="523" y="244"/>
                  </a:lnTo>
                  <a:lnTo>
                    <a:pt x="518" y="251"/>
                  </a:lnTo>
                  <a:lnTo>
                    <a:pt x="509" y="256"/>
                  </a:lnTo>
                  <a:lnTo>
                    <a:pt x="500" y="259"/>
                  </a:lnTo>
                  <a:lnTo>
                    <a:pt x="490" y="260"/>
                  </a:lnTo>
                  <a:lnTo>
                    <a:pt x="479" y="25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24" name="Freeform 672">
              <a:extLst>
                <a:ext uri="{FF2B5EF4-FFF2-40B4-BE49-F238E27FC236}">
                  <a16:creationId xmlns:a16="http://schemas.microsoft.com/office/drawing/2014/main" id="{A0873D93-51EB-4065-B084-AABD4FC1B9E2}"/>
                </a:ext>
              </a:extLst>
            </p:cNvPr>
            <p:cNvSpPr>
              <a:spLocks noChangeAspect="1"/>
            </p:cNvSpPr>
            <p:nvPr/>
          </p:nvSpPr>
          <p:spPr bwMode="auto">
            <a:xfrm>
              <a:off x="5121276" y="1382078"/>
              <a:ext cx="98425" cy="57150"/>
            </a:xfrm>
            <a:custGeom>
              <a:avLst/>
              <a:gdLst>
                <a:gd name="T0" fmla="*/ 478 w 572"/>
                <a:gd name="T1" fmla="*/ 259 h 260"/>
                <a:gd name="T2" fmla="*/ 23 w 572"/>
                <a:gd name="T3" fmla="*/ 135 h 260"/>
                <a:gd name="T4" fmla="*/ 11 w 572"/>
                <a:gd name="T5" fmla="*/ 130 h 260"/>
                <a:gd name="T6" fmla="*/ 3 w 572"/>
                <a:gd name="T7" fmla="*/ 122 h 260"/>
                <a:gd name="T8" fmla="*/ 0 w 572"/>
                <a:gd name="T9" fmla="*/ 113 h 260"/>
                <a:gd name="T10" fmla="*/ 2 w 572"/>
                <a:gd name="T11" fmla="*/ 102 h 260"/>
                <a:gd name="T12" fmla="*/ 52 w 572"/>
                <a:gd name="T13" fmla="*/ 0 h 260"/>
                <a:gd name="T14" fmla="*/ 572 w 572"/>
                <a:gd name="T15" fmla="*/ 140 h 260"/>
                <a:gd name="T16" fmla="*/ 522 w 572"/>
                <a:gd name="T17" fmla="*/ 243 h 260"/>
                <a:gd name="T18" fmla="*/ 515 w 572"/>
                <a:gd name="T19" fmla="*/ 252 h 260"/>
                <a:gd name="T20" fmla="*/ 504 w 572"/>
                <a:gd name="T21" fmla="*/ 258 h 260"/>
                <a:gd name="T22" fmla="*/ 492 w 572"/>
                <a:gd name="T23" fmla="*/ 260 h 260"/>
                <a:gd name="T24" fmla="*/ 478 w 572"/>
                <a:gd name="T25" fmla="*/ 25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2" h="260">
                  <a:moveTo>
                    <a:pt x="478" y="259"/>
                  </a:moveTo>
                  <a:lnTo>
                    <a:pt x="23" y="135"/>
                  </a:lnTo>
                  <a:lnTo>
                    <a:pt x="11" y="130"/>
                  </a:lnTo>
                  <a:lnTo>
                    <a:pt x="3" y="122"/>
                  </a:lnTo>
                  <a:lnTo>
                    <a:pt x="0" y="113"/>
                  </a:lnTo>
                  <a:lnTo>
                    <a:pt x="2" y="102"/>
                  </a:lnTo>
                  <a:lnTo>
                    <a:pt x="52" y="0"/>
                  </a:lnTo>
                  <a:lnTo>
                    <a:pt x="572" y="140"/>
                  </a:lnTo>
                  <a:lnTo>
                    <a:pt x="522" y="243"/>
                  </a:lnTo>
                  <a:lnTo>
                    <a:pt x="515" y="252"/>
                  </a:lnTo>
                  <a:lnTo>
                    <a:pt x="504" y="258"/>
                  </a:lnTo>
                  <a:lnTo>
                    <a:pt x="492" y="260"/>
                  </a:lnTo>
                  <a:lnTo>
                    <a:pt x="478" y="259"/>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225" name="Freeform 673">
              <a:extLst>
                <a:ext uri="{FF2B5EF4-FFF2-40B4-BE49-F238E27FC236}">
                  <a16:creationId xmlns:a16="http://schemas.microsoft.com/office/drawing/2014/main" id="{7DB67D70-56DE-4565-87A1-C30B225C8968}"/>
                </a:ext>
              </a:extLst>
            </p:cNvPr>
            <p:cNvSpPr>
              <a:spLocks noChangeAspect="1"/>
            </p:cNvSpPr>
            <p:nvPr/>
          </p:nvSpPr>
          <p:spPr bwMode="auto">
            <a:xfrm>
              <a:off x="5121276" y="1382078"/>
              <a:ext cx="98425" cy="57150"/>
            </a:xfrm>
            <a:custGeom>
              <a:avLst/>
              <a:gdLst>
                <a:gd name="T0" fmla="*/ 478 w 572"/>
                <a:gd name="T1" fmla="*/ 259 h 260"/>
                <a:gd name="T2" fmla="*/ 23 w 572"/>
                <a:gd name="T3" fmla="*/ 135 h 260"/>
                <a:gd name="T4" fmla="*/ 11 w 572"/>
                <a:gd name="T5" fmla="*/ 130 h 260"/>
                <a:gd name="T6" fmla="*/ 3 w 572"/>
                <a:gd name="T7" fmla="*/ 122 h 260"/>
                <a:gd name="T8" fmla="*/ 0 w 572"/>
                <a:gd name="T9" fmla="*/ 113 h 260"/>
                <a:gd name="T10" fmla="*/ 2 w 572"/>
                <a:gd name="T11" fmla="*/ 102 h 260"/>
                <a:gd name="T12" fmla="*/ 52 w 572"/>
                <a:gd name="T13" fmla="*/ 0 h 260"/>
                <a:gd name="T14" fmla="*/ 572 w 572"/>
                <a:gd name="T15" fmla="*/ 140 h 260"/>
                <a:gd name="T16" fmla="*/ 522 w 572"/>
                <a:gd name="T17" fmla="*/ 243 h 260"/>
                <a:gd name="T18" fmla="*/ 515 w 572"/>
                <a:gd name="T19" fmla="*/ 252 h 260"/>
                <a:gd name="T20" fmla="*/ 504 w 572"/>
                <a:gd name="T21" fmla="*/ 258 h 260"/>
                <a:gd name="T22" fmla="*/ 492 w 572"/>
                <a:gd name="T23" fmla="*/ 260 h 260"/>
                <a:gd name="T24" fmla="*/ 478 w 572"/>
                <a:gd name="T25" fmla="*/ 25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2" h="260">
                  <a:moveTo>
                    <a:pt x="478" y="259"/>
                  </a:moveTo>
                  <a:lnTo>
                    <a:pt x="23" y="135"/>
                  </a:lnTo>
                  <a:lnTo>
                    <a:pt x="11" y="130"/>
                  </a:lnTo>
                  <a:lnTo>
                    <a:pt x="3" y="122"/>
                  </a:lnTo>
                  <a:lnTo>
                    <a:pt x="0" y="113"/>
                  </a:lnTo>
                  <a:lnTo>
                    <a:pt x="2" y="102"/>
                  </a:lnTo>
                  <a:lnTo>
                    <a:pt x="52" y="0"/>
                  </a:lnTo>
                  <a:lnTo>
                    <a:pt x="572" y="140"/>
                  </a:lnTo>
                  <a:lnTo>
                    <a:pt x="522" y="243"/>
                  </a:lnTo>
                  <a:lnTo>
                    <a:pt x="515" y="252"/>
                  </a:lnTo>
                  <a:lnTo>
                    <a:pt x="504" y="258"/>
                  </a:lnTo>
                  <a:lnTo>
                    <a:pt x="492" y="260"/>
                  </a:lnTo>
                  <a:lnTo>
                    <a:pt x="478" y="25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26" name="Freeform 674">
              <a:extLst>
                <a:ext uri="{FF2B5EF4-FFF2-40B4-BE49-F238E27FC236}">
                  <a16:creationId xmlns:a16="http://schemas.microsoft.com/office/drawing/2014/main" id="{5CDA1FA6-C96C-494F-B06D-7A432BA20DB9}"/>
                </a:ext>
              </a:extLst>
            </p:cNvPr>
            <p:cNvSpPr>
              <a:spLocks noChangeAspect="1"/>
            </p:cNvSpPr>
            <p:nvPr/>
          </p:nvSpPr>
          <p:spPr bwMode="auto">
            <a:xfrm>
              <a:off x="4943476" y="1316991"/>
              <a:ext cx="187325" cy="92075"/>
            </a:xfrm>
            <a:custGeom>
              <a:avLst/>
              <a:gdLst>
                <a:gd name="T0" fmla="*/ 1030 w 1105"/>
                <a:gd name="T1" fmla="*/ 406 h 407"/>
                <a:gd name="T2" fmla="*/ 110 w 1105"/>
                <a:gd name="T3" fmla="*/ 134 h 407"/>
                <a:gd name="T4" fmla="*/ 103 w 1105"/>
                <a:gd name="T5" fmla="*/ 127 h 407"/>
                <a:gd name="T6" fmla="*/ 92 w 1105"/>
                <a:gd name="T7" fmla="*/ 110 h 407"/>
                <a:gd name="T8" fmla="*/ 91 w 1105"/>
                <a:gd name="T9" fmla="*/ 108 h 407"/>
                <a:gd name="T10" fmla="*/ 79 w 1105"/>
                <a:gd name="T11" fmla="*/ 94 h 407"/>
                <a:gd name="T12" fmla="*/ 56 w 1105"/>
                <a:gd name="T13" fmla="*/ 82 h 407"/>
                <a:gd name="T14" fmla="*/ 9 w 1105"/>
                <a:gd name="T15" fmla="*/ 66 h 407"/>
                <a:gd name="T16" fmla="*/ 4 w 1105"/>
                <a:gd name="T17" fmla="*/ 64 h 407"/>
                <a:gd name="T18" fmla="*/ 0 w 1105"/>
                <a:gd name="T19" fmla="*/ 60 h 407"/>
                <a:gd name="T20" fmla="*/ 0 w 1105"/>
                <a:gd name="T21" fmla="*/ 55 h 407"/>
                <a:gd name="T22" fmla="*/ 4 w 1105"/>
                <a:gd name="T23" fmla="*/ 51 h 407"/>
                <a:gd name="T24" fmla="*/ 56 w 1105"/>
                <a:gd name="T25" fmla="*/ 0 h 407"/>
                <a:gd name="T26" fmla="*/ 1105 w 1105"/>
                <a:gd name="T27" fmla="*/ 283 h 407"/>
                <a:gd name="T28" fmla="*/ 1048 w 1105"/>
                <a:gd name="T29" fmla="*/ 401 h 407"/>
                <a:gd name="T30" fmla="*/ 1044 w 1105"/>
                <a:gd name="T31" fmla="*/ 404 h 407"/>
                <a:gd name="T32" fmla="*/ 1040 w 1105"/>
                <a:gd name="T33" fmla="*/ 406 h 407"/>
                <a:gd name="T34" fmla="*/ 1035 w 1105"/>
                <a:gd name="T35" fmla="*/ 407 h 407"/>
                <a:gd name="T36" fmla="*/ 1030 w 1105"/>
                <a:gd name="T37" fmla="*/ 40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5" h="407">
                  <a:moveTo>
                    <a:pt x="1030" y="406"/>
                  </a:moveTo>
                  <a:lnTo>
                    <a:pt x="110" y="134"/>
                  </a:lnTo>
                  <a:lnTo>
                    <a:pt x="103" y="127"/>
                  </a:lnTo>
                  <a:lnTo>
                    <a:pt x="92" y="110"/>
                  </a:lnTo>
                  <a:lnTo>
                    <a:pt x="91" y="108"/>
                  </a:lnTo>
                  <a:lnTo>
                    <a:pt x="79" y="94"/>
                  </a:lnTo>
                  <a:lnTo>
                    <a:pt x="56" y="82"/>
                  </a:lnTo>
                  <a:lnTo>
                    <a:pt x="9" y="66"/>
                  </a:lnTo>
                  <a:lnTo>
                    <a:pt x="4" y="64"/>
                  </a:lnTo>
                  <a:lnTo>
                    <a:pt x="0" y="60"/>
                  </a:lnTo>
                  <a:lnTo>
                    <a:pt x="0" y="55"/>
                  </a:lnTo>
                  <a:lnTo>
                    <a:pt x="4" y="51"/>
                  </a:lnTo>
                  <a:lnTo>
                    <a:pt x="56" y="0"/>
                  </a:lnTo>
                  <a:lnTo>
                    <a:pt x="1105" y="283"/>
                  </a:lnTo>
                  <a:lnTo>
                    <a:pt x="1048" y="401"/>
                  </a:lnTo>
                  <a:lnTo>
                    <a:pt x="1044" y="404"/>
                  </a:lnTo>
                  <a:lnTo>
                    <a:pt x="1040" y="406"/>
                  </a:lnTo>
                  <a:lnTo>
                    <a:pt x="1035" y="407"/>
                  </a:lnTo>
                  <a:lnTo>
                    <a:pt x="1030" y="406"/>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227" name="Freeform 675">
              <a:extLst>
                <a:ext uri="{FF2B5EF4-FFF2-40B4-BE49-F238E27FC236}">
                  <a16:creationId xmlns:a16="http://schemas.microsoft.com/office/drawing/2014/main" id="{DED1FEF1-3E10-481A-B9AA-20D2899938E1}"/>
                </a:ext>
              </a:extLst>
            </p:cNvPr>
            <p:cNvSpPr>
              <a:spLocks noChangeAspect="1"/>
            </p:cNvSpPr>
            <p:nvPr/>
          </p:nvSpPr>
          <p:spPr bwMode="auto">
            <a:xfrm>
              <a:off x="4943476" y="1316991"/>
              <a:ext cx="187325" cy="92075"/>
            </a:xfrm>
            <a:custGeom>
              <a:avLst/>
              <a:gdLst>
                <a:gd name="T0" fmla="*/ 1030 w 1105"/>
                <a:gd name="T1" fmla="*/ 406 h 407"/>
                <a:gd name="T2" fmla="*/ 110 w 1105"/>
                <a:gd name="T3" fmla="*/ 134 h 407"/>
                <a:gd name="T4" fmla="*/ 103 w 1105"/>
                <a:gd name="T5" fmla="*/ 127 h 407"/>
                <a:gd name="T6" fmla="*/ 92 w 1105"/>
                <a:gd name="T7" fmla="*/ 110 h 407"/>
                <a:gd name="T8" fmla="*/ 91 w 1105"/>
                <a:gd name="T9" fmla="*/ 108 h 407"/>
                <a:gd name="T10" fmla="*/ 79 w 1105"/>
                <a:gd name="T11" fmla="*/ 94 h 407"/>
                <a:gd name="T12" fmla="*/ 56 w 1105"/>
                <a:gd name="T13" fmla="*/ 82 h 407"/>
                <a:gd name="T14" fmla="*/ 9 w 1105"/>
                <a:gd name="T15" fmla="*/ 66 h 407"/>
                <a:gd name="T16" fmla="*/ 4 w 1105"/>
                <a:gd name="T17" fmla="*/ 64 h 407"/>
                <a:gd name="T18" fmla="*/ 0 w 1105"/>
                <a:gd name="T19" fmla="*/ 60 h 407"/>
                <a:gd name="T20" fmla="*/ 0 w 1105"/>
                <a:gd name="T21" fmla="*/ 55 h 407"/>
                <a:gd name="T22" fmla="*/ 4 w 1105"/>
                <a:gd name="T23" fmla="*/ 51 h 407"/>
                <a:gd name="T24" fmla="*/ 56 w 1105"/>
                <a:gd name="T25" fmla="*/ 0 h 407"/>
                <a:gd name="T26" fmla="*/ 1105 w 1105"/>
                <a:gd name="T27" fmla="*/ 283 h 407"/>
                <a:gd name="T28" fmla="*/ 1048 w 1105"/>
                <a:gd name="T29" fmla="*/ 401 h 407"/>
                <a:gd name="T30" fmla="*/ 1044 w 1105"/>
                <a:gd name="T31" fmla="*/ 404 h 407"/>
                <a:gd name="T32" fmla="*/ 1040 w 1105"/>
                <a:gd name="T33" fmla="*/ 406 h 407"/>
                <a:gd name="T34" fmla="*/ 1035 w 1105"/>
                <a:gd name="T35" fmla="*/ 407 h 407"/>
                <a:gd name="T36" fmla="*/ 1030 w 1105"/>
                <a:gd name="T37" fmla="*/ 40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5" h="407">
                  <a:moveTo>
                    <a:pt x="1030" y="406"/>
                  </a:moveTo>
                  <a:lnTo>
                    <a:pt x="110" y="134"/>
                  </a:lnTo>
                  <a:lnTo>
                    <a:pt x="103" y="127"/>
                  </a:lnTo>
                  <a:lnTo>
                    <a:pt x="92" y="110"/>
                  </a:lnTo>
                  <a:lnTo>
                    <a:pt x="91" y="108"/>
                  </a:lnTo>
                  <a:lnTo>
                    <a:pt x="79" y="94"/>
                  </a:lnTo>
                  <a:lnTo>
                    <a:pt x="56" y="82"/>
                  </a:lnTo>
                  <a:lnTo>
                    <a:pt x="9" y="66"/>
                  </a:lnTo>
                  <a:lnTo>
                    <a:pt x="4" y="64"/>
                  </a:lnTo>
                  <a:lnTo>
                    <a:pt x="0" y="60"/>
                  </a:lnTo>
                  <a:lnTo>
                    <a:pt x="0" y="55"/>
                  </a:lnTo>
                  <a:lnTo>
                    <a:pt x="4" y="51"/>
                  </a:lnTo>
                  <a:lnTo>
                    <a:pt x="56" y="0"/>
                  </a:lnTo>
                  <a:lnTo>
                    <a:pt x="1105" y="283"/>
                  </a:lnTo>
                  <a:lnTo>
                    <a:pt x="1048" y="401"/>
                  </a:lnTo>
                  <a:lnTo>
                    <a:pt x="1044" y="404"/>
                  </a:lnTo>
                  <a:lnTo>
                    <a:pt x="1040" y="406"/>
                  </a:lnTo>
                  <a:lnTo>
                    <a:pt x="1035" y="407"/>
                  </a:lnTo>
                  <a:lnTo>
                    <a:pt x="1030" y="406"/>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28" name="Freeform 676">
              <a:extLst>
                <a:ext uri="{FF2B5EF4-FFF2-40B4-BE49-F238E27FC236}">
                  <a16:creationId xmlns:a16="http://schemas.microsoft.com/office/drawing/2014/main" id="{991A7C20-43DC-48D0-878F-7BAD5E07237C}"/>
                </a:ext>
              </a:extLst>
            </p:cNvPr>
            <p:cNvSpPr>
              <a:spLocks noChangeAspect="1"/>
            </p:cNvSpPr>
            <p:nvPr/>
          </p:nvSpPr>
          <p:spPr bwMode="auto">
            <a:xfrm>
              <a:off x="4476750" y="1980565"/>
              <a:ext cx="1276350" cy="1441450"/>
            </a:xfrm>
            <a:custGeom>
              <a:avLst/>
              <a:gdLst>
                <a:gd name="T0" fmla="*/ 2567 w 7572"/>
                <a:gd name="T1" fmla="*/ 6289 h 6403"/>
                <a:gd name="T2" fmla="*/ 2134 w 7572"/>
                <a:gd name="T3" fmla="*/ 6149 h 6403"/>
                <a:gd name="T4" fmla="*/ 1860 w 7572"/>
                <a:gd name="T5" fmla="*/ 6025 h 6403"/>
                <a:gd name="T6" fmla="*/ 1587 w 7572"/>
                <a:gd name="T7" fmla="*/ 5868 h 6403"/>
                <a:gd name="T8" fmla="*/ 1310 w 7572"/>
                <a:gd name="T9" fmla="*/ 5679 h 6403"/>
                <a:gd name="T10" fmla="*/ 1040 w 7572"/>
                <a:gd name="T11" fmla="*/ 5457 h 6403"/>
                <a:gd name="T12" fmla="*/ 767 w 7572"/>
                <a:gd name="T13" fmla="*/ 5181 h 6403"/>
                <a:gd name="T14" fmla="*/ 526 w 7572"/>
                <a:gd name="T15" fmla="*/ 4865 h 6403"/>
                <a:gd name="T16" fmla="*/ 394 w 7572"/>
                <a:gd name="T17" fmla="*/ 4661 h 6403"/>
                <a:gd name="T18" fmla="*/ 221 w 7572"/>
                <a:gd name="T19" fmla="*/ 4290 h 6403"/>
                <a:gd name="T20" fmla="*/ 129 w 7572"/>
                <a:gd name="T21" fmla="*/ 4050 h 6403"/>
                <a:gd name="T22" fmla="*/ 34 w 7572"/>
                <a:gd name="T23" fmla="*/ 3644 h 6403"/>
                <a:gd name="T24" fmla="*/ 0 w 7572"/>
                <a:gd name="T25" fmla="*/ 3237 h 6403"/>
                <a:gd name="T26" fmla="*/ 20 w 7572"/>
                <a:gd name="T27" fmla="*/ 2830 h 6403"/>
                <a:gd name="T28" fmla="*/ 96 w 7572"/>
                <a:gd name="T29" fmla="*/ 2423 h 6403"/>
                <a:gd name="T30" fmla="*/ 221 w 7572"/>
                <a:gd name="T31" fmla="*/ 2080 h 6403"/>
                <a:gd name="T32" fmla="*/ 337 w 7572"/>
                <a:gd name="T33" fmla="*/ 1812 h 6403"/>
                <a:gd name="T34" fmla="*/ 493 w 7572"/>
                <a:gd name="T35" fmla="*/ 1557 h 6403"/>
                <a:gd name="T36" fmla="*/ 763 w 7572"/>
                <a:gd name="T37" fmla="*/ 1202 h 6403"/>
                <a:gd name="T38" fmla="*/ 949 w 7572"/>
                <a:gd name="T39" fmla="*/ 998 h 6403"/>
                <a:gd name="T40" fmla="*/ 1178 w 7572"/>
                <a:gd name="T41" fmla="*/ 794 h 6403"/>
                <a:gd name="T42" fmla="*/ 1456 w 7572"/>
                <a:gd name="T43" fmla="*/ 591 h 6403"/>
                <a:gd name="T44" fmla="*/ 1811 w 7572"/>
                <a:gd name="T45" fmla="*/ 387 h 6403"/>
                <a:gd name="T46" fmla="*/ 2134 w 7572"/>
                <a:gd name="T47" fmla="*/ 241 h 6403"/>
                <a:gd name="T48" fmla="*/ 2407 w 7572"/>
                <a:gd name="T49" fmla="*/ 148 h 6403"/>
                <a:gd name="T50" fmla="*/ 2953 w 7572"/>
                <a:gd name="T51" fmla="*/ 30 h 6403"/>
                <a:gd name="T52" fmla="*/ 3499 w 7572"/>
                <a:gd name="T53" fmla="*/ 0 h 6403"/>
                <a:gd name="T54" fmla="*/ 4046 w 7572"/>
                <a:gd name="T55" fmla="*/ 32 h 6403"/>
                <a:gd name="T56" fmla="*/ 4593 w 7572"/>
                <a:gd name="T57" fmla="*/ 133 h 6403"/>
                <a:gd name="T58" fmla="*/ 4865 w 7572"/>
                <a:gd name="T59" fmla="*/ 209 h 6403"/>
                <a:gd name="T60" fmla="*/ 5355 w 7572"/>
                <a:gd name="T61" fmla="*/ 387 h 6403"/>
                <a:gd name="T62" fmla="*/ 5685 w 7572"/>
                <a:gd name="T63" fmla="*/ 538 h 6403"/>
                <a:gd name="T64" fmla="*/ 5959 w 7572"/>
                <a:gd name="T65" fmla="*/ 690 h 6403"/>
                <a:gd name="T66" fmla="*/ 6232 w 7572"/>
                <a:gd name="T67" fmla="*/ 872 h 6403"/>
                <a:gd name="T68" fmla="*/ 6506 w 7572"/>
                <a:gd name="T69" fmla="*/ 1089 h 6403"/>
                <a:gd name="T70" fmla="*/ 6778 w 7572"/>
                <a:gd name="T71" fmla="*/ 1350 h 6403"/>
                <a:gd name="T72" fmla="*/ 7003 w 7572"/>
                <a:gd name="T73" fmla="*/ 1609 h 6403"/>
                <a:gd name="T74" fmla="*/ 7154 w 7572"/>
                <a:gd name="T75" fmla="*/ 1812 h 6403"/>
                <a:gd name="T76" fmla="*/ 7325 w 7572"/>
                <a:gd name="T77" fmla="*/ 2111 h 6403"/>
                <a:gd name="T78" fmla="*/ 7463 w 7572"/>
                <a:gd name="T79" fmla="*/ 2423 h 6403"/>
                <a:gd name="T80" fmla="*/ 7558 w 7572"/>
                <a:gd name="T81" fmla="*/ 2830 h 6403"/>
                <a:gd name="T82" fmla="*/ 7569 w 7572"/>
                <a:gd name="T83" fmla="*/ 3237 h 6403"/>
                <a:gd name="T84" fmla="*/ 7500 w 7572"/>
                <a:gd name="T85" fmla="*/ 3644 h 6403"/>
                <a:gd name="T86" fmla="*/ 7337 w 7572"/>
                <a:gd name="T87" fmla="*/ 4050 h 6403"/>
                <a:gd name="T88" fmla="*/ 7232 w 7572"/>
                <a:gd name="T89" fmla="*/ 4254 h 6403"/>
                <a:gd name="T90" fmla="*/ 7051 w 7572"/>
                <a:gd name="T91" fmla="*/ 4515 h 6403"/>
                <a:gd name="T92" fmla="*/ 6778 w 7572"/>
                <a:gd name="T93" fmla="*/ 4836 h 6403"/>
                <a:gd name="T94" fmla="*/ 6537 w 7572"/>
                <a:gd name="T95" fmla="*/ 5068 h 6403"/>
                <a:gd name="T96" fmla="*/ 6294 w 7572"/>
                <a:gd name="T97" fmla="*/ 5272 h 6403"/>
                <a:gd name="T98" fmla="*/ 6016 w 7572"/>
                <a:gd name="T99" fmla="*/ 5475 h 6403"/>
                <a:gd name="T100" fmla="*/ 5700 w 7572"/>
                <a:gd name="T101" fmla="*/ 5679 h 6403"/>
                <a:gd name="T102" fmla="*/ 5412 w 7572"/>
                <a:gd name="T103" fmla="*/ 5845 h 6403"/>
                <a:gd name="T104" fmla="*/ 5139 w 7572"/>
                <a:gd name="T105" fmla="*/ 5987 h 6403"/>
                <a:gd name="T106" fmla="*/ 4865 w 7572"/>
                <a:gd name="T107" fmla="*/ 6102 h 6403"/>
                <a:gd name="T108" fmla="*/ 4320 w 7572"/>
                <a:gd name="T109" fmla="*/ 6281 h 6403"/>
                <a:gd name="T110" fmla="*/ 4046 w 7572"/>
                <a:gd name="T111" fmla="*/ 6346 h 6403"/>
                <a:gd name="T112" fmla="*/ 3499 w 7572"/>
                <a:gd name="T113" fmla="*/ 6403 h 6403"/>
                <a:gd name="T114" fmla="*/ 2953 w 7572"/>
                <a:gd name="T115" fmla="*/ 6372 h 6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72" h="6403">
                  <a:moveTo>
                    <a:pt x="2679" y="6320"/>
                  </a:moveTo>
                  <a:lnTo>
                    <a:pt x="2567" y="6289"/>
                  </a:lnTo>
                  <a:lnTo>
                    <a:pt x="2407" y="6246"/>
                  </a:lnTo>
                  <a:lnTo>
                    <a:pt x="2134" y="6149"/>
                  </a:lnTo>
                  <a:lnTo>
                    <a:pt x="1994" y="6086"/>
                  </a:lnTo>
                  <a:lnTo>
                    <a:pt x="1860" y="6025"/>
                  </a:lnTo>
                  <a:lnTo>
                    <a:pt x="1612" y="5882"/>
                  </a:lnTo>
                  <a:lnTo>
                    <a:pt x="1587" y="5868"/>
                  </a:lnTo>
                  <a:lnTo>
                    <a:pt x="1313" y="5682"/>
                  </a:lnTo>
                  <a:lnTo>
                    <a:pt x="1310" y="5679"/>
                  </a:lnTo>
                  <a:lnTo>
                    <a:pt x="1061" y="5475"/>
                  </a:lnTo>
                  <a:lnTo>
                    <a:pt x="1040" y="5457"/>
                  </a:lnTo>
                  <a:lnTo>
                    <a:pt x="849" y="5272"/>
                  </a:lnTo>
                  <a:lnTo>
                    <a:pt x="767" y="5181"/>
                  </a:lnTo>
                  <a:lnTo>
                    <a:pt x="671" y="5068"/>
                  </a:lnTo>
                  <a:lnTo>
                    <a:pt x="526" y="4865"/>
                  </a:lnTo>
                  <a:lnTo>
                    <a:pt x="493" y="4815"/>
                  </a:lnTo>
                  <a:lnTo>
                    <a:pt x="394" y="4661"/>
                  </a:lnTo>
                  <a:lnTo>
                    <a:pt x="290" y="4457"/>
                  </a:lnTo>
                  <a:lnTo>
                    <a:pt x="221" y="4290"/>
                  </a:lnTo>
                  <a:lnTo>
                    <a:pt x="205" y="4254"/>
                  </a:lnTo>
                  <a:lnTo>
                    <a:pt x="129" y="4050"/>
                  </a:lnTo>
                  <a:lnTo>
                    <a:pt x="72" y="3847"/>
                  </a:lnTo>
                  <a:lnTo>
                    <a:pt x="34" y="3644"/>
                  </a:lnTo>
                  <a:lnTo>
                    <a:pt x="11" y="3441"/>
                  </a:lnTo>
                  <a:lnTo>
                    <a:pt x="0" y="3237"/>
                  </a:lnTo>
                  <a:lnTo>
                    <a:pt x="3" y="3034"/>
                  </a:lnTo>
                  <a:lnTo>
                    <a:pt x="20" y="2830"/>
                  </a:lnTo>
                  <a:lnTo>
                    <a:pt x="50" y="2626"/>
                  </a:lnTo>
                  <a:lnTo>
                    <a:pt x="96" y="2423"/>
                  </a:lnTo>
                  <a:lnTo>
                    <a:pt x="162" y="2219"/>
                  </a:lnTo>
                  <a:lnTo>
                    <a:pt x="221" y="2080"/>
                  </a:lnTo>
                  <a:lnTo>
                    <a:pt x="246" y="2016"/>
                  </a:lnTo>
                  <a:lnTo>
                    <a:pt x="337" y="1812"/>
                  </a:lnTo>
                  <a:lnTo>
                    <a:pt x="458" y="1609"/>
                  </a:lnTo>
                  <a:lnTo>
                    <a:pt x="493" y="1557"/>
                  </a:lnTo>
                  <a:lnTo>
                    <a:pt x="592" y="1405"/>
                  </a:lnTo>
                  <a:lnTo>
                    <a:pt x="763" y="1202"/>
                  </a:lnTo>
                  <a:lnTo>
                    <a:pt x="767" y="1199"/>
                  </a:lnTo>
                  <a:lnTo>
                    <a:pt x="949" y="998"/>
                  </a:lnTo>
                  <a:lnTo>
                    <a:pt x="1040" y="914"/>
                  </a:lnTo>
                  <a:lnTo>
                    <a:pt x="1178" y="794"/>
                  </a:lnTo>
                  <a:lnTo>
                    <a:pt x="1313" y="690"/>
                  </a:lnTo>
                  <a:lnTo>
                    <a:pt x="1456" y="591"/>
                  </a:lnTo>
                  <a:lnTo>
                    <a:pt x="1587" y="507"/>
                  </a:lnTo>
                  <a:lnTo>
                    <a:pt x="1811" y="387"/>
                  </a:lnTo>
                  <a:lnTo>
                    <a:pt x="1860" y="362"/>
                  </a:lnTo>
                  <a:lnTo>
                    <a:pt x="2134" y="241"/>
                  </a:lnTo>
                  <a:lnTo>
                    <a:pt x="2302" y="184"/>
                  </a:lnTo>
                  <a:lnTo>
                    <a:pt x="2407" y="148"/>
                  </a:lnTo>
                  <a:lnTo>
                    <a:pt x="2679" y="76"/>
                  </a:lnTo>
                  <a:lnTo>
                    <a:pt x="2953" y="30"/>
                  </a:lnTo>
                  <a:lnTo>
                    <a:pt x="3226" y="6"/>
                  </a:lnTo>
                  <a:lnTo>
                    <a:pt x="3499" y="0"/>
                  </a:lnTo>
                  <a:lnTo>
                    <a:pt x="3773" y="9"/>
                  </a:lnTo>
                  <a:lnTo>
                    <a:pt x="4046" y="32"/>
                  </a:lnTo>
                  <a:lnTo>
                    <a:pt x="4320" y="73"/>
                  </a:lnTo>
                  <a:lnTo>
                    <a:pt x="4593" y="133"/>
                  </a:lnTo>
                  <a:lnTo>
                    <a:pt x="4769" y="184"/>
                  </a:lnTo>
                  <a:lnTo>
                    <a:pt x="4865" y="209"/>
                  </a:lnTo>
                  <a:lnTo>
                    <a:pt x="5139" y="296"/>
                  </a:lnTo>
                  <a:lnTo>
                    <a:pt x="5355" y="387"/>
                  </a:lnTo>
                  <a:lnTo>
                    <a:pt x="5412" y="410"/>
                  </a:lnTo>
                  <a:lnTo>
                    <a:pt x="5685" y="538"/>
                  </a:lnTo>
                  <a:lnTo>
                    <a:pt x="5780" y="591"/>
                  </a:lnTo>
                  <a:lnTo>
                    <a:pt x="5959" y="690"/>
                  </a:lnTo>
                  <a:lnTo>
                    <a:pt x="6116" y="794"/>
                  </a:lnTo>
                  <a:lnTo>
                    <a:pt x="6232" y="872"/>
                  </a:lnTo>
                  <a:lnTo>
                    <a:pt x="6394" y="998"/>
                  </a:lnTo>
                  <a:lnTo>
                    <a:pt x="6506" y="1089"/>
                  </a:lnTo>
                  <a:lnTo>
                    <a:pt x="6629" y="1202"/>
                  </a:lnTo>
                  <a:lnTo>
                    <a:pt x="6778" y="1350"/>
                  </a:lnTo>
                  <a:lnTo>
                    <a:pt x="6830" y="1405"/>
                  </a:lnTo>
                  <a:lnTo>
                    <a:pt x="7003" y="1609"/>
                  </a:lnTo>
                  <a:lnTo>
                    <a:pt x="7051" y="1673"/>
                  </a:lnTo>
                  <a:lnTo>
                    <a:pt x="7154" y="1812"/>
                  </a:lnTo>
                  <a:lnTo>
                    <a:pt x="7277" y="2016"/>
                  </a:lnTo>
                  <a:lnTo>
                    <a:pt x="7325" y="2111"/>
                  </a:lnTo>
                  <a:lnTo>
                    <a:pt x="7381" y="2219"/>
                  </a:lnTo>
                  <a:lnTo>
                    <a:pt x="7463" y="2423"/>
                  </a:lnTo>
                  <a:lnTo>
                    <a:pt x="7522" y="2626"/>
                  </a:lnTo>
                  <a:lnTo>
                    <a:pt x="7558" y="2830"/>
                  </a:lnTo>
                  <a:lnTo>
                    <a:pt x="7572" y="3034"/>
                  </a:lnTo>
                  <a:lnTo>
                    <a:pt x="7569" y="3237"/>
                  </a:lnTo>
                  <a:lnTo>
                    <a:pt x="7544" y="3441"/>
                  </a:lnTo>
                  <a:lnTo>
                    <a:pt x="7500" y="3644"/>
                  </a:lnTo>
                  <a:lnTo>
                    <a:pt x="7433" y="3847"/>
                  </a:lnTo>
                  <a:lnTo>
                    <a:pt x="7337" y="4050"/>
                  </a:lnTo>
                  <a:lnTo>
                    <a:pt x="7325" y="4074"/>
                  </a:lnTo>
                  <a:lnTo>
                    <a:pt x="7232" y="4254"/>
                  </a:lnTo>
                  <a:lnTo>
                    <a:pt x="7095" y="4457"/>
                  </a:lnTo>
                  <a:lnTo>
                    <a:pt x="7051" y="4515"/>
                  </a:lnTo>
                  <a:lnTo>
                    <a:pt x="6939" y="4661"/>
                  </a:lnTo>
                  <a:lnTo>
                    <a:pt x="6778" y="4836"/>
                  </a:lnTo>
                  <a:lnTo>
                    <a:pt x="6750" y="4865"/>
                  </a:lnTo>
                  <a:lnTo>
                    <a:pt x="6537" y="5068"/>
                  </a:lnTo>
                  <a:lnTo>
                    <a:pt x="6506" y="5097"/>
                  </a:lnTo>
                  <a:lnTo>
                    <a:pt x="6294" y="5272"/>
                  </a:lnTo>
                  <a:lnTo>
                    <a:pt x="6232" y="5321"/>
                  </a:lnTo>
                  <a:lnTo>
                    <a:pt x="6016" y="5475"/>
                  </a:lnTo>
                  <a:lnTo>
                    <a:pt x="5959" y="5516"/>
                  </a:lnTo>
                  <a:lnTo>
                    <a:pt x="5700" y="5679"/>
                  </a:lnTo>
                  <a:lnTo>
                    <a:pt x="5685" y="5688"/>
                  </a:lnTo>
                  <a:lnTo>
                    <a:pt x="5412" y="5845"/>
                  </a:lnTo>
                  <a:lnTo>
                    <a:pt x="5339" y="5882"/>
                  </a:lnTo>
                  <a:lnTo>
                    <a:pt x="5139" y="5987"/>
                  </a:lnTo>
                  <a:lnTo>
                    <a:pt x="4904" y="6086"/>
                  </a:lnTo>
                  <a:lnTo>
                    <a:pt x="4865" y="6102"/>
                  </a:lnTo>
                  <a:lnTo>
                    <a:pt x="4593" y="6206"/>
                  </a:lnTo>
                  <a:lnTo>
                    <a:pt x="4320" y="6281"/>
                  </a:lnTo>
                  <a:lnTo>
                    <a:pt x="4279" y="6289"/>
                  </a:lnTo>
                  <a:lnTo>
                    <a:pt x="4046" y="6346"/>
                  </a:lnTo>
                  <a:lnTo>
                    <a:pt x="3773" y="6386"/>
                  </a:lnTo>
                  <a:lnTo>
                    <a:pt x="3499" y="6403"/>
                  </a:lnTo>
                  <a:lnTo>
                    <a:pt x="3226" y="6400"/>
                  </a:lnTo>
                  <a:lnTo>
                    <a:pt x="2953" y="6372"/>
                  </a:lnTo>
                  <a:lnTo>
                    <a:pt x="2679" y="6320"/>
                  </a:lnTo>
                </a:path>
              </a:pathLst>
            </a:custGeom>
            <a:noFill/>
            <a:ln w="28575" cmpd="sng">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29" name="Freeform 677">
              <a:extLst>
                <a:ext uri="{FF2B5EF4-FFF2-40B4-BE49-F238E27FC236}">
                  <a16:creationId xmlns:a16="http://schemas.microsoft.com/office/drawing/2014/main" id="{37759803-A653-46DB-82A4-04F8CEE82F30}"/>
                </a:ext>
              </a:extLst>
            </p:cNvPr>
            <p:cNvSpPr>
              <a:spLocks noChangeAspect="1"/>
            </p:cNvSpPr>
            <p:nvPr/>
          </p:nvSpPr>
          <p:spPr bwMode="auto">
            <a:xfrm>
              <a:off x="5184775" y="2680653"/>
              <a:ext cx="52388" cy="63500"/>
            </a:xfrm>
            <a:custGeom>
              <a:avLst/>
              <a:gdLst>
                <a:gd name="T0" fmla="*/ 0 w 307"/>
                <a:gd name="T1" fmla="*/ 140 h 279"/>
                <a:gd name="T2" fmla="*/ 307 w 307"/>
                <a:gd name="T3" fmla="*/ 140 h 279"/>
                <a:gd name="T4" fmla="*/ 154 w 307"/>
                <a:gd name="T5" fmla="*/ 140 h 279"/>
                <a:gd name="T6" fmla="*/ 154 w 307"/>
                <a:gd name="T7" fmla="*/ 0 h 279"/>
                <a:gd name="T8" fmla="*/ 154 w 307"/>
                <a:gd name="T9" fmla="*/ 279 h 279"/>
              </a:gdLst>
              <a:ahLst/>
              <a:cxnLst>
                <a:cxn ang="0">
                  <a:pos x="T0" y="T1"/>
                </a:cxn>
                <a:cxn ang="0">
                  <a:pos x="T2" y="T3"/>
                </a:cxn>
                <a:cxn ang="0">
                  <a:pos x="T4" y="T5"/>
                </a:cxn>
                <a:cxn ang="0">
                  <a:pos x="T6" y="T7"/>
                </a:cxn>
                <a:cxn ang="0">
                  <a:pos x="T8" y="T9"/>
                </a:cxn>
              </a:cxnLst>
              <a:rect l="0" t="0" r="r" b="b"/>
              <a:pathLst>
                <a:path w="307" h="279">
                  <a:moveTo>
                    <a:pt x="0" y="140"/>
                  </a:moveTo>
                  <a:lnTo>
                    <a:pt x="307" y="140"/>
                  </a:lnTo>
                  <a:lnTo>
                    <a:pt x="154" y="140"/>
                  </a:lnTo>
                  <a:lnTo>
                    <a:pt x="154" y="0"/>
                  </a:lnTo>
                  <a:lnTo>
                    <a:pt x="154" y="279"/>
                  </a:lnTo>
                </a:path>
              </a:pathLst>
            </a:custGeom>
            <a:noFill/>
            <a:ln w="3175">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30" name="Freeform 678">
              <a:extLst>
                <a:ext uri="{FF2B5EF4-FFF2-40B4-BE49-F238E27FC236}">
                  <a16:creationId xmlns:a16="http://schemas.microsoft.com/office/drawing/2014/main" id="{C8357755-D961-49FE-A3AD-4E90B4245B55}"/>
                </a:ext>
              </a:extLst>
            </p:cNvPr>
            <p:cNvSpPr>
              <a:spLocks noChangeAspect="1"/>
            </p:cNvSpPr>
            <p:nvPr/>
          </p:nvSpPr>
          <p:spPr bwMode="auto">
            <a:xfrm>
              <a:off x="5184775" y="2680653"/>
              <a:ext cx="52388" cy="63500"/>
            </a:xfrm>
            <a:custGeom>
              <a:avLst/>
              <a:gdLst>
                <a:gd name="T0" fmla="*/ 0 w 307"/>
                <a:gd name="T1" fmla="*/ 140 h 279"/>
                <a:gd name="T2" fmla="*/ 307 w 307"/>
                <a:gd name="T3" fmla="*/ 140 h 279"/>
                <a:gd name="T4" fmla="*/ 154 w 307"/>
                <a:gd name="T5" fmla="*/ 140 h 279"/>
                <a:gd name="T6" fmla="*/ 154 w 307"/>
                <a:gd name="T7" fmla="*/ 0 h 279"/>
                <a:gd name="T8" fmla="*/ 154 w 307"/>
                <a:gd name="T9" fmla="*/ 279 h 279"/>
              </a:gdLst>
              <a:ahLst/>
              <a:cxnLst>
                <a:cxn ang="0">
                  <a:pos x="T0" y="T1"/>
                </a:cxn>
                <a:cxn ang="0">
                  <a:pos x="T2" y="T3"/>
                </a:cxn>
                <a:cxn ang="0">
                  <a:pos x="T4" y="T5"/>
                </a:cxn>
                <a:cxn ang="0">
                  <a:pos x="T6" y="T7"/>
                </a:cxn>
                <a:cxn ang="0">
                  <a:pos x="T8" y="T9"/>
                </a:cxn>
              </a:cxnLst>
              <a:rect l="0" t="0" r="r" b="b"/>
              <a:pathLst>
                <a:path w="307" h="279">
                  <a:moveTo>
                    <a:pt x="0" y="140"/>
                  </a:moveTo>
                  <a:lnTo>
                    <a:pt x="307" y="140"/>
                  </a:lnTo>
                  <a:lnTo>
                    <a:pt x="154" y="140"/>
                  </a:lnTo>
                  <a:lnTo>
                    <a:pt x="154" y="0"/>
                  </a:lnTo>
                  <a:lnTo>
                    <a:pt x="154" y="279"/>
                  </a:lnTo>
                </a:path>
              </a:pathLst>
            </a:custGeom>
            <a:noFill/>
            <a:ln w="3175">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31" name="Freeform 679">
              <a:extLst>
                <a:ext uri="{FF2B5EF4-FFF2-40B4-BE49-F238E27FC236}">
                  <a16:creationId xmlns:a16="http://schemas.microsoft.com/office/drawing/2014/main" id="{465D52FE-641E-496B-84A8-6570E4625B8F}"/>
                </a:ext>
              </a:extLst>
            </p:cNvPr>
            <p:cNvSpPr>
              <a:spLocks noChangeAspect="1"/>
            </p:cNvSpPr>
            <p:nvPr/>
          </p:nvSpPr>
          <p:spPr bwMode="auto">
            <a:xfrm>
              <a:off x="4552950" y="2059941"/>
              <a:ext cx="1155700" cy="1274763"/>
            </a:xfrm>
            <a:custGeom>
              <a:avLst/>
              <a:gdLst>
                <a:gd name="T0" fmla="*/ 2290 w 6845"/>
                <a:gd name="T1" fmla="*/ 5538 h 5670"/>
                <a:gd name="T2" fmla="*/ 1945 w 6845"/>
                <a:gd name="T3" fmla="*/ 5414 h 5670"/>
                <a:gd name="T4" fmla="*/ 1672 w 6845"/>
                <a:gd name="T5" fmla="*/ 5282 h 5670"/>
                <a:gd name="T6" fmla="*/ 1398 w 6845"/>
                <a:gd name="T7" fmla="*/ 5120 h 5670"/>
                <a:gd name="T8" fmla="*/ 1125 w 6845"/>
                <a:gd name="T9" fmla="*/ 4927 h 5670"/>
                <a:gd name="T10" fmla="*/ 851 w 6845"/>
                <a:gd name="T11" fmla="*/ 4690 h 5670"/>
                <a:gd name="T12" fmla="*/ 578 w 6845"/>
                <a:gd name="T13" fmla="*/ 4395 h 5670"/>
                <a:gd name="T14" fmla="*/ 378 w 6845"/>
                <a:gd name="T15" fmla="*/ 4113 h 5670"/>
                <a:gd name="T16" fmla="*/ 263 w 6845"/>
                <a:gd name="T17" fmla="*/ 3910 h 5670"/>
                <a:gd name="T18" fmla="*/ 101 w 6845"/>
                <a:gd name="T19" fmla="*/ 3503 h 5670"/>
                <a:gd name="T20" fmla="*/ 31 w 6845"/>
                <a:gd name="T21" fmla="*/ 3190 h 5670"/>
                <a:gd name="T22" fmla="*/ 0 w 6845"/>
                <a:gd name="T23" fmla="*/ 2893 h 5670"/>
                <a:gd name="T24" fmla="*/ 19 w 6845"/>
                <a:gd name="T25" fmla="*/ 2486 h 5670"/>
                <a:gd name="T26" fmla="*/ 54 w 6845"/>
                <a:gd name="T27" fmla="*/ 2282 h 5670"/>
                <a:gd name="T28" fmla="*/ 173 w 6845"/>
                <a:gd name="T29" fmla="*/ 1875 h 5670"/>
                <a:gd name="T30" fmla="*/ 305 w 6845"/>
                <a:gd name="T31" fmla="*/ 1600 h 5670"/>
                <a:gd name="T32" fmla="*/ 509 w 6845"/>
                <a:gd name="T33" fmla="*/ 1265 h 5670"/>
                <a:gd name="T34" fmla="*/ 673 w 6845"/>
                <a:gd name="T35" fmla="*/ 1061 h 5670"/>
                <a:gd name="T36" fmla="*/ 871 w 6845"/>
                <a:gd name="T37" fmla="*/ 858 h 5670"/>
                <a:gd name="T38" fmla="*/ 1125 w 6845"/>
                <a:gd name="T39" fmla="*/ 643 h 5670"/>
                <a:gd name="T40" fmla="*/ 1413 w 6845"/>
                <a:gd name="T41" fmla="*/ 450 h 5670"/>
                <a:gd name="T42" fmla="*/ 1828 w 6845"/>
                <a:gd name="T43" fmla="*/ 247 h 5670"/>
                <a:gd name="T44" fmla="*/ 2217 w 6845"/>
                <a:gd name="T45" fmla="*/ 115 h 5670"/>
                <a:gd name="T46" fmla="*/ 2589 w 6845"/>
                <a:gd name="T47" fmla="*/ 43 h 5670"/>
                <a:gd name="T48" fmla="*/ 3037 w 6845"/>
                <a:gd name="T49" fmla="*/ 0 h 5670"/>
                <a:gd name="T50" fmla="*/ 3584 w 6845"/>
                <a:gd name="T51" fmla="*/ 18 h 5670"/>
                <a:gd name="T52" fmla="*/ 3858 w 6845"/>
                <a:gd name="T53" fmla="*/ 54 h 5670"/>
                <a:gd name="T54" fmla="*/ 4403 w 6845"/>
                <a:gd name="T55" fmla="*/ 172 h 5670"/>
                <a:gd name="T56" fmla="*/ 4677 w 6845"/>
                <a:gd name="T57" fmla="*/ 262 h 5670"/>
                <a:gd name="T58" fmla="*/ 5119 w 6845"/>
                <a:gd name="T59" fmla="*/ 450 h 5670"/>
                <a:gd name="T60" fmla="*/ 5487 w 6845"/>
                <a:gd name="T61" fmla="*/ 654 h 5670"/>
                <a:gd name="T62" fmla="*/ 5770 w 6845"/>
                <a:gd name="T63" fmla="*/ 851 h 5670"/>
                <a:gd name="T64" fmla="*/ 6018 w 6845"/>
                <a:gd name="T65" fmla="*/ 1061 h 5670"/>
                <a:gd name="T66" fmla="*/ 6217 w 6845"/>
                <a:gd name="T67" fmla="*/ 1265 h 5670"/>
                <a:gd name="T68" fmla="*/ 6386 w 6845"/>
                <a:gd name="T69" fmla="*/ 1468 h 5670"/>
                <a:gd name="T70" fmla="*/ 6589 w 6845"/>
                <a:gd name="T71" fmla="*/ 1790 h 5670"/>
                <a:gd name="T72" fmla="*/ 6722 w 6845"/>
                <a:gd name="T73" fmla="*/ 2079 h 5670"/>
                <a:gd name="T74" fmla="*/ 6826 w 6845"/>
                <a:gd name="T75" fmla="*/ 2486 h 5670"/>
                <a:gd name="T76" fmla="*/ 6840 w 6845"/>
                <a:gd name="T77" fmla="*/ 2893 h 5670"/>
                <a:gd name="T78" fmla="*/ 6765 w 6845"/>
                <a:gd name="T79" fmla="*/ 3300 h 5670"/>
                <a:gd name="T80" fmla="*/ 6598 w 6845"/>
                <a:gd name="T81" fmla="*/ 3706 h 5670"/>
                <a:gd name="T82" fmla="*/ 6477 w 6845"/>
                <a:gd name="T83" fmla="*/ 3910 h 5670"/>
                <a:gd name="T84" fmla="*/ 6316 w 6845"/>
                <a:gd name="T85" fmla="*/ 4126 h 5670"/>
                <a:gd name="T86" fmla="*/ 6044 w 6845"/>
                <a:gd name="T87" fmla="*/ 4419 h 5670"/>
                <a:gd name="T88" fmla="*/ 5770 w 6845"/>
                <a:gd name="T89" fmla="*/ 4656 h 5670"/>
                <a:gd name="T90" fmla="*/ 5497 w 6845"/>
                <a:gd name="T91" fmla="*/ 4856 h 5670"/>
                <a:gd name="T92" fmla="*/ 5223 w 6845"/>
                <a:gd name="T93" fmla="*/ 5031 h 5670"/>
                <a:gd name="T94" fmla="*/ 4950 w 6845"/>
                <a:gd name="T95" fmla="*/ 5182 h 5670"/>
                <a:gd name="T96" fmla="*/ 4625 w 6845"/>
                <a:gd name="T97" fmla="*/ 5335 h 5670"/>
                <a:gd name="T98" fmla="*/ 4131 w 6845"/>
                <a:gd name="T99" fmla="*/ 5521 h 5670"/>
                <a:gd name="T100" fmla="*/ 3858 w 6845"/>
                <a:gd name="T101" fmla="*/ 5594 h 5670"/>
                <a:gd name="T102" fmla="*/ 3311 w 6845"/>
                <a:gd name="T103" fmla="*/ 5669 h 5670"/>
                <a:gd name="T104" fmla="*/ 2764 w 6845"/>
                <a:gd name="T105" fmla="*/ 5647 h 5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45" h="5670">
                  <a:moveTo>
                    <a:pt x="2491" y="5595"/>
                  </a:moveTo>
                  <a:lnTo>
                    <a:pt x="2290" y="5538"/>
                  </a:lnTo>
                  <a:lnTo>
                    <a:pt x="2217" y="5517"/>
                  </a:lnTo>
                  <a:lnTo>
                    <a:pt x="1945" y="5414"/>
                  </a:lnTo>
                  <a:lnTo>
                    <a:pt x="1777" y="5335"/>
                  </a:lnTo>
                  <a:lnTo>
                    <a:pt x="1672" y="5282"/>
                  </a:lnTo>
                  <a:lnTo>
                    <a:pt x="1415" y="5131"/>
                  </a:lnTo>
                  <a:lnTo>
                    <a:pt x="1398" y="5120"/>
                  </a:lnTo>
                  <a:lnTo>
                    <a:pt x="1127" y="4928"/>
                  </a:lnTo>
                  <a:lnTo>
                    <a:pt x="1125" y="4927"/>
                  </a:lnTo>
                  <a:lnTo>
                    <a:pt x="887" y="4724"/>
                  </a:lnTo>
                  <a:lnTo>
                    <a:pt x="851" y="4690"/>
                  </a:lnTo>
                  <a:lnTo>
                    <a:pt x="686" y="4521"/>
                  </a:lnTo>
                  <a:lnTo>
                    <a:pt x="578" y="4395"/>
                  </a:lnTo>
                  <a:lnTo>
                    <a:pt x="517" y="4317"/>
                  </a:lnTo>
                  <a:lnTo>
                    <a:pt x="378" y="4113"/>
                  </a:lnTo>
                  <a:lnTo>
                    <a:pt x="305" y="3989"/>
                  </a:lnTo>
                  <a:lnTo>
                    <a:pt x="263" y="3910"/>
                  </a:lnTo>
                  <a:lnTo>
                    <a:pt x="171" y="3706"/>
                  </a:lnTo>
                  <a:lnTo>
                    <a:pt x="101" y="3503"/>
                  </a:lnTo>
                  <a:lnTo>
                    <a:pt x="50" y="3300"/>
                  </a:lnTo>
                  <a:lnTo>
                    <a:pt x="31" y="3190"/>
                  </a:lnTo>
                  <a:lnTo>
                    <a:pt x="17" y="3097"/>
                  </a:lnTo>
                  <a:lnTo>
                    <a:pt x="0" y="2893"/>
                  </a:lnTo>
                  <a:lnTo>
                    <a:pt x="1" y="2690"/>
                  </a:lnTo>
                  <a:lnTo>
                    <a:pt x="19" y="2486"/>
                  </a:lnTo>
                  <a:lnTo>
                    <a:pt x="31" y="2415"/>
                  </a:lnTo>
                  <a:lnTo>
                    <a:pt x="54" y="2282"/>
                  </a:lnTo>
                  <a:lnTo>
                    <a:pt x="104" y="2079"/>
                  </a:lnTo>
                  <a:lnTo>
                    <a:pt x="173" y="1875"/>
                  </a:lnTo>
                  <a:lnTo>
                    <a:pt x="265" y="1672"/>
                  </a:lnTo>
                  <a:lnTo>
                    <a:pt x="305" y="1600"/>
                  </a:lnTo>
                  <a:lnTo>
                    <a:pt x="376" y="1468"/>
                  </a:lnTo>
                  <a:lnTo>
                    <a:pt x="509" y="1265"/>
                  </a:lnTo>
                  <a:lnTo>
                    <a:pt x="578" y="1178"/>
                  </a:lnTo>
                  <a:lnTo>
                    <a:pt x="673" y="1061"/>
                  </a:lnTo>
                  <a:lnTo>
                    <a:pt x="851" y="876"/>
                  </a:lnTo>
                  <a:lnTo>
                    <a:pt x="871" y="858"/>
                  </a:lnTo>
                  <a:lnTo>
                    <a:pt x="1109" y="654"/>
                  </a:lnTo>
                  <a:lnTo>
                    <a:pt x="1125" y="643"/>
                  </a:lnTo>
                  <a:lnTo>
                    <a:pt x="1398" y="459"/>
                  </a:lnTo>
                  <a:lnTo>
                    <a:pt x="1413" y="450"/>
                  </a:lnTo>
                  <a:lnTo>
                    <a:pt x="1672" y="312"/>
                  </a:lnTo>
                  <a:lnTo>
                    <a:pt x="1828" y="247"/>
                  </a:lnTo>
                  <a:lnTo>
                    <a:pt x="1945" y="200"/>
                  </a:lnTo>
                  <a:lnTo>
                    <a:pt x="2217" y="115"/>
                  </a:lnTo>
                  <a:lnTo>
                    <a:pt x="2491" y="58"/>
                  </a:lnTo>
                  <a:lnTo>
                    <a:pt x="2589" y="43"/>
                  </a:lnTo>
                  <a:lnTo>
                    <a:pt x="2764" y="19"/>
                  </a:lnTo>
                  <a:lnTo>
                    <a:pt x="3037" y="0"/>
                  </a:lnTo>
                  <a:lnTo>
                    <a:pt x="3311" y="0"/>
                  </a:lnTo>
                  <a:lnTo>
                    <a:pt x="3584" y="18"/>
                  </a:lnTo>
                  <a:lnTo>
                    <a:pt x="3774" y="43"/>
                  </a:lnTo>
                  <a:lnTo>
                    <a:pt x="3858" y="54"/>
                  </a:lnTo>
                  <a:lnTo>
                    <a:pt x="4131" y="104"/>
                  </a:lnTo>
                  <a:lnTo>
                    <a:pt x="4403" y="172"/>
                  </a:lnTo>
                  <a:lnTo>
                    <a:pt x="4627" y="247"/>
                  </a:lnTo>
                  <a:lnTo>
                    <a:pt x="4677" y="262"/>
                  </a:lnTo>
                  <a:lnTo>
                    <a:pt x="4950" y="369"/>
                  </a:lnTo>
                  <a:lnTo>
                    <a:pt x="5119" y="450"/>
                  </a:lnTo>
                  <a:lnTo>
                    <a:pt x="5223" y="501"/>
                  </a:lnTo>
                  <a:lnTo>
                    <a:pt x="5487" y="654"/>
                  </a:lnTo>
                  <a:lnTo>
                    <a:pt x="5497" y="660"/>
                  </a:lnTo>
                  <a:lnTo>
                    <a:pt x="5770" y="851"/>
                  </a:lnTo>
                  <a:lnTo>
                    <a:pt x="5778" y="858"/>
                  </a:lnTo>
                  <a:lnTo>
                    <a:pt x="6018" y="1061"/>
                  </a:lnTo>
                  <a:lnTo>
                    <a:pt x="6044" y="1086"/>
                  </a:lnTo>
                  <a:lnTo>
                    <a:pt x="6217" y="1265"/>
                  </a:lnTo>
                  <a:lnTo>
                    <a:pt x="6316" y="1381"/>
                  </a:lnTo>
                  <a:lnTo>
                    <a:pt x="6386" y="1468"/>
                  </a:lnTo>
                  <a:lnTo>
                    <a:pt x="6523" y="1672"/>
                  </a:lnTo>
                  <a:lnTo>
                    <a:pt x="6589" y="1790"/>
                  </a:lnTo>
                  <a:lnTo>
                    <a:pt x="6635" y="1875"/>
                  </a:lnTo>
                  <a:lnTo>
                    <a:pt x="6722" y="2079"/>
                  </a:lnTo>
                  <a:lnTo>
                    <a:pt x="6785" y="2282"/>
                  </a:lnTo>
                  <a:lnTo>
                    <a:pt x="6826" y="2486"/>
                  </a:lnTo>
                  <a:lnTo>
                    <a:pt x="6845" y="2690"/>
                  </a:lnTo>
                  <a:lnTo>
                    <a:pt x="6840" y="2893"/>
                  </a:lnTo>
                  <a:lnTo>
                    <a:pt x="6813" y="3097"/>
                  </a:lnTo>
                  <a:lnTo>
                    <a:pt x="6765" y="3300"/>
                  </a:lnTo>
                  <a:lnTo>
                    <a:pt x="6695" y="3503"/>
                  </a:lnTo>
                  <a:lnTo>
                    <a:pt x="6598" y="3706"/>
                  </a:lnTo>
                  <a:lnTo>
                    <a:pt x="6589" y="3721"/>
                  </a:lnTo>
                  <a:lnTo>
                    <a:pt x="6477" y="3910"/>
                  </a:lnTo>
                  <a:lnTo>
                    <a:pt x="6326" y="4113"/>
                  </a:lnTo>
                  <a:lnTo>
                    <a:pt x="6316" y="4126"/>
                  </a:lnTo>
                  <a:lnTo>
                    <a:pt x="6146" y="4317"/>
                  </a:lnTo>
                  <a:lnTo>
                    <a:pt x="6044" y="4419"/>
                  </a:lnTo>
                  <a:lnTo>
                    <a:pt x="5930" y="4521"/>
                  </a:lnTo>
                  <a:lnTo>
                    <a:pt x="5770" y="4656"/>
                  </a:lnTo>
                  <a:lnTo>
                    <a:pt x="5678" y="4724"/>
                  </a:lnTo>
                  <a:lnTo>
                    <a:pt x="5497" y="4856"/>
                  </a:lnTo>
                  <a:lnTo>
                    <a:pt x="5384" y="4928"/>
                  </a:lnTo>
                  <a:lnTo>
                    <a:pt x="5223" y="5031"/>
                  </a:lnTo>
                  <a:lnTo>
                    <a:pt x="5040" y="5131"/>
                  </a:lnTo>
                  <a:lnTo>
                    <a:pt x="4950" y="5182"/>
                  </a:lnTo>
                  <a:lnTo>
                    <a:pt x="4677" y="5314"/>
                  </a:lnTo>
                  <a:lnTo>
                    <a:pt x="4625" y="5335"/>
                  </a:lnTo>
                  <a:lnTo>
                    <a:pt x="4403" y="5429"/>
                  </a:lnTo>
                  <a:lnTo>
                    <a:pt x="4131" y="5521"/>
                  </a:lnTo>
                  <a:lnTo>
                    <a:pt x="4061" y="5538"/>
                  </a:lnTo>
                  <a:lnTo>
                    <a:pt x="3858" y="5594"/>
                  </a:lnTo>
                  <a:lnTo>
                    <a:pt x="3584" y="5645"/>
                  </a:lnTo>
                  <a:lnTo>
                    <a:pt x="3311" y="5669"/>
                  </a:lnTo>
                  <a:lnTo>
                    <a:pt x="3037" y="5670"/>
                  </a:lnTo>
                  <a:lnTo>
                    <a:pt x="2764" y="5647"/>
                  </a:lnTo>
                  <a:lnTo>
                    <a:pt x="2491" y="5595"/>
                  </a:lnTo>
                </a:path>
              </a:pathLst>
            </a:custGeom>
            <a:noFill/>
            <a:ln w="12700" cmpd="sng">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32" name="Freeform 680">
              <a:extLst>
                <a:ext uri="{FF2B5EF4-FFF2-40B4-BE49-F238E27FC236}">
                  <a16:creationId xmlns:a16="http://schemas.microsoft.com/office/drawing/2014/main" id="{97FC8CD7-7446-44A1-93C6-F74540209645}"/>
                </a:ext>
              </a:extLst>
            </p:cNvPr>
            <p:cNvSpPr>
              <a:spLocks noChangeAspect="1"/>
            </p:cNvSpPr>
            <p:nvPr/>
          </p:nvSpPr>
          <p:spPr bwMode="auto">
            <a:xfrm>
              <a:off x="4684714" y="2177416"/>
              <a:ext cx="935037" cy="1012825"/>
            </a:xfrm>
            <a:custGeom>
              <a:avLst/>
              <a:gdLst>
                <a:gd name="T0" fmla="*/ 1938 w 5546"/>
                <a:gd name="T1" fmla="*/ 4401 h 4503"/>
                <a:gd name="T2" fmla="*/ 1468 w 5546"/>
                <a:gd name="T3" fmla="*/ 4197 h 4503"/>
                <a:gd name="T4" fmla="*/ 1177 w 5546"/>
                <a:gd name="T5" fmla="*/ 3997 h 4503"/>
                <a:gd name="T6" fmla="*/ 940 w 5546"/>
                <a:gd name="T7" fmla="*/ 3790 h 4503"/>
                <a:gd name="T8" fmla="*/ 736 w 5546"/>
                <a:gd name="T9" fmla="*/ 3586 h 4503"/>
                <a:gd name="T10" fmla="*/ 559 w 5546"/>
                <a:gd name="T11" fmla="*/ 3383 h 4503"/>
                <a:gd name="T12" fmla="*/ 357 w 5546"/>
                <a:gd name="T13" fmla="*/ 3113 h 4503"/>
                <a:gd name="T14" fmla="*/ 158 w 5546"/>
                <a:gd name="T15" fmla="*/ 2773 h 4503"/>
                <a:gd name="T16" fmla="*/ 79 w 5546"/>
                <a:gd name="T17" fmla="*/ 2570 h 4503"/>
                <a:gd name="T18" fmla="*/ 0 w 5546"/>
                <a:gd name="T19" fmla="*/ 2163 h 4503"/>
                <a:gd name="T20" fmla="*/ 26 w 5546"/>
                <a:gd name="T21" fmla="*/ 1755 h 4503"/>
                <a:gd name="T22" fmla="*/ 83 w 5546"/>
                <a:gd name="T23" fmla="*/ 1539 h 4503"/>
                <a:gd name="T24" fmla="*/ 263 w 5546"/>
                <a:gd name="T25" fmla="*/ 1145 h 4503"/>
                <a:gd name="T26" fmla="*/ 406 w 5546"/>
                <a:gd name="T27" fmla="*/ 941 h 4503"/>
                <a:gd name="T28" fmla="*/ 630 w 5546"/>
                <a:gd name="T29" fmla="*/ 701 h 4503"/>
                <a:gd name="T30" fmla="*/ 904 w 5546"/>
                <a:gd name="T31" fmla="*/ 483 h 4503"/>
                <a:gd name="T32" fmla="*/ 1177 w 5546"/>
                <a:gd name="T33" fmla="*/ 322 h 4503"/>
                <a:gd name="T34" fmla="*/ 1683 w 5546"/>
                <a:gd name="T35" fmla="*/ 127 h 4503"/>
                <a:gd name="T36" fmla="*/ 1996 w 5546"/>
                <a:gd name="T37" fmla="*/ 52 h 4503"/>
                <a:gd name="T38" fmla="*/ 2543 w 5546"/>
                <a:gd name="T39" fmla="*/ 0 h 4503"/>
                <a:gd name="T40" fmla="*/ 3090 w 5546"/>
                <a:gd name="T41" fmla="*/ 31 h 4503"/>
                <a:gd name="T42" fmla="*/ 3568 w 5546"/>
                <a:gd name="T43" fmla="*/ 127 h 4503"/>
                <a:gd name="T44" fmla="*/ 3909 w 5546"/>
                <a:gd name="T45" fmla="*/ 234 h 4503"/>
                <a:gd name="T46" fmla="*/ 4182 w 5546"/>
                <a:gd name="T47" fmla="*/ 353 h 4503"/>
                <a:gd name="T48" fmla="*/ 4503 w 5546"/>
                <a:gd name="T49" fmla="*/ 534 h 4503"/>
                <a:gd name="T50" fmla="*/ 4777 w 5546"/>
                <a:gd name="T51" fmla="*/ 738 h 4503"/>
                <a:gd name="T52" fmla="*/ 5002 w 5546"/>
                <a:gd name="T53" fmla="*/ 955 h 4503"/>
                <a:gd name="T54" fmla="*/ 5276 w 5546"/>
                <a:gd name="T55" fmla="*/ 1330 h 4503"/>
                <a:gd name="T56" fmla="*/ 5384 w 5546"/>
                <a:gd name="T57" fmla="*/ 1552 h 4503"/>
                <a:gd name="T58" fmla="*/ 5511 w 5546"/>
                <a:gd name="T59" fmla="*/ 1959 h 4503"/>
                <a:gd name="T60" fmla="*/ 5546 w 5546"/>
                <a:gd name="T61" fmla="*/ 2366 h 4503"/>
                <a:gd name="T62" fmla="*/ 5480 w 5546"/>
                <a:gd name="T63" fmla="*/ 2773 h 4503"/>
                <a:gd name="T64" fmla="*/ 5290 w 5546"/>
                <a:gd name="T65" fmla="*/ 3179 h 4503"/>
                <a:gd name="T66" fmla="*/ 5142 w 5546"/>
                <a:gd name="T67" fmla="*/ 3383 h 4503"/>
                <a:gd name="T68" fmla="*/ 4953 w 5546"/>
                <a:gd name="T69" fmla="*/ 3586 h 4503"/>
                <a:gd name="T70" fmla="*/ 4715 w 5546"/>
                <a:gd name="T71" fmla="*/ 3790 h 4503"/>
                <a:gd name="T72" fmla="*/ 4416 w 5546"/>
                <a:gd name="T73" fmla="*/ 3994 h 4503"/>
                <a:gd name="T74" fmla="*/ 4019 w 5546"/>
                <a:gd name="T75" fmla="*/ 4197 h 4503"/>
                <a:gd name="T76" fmla="*/ 3635 w 5546"/>
                <a:gd name="T77" fmla="*/ 4347 h 4503"/>
                <a:gd name="T78" fmla="*/ 3363 w 5546"/>
                <a:gd name="T79" fmla="*/ 4420 h 4503"/>
                <a:gd name="T80" fmla="*/ 2816 w 5546"/>
                <a:gd name="T81" fmla="*/ 4501 h 4503"/>
                <a:gd name="T82" fmla="*/ 2269 w 5546"/>
                <a:gd name="T83" fmla="*/ 4477 h 4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546" h="4503">
                  <a:moveTo>
                    <a:pt x="1996" y="4420"/>
                  </a:moveTo>
                  <a:lnTo>
                    <a:pt x="1938" y="4401"/>
                  </a:lnTo>
                  <a:lnTo>
                    <a:pt x="1723" y="4327"/>
                  </a:lnTo>
                  <a:lnTo>
                    <a:pt x="1468" y="4197"/>
                  </a:lnTo>
                  <a:lnTo>
                    <a:pt x="1449" y="4187"/>
                  </a:lnTo>
                  <a:lnTo>
                    <a:pt x="1177" y="3997"/>
                  </a:lnTo>
                  <a:lnTo>
                    <a:pt x="1172" y="3994"/>
                  </a:lnTo>
                  <a:lnTo>
                    <a:pt x="940" y="3790"/>
                  </a:lnTo>
                  <a:lnTo>
                    <a:pt x="904" y="3753"/>
                  </a:lnTo>
                  <a:lnTo>
                    <a:pt x="736" y="3586"/>
                  </a:lnTo>
                  <a:lnTo>
                    <a:pt x="630" y="3463"/>
                  </a:lnTo>
                  <a:lnTo>
                    <a:pt x="559" y="3383"/>
                  </a:lnTo>
                  <a:lnTo>
                    <a:pt x="401" y="3179"/>
                  </a:lnTo>
                  <a:lnTo>
                    <a:pt x="357" y="3113"/>
                  </a:lnTo>
                  <a:lnTo>
                    <a:pt x="267" y="2976"/>
                  </a:lnTo>
                  <a:lnTo>
                    <a:pt x="158" y="2773"/>
                  </a:lnTo>
                  <a:lnTo>
                    <a:pt x="83" y="2583"/>
                  </a:lnTo>
                  <a:lnTo>
                    <a:pt x="79" y="2570"/>
                  </a:lnTo>
                  <a:lnTo>
                    <a:pt x="25" y="2366"/>
                  </a:lnTo>
                  <a:lnTo>
                    <a:pt x="0" y="2163"/>
                  </a:lnTo>
                  <a:lnTo>
                    <a:pt x="0" y="1959"/>
                  </a:lnTo>
                  <a:lnTo>
                    <a:pt x="26" y="1755"/>
                  </a:lnTo>
                  <a:lnTo>
                    <a:pt x="79" y="1552"/>
                  </a:lnTo>
                  <a:lnTo>
                    <a:pt x="83" y="1539"/>
                  </a:lnTo>
                  <a:lnTo>
                    <a:pt x="155" y="1348"/>
                  </a:lnTo>
                  <a:lnTo>
                    <a:pt x="263" y="1145"/>
                  </a:lnTo>
                  <a:lnTo>
                    <a:pt x="357" y="1011"/>
                  </a:lnTo>
                  <a:lnTo>
                    <a:pt x="406" y="941"/>
                  </a:lnTo>
                  <a:lnTo>
                    <a:pt x="591" y="738"/>
                  </a:lnTo>
                  <a:lnTo>
                    <a:pt x="630" y="701"/>
                  </a:lnTo>
                  <a:lnTo>
                    <a:pt x="832" y="534"/>
                  </a:lnTo>
                  <a:lnTo>
                    <a:pt x="904" y="483"/>
                  </a:lnTo>
                  <a:lnTo>
                    <a:pt x="1161" y="331"/>
                  </a:lnTo>
                  <a:lnTo>
                    <a:pt x="1177" y="322"/>
                  </a:lnTo>
                  <a:lnTo>
                    <a:pt x="1449" y="202"/>
                  </a:lnTo>
                  <a:lnTo>
                    <a:pt x="1683" y="127"/>
                  </a:lnTo>
                  <a:lnTo>
                    <a:pt x="1723" y="115"/>
                  </a:lnTo>
                  <a:lnTo>
                    <a:pt x="1996" y="52"/>
                  </a:lnTo>
                  <a:lnTo>
                    <a:pt x="2269" y="16"/>
                  </a:lnTo>
                  <a:lnTo>
                    <a:pt x="2543" y="0"/>
                  </a:lnTo>
                  <a:lnTo>
                    <a:pt x="2816" y="5"/>
                  </a:lnTo>
                  <a:lnTo>
                    <a:pt x="3090" y="31"/>
                  </a:lnTo>
                  <a:lnTo>
                    <a:pt x="3363" y="76"/>
                  </a:lnTo>
                  <a:lnTo>
                    <a:pt x="3568" y="127"/>
                  </a:lnTo>
                  <a:lnTo>
                    <a:pt x="3635" y="144"/>
                  </a:lnTo>
                  <a:lnTo>
                    <a:pt x="3909" y="234"/>
                  </a:lnTo>
                  <a:lnTo>
                    <a:pt x="4134" y="331"/>
                  </a:lnTo>
                  <a:lnTo>
                    <a:pt x="4182" y="353"/>
                  </a:lnTo>
                  <a:lnTo>
                    <a:pt x="4455" y="503"/>
                  </a:lnTo>
                  <a:lnTo>
                    <a:pt x="4503" y="534"/>
                  </a:lnTo>
                  <a:lnTo>
                    <a:pt x="4729" y="699"/>
                  </a:lnTo>
                  <a:lnTo>
                    <a:pt x="4777" y="738"/>
                  </a:lnTo>
                  <a:lnTo>
                    <a:pt x="4990" y="941"/>
                  </a:lnTo>
                  <a:lnTo>
                    <a:pt x="5002" y="955"/>
                  </a:lnTo>
                  <a:lnTo>
                    <a:pt x="5154" y="1145"/>
                  </a:lnTo>
                  <a:lnTo>
                    <a:pt x="5276" y="1330"/>
                  </a:lnTo>
                  <a:lnTo>
                    <a:pt x="5286" y="1348"/>
                  </a:lnTo>
                  <a:lnTo>
                    <a:pt x="5384" y="1552"/>
                  </a:lnTo>
                  <a:lnTo>
                    <a:pt x="5459" y="1755"/>
                  </a:lnTo>
                  <a:lnTo>
                    <a:pt x="5511" y="1959"/>
                  </a:lnTo>
                  <a:lnTo>
                    <a:pt x="5539" y="2163"/>
                  </a:lnTo>
                  <a:lnTo>
                    <a:pt x="5546" y="2366"/>
                  </a:lnTo>
                  <a:lnTo>
                    <a:pt x="5527" y="2570"/>
                  </a:lnTo>
                  <a:lnTo>
                    <a:pt x="5480" y="2773"/>
                  </a:lnTo>
                  <a:lnTo>
                    <a:pt x="5403" y="2976"/>
                  </a:lnTo>
                  <a:lnTo>
                    <a:pt x="5290" y="3179"/>
                  </a:lnTo>
                  <a:lnTo>
                    <a:pt x="5276" y="3202"/>
                  </a:lnTo>
                  <a:lnTo>
                    <a:pt x="5142" y="3383"/>
                  </a:lnTo>
                  <a:lnTo>
                    <a:pt x="5002" y="3537"/>
                  </a:lnTo>
                  <a:lnTo>
                    <a:pt x="4953" y="3586"/>
                  </a:lnTo>
                  <a:lnTo>
                    <a:pt x="4729" y="3781"/>
                  </a:lnTo>
                  <a:lnTo>
                    <a:pt x="4715" y="3790"/>
                  </a:lnTo>
                  <a:lnTo>
                    <a:pt x="4455" y="3971"/>
                  </a:lnTo>
                  <a:lnTo>
                    <a:pt x="4416" y="3994"/>
                  </a:lnTo>
                  <a:lnTo>
                    <a:pt x="4182" y="4124"/>
                  </a:lnTo>
                  <a:lnTo>
                    <a:pt x="4019" y="4197"/>
                  </a:lnTo>
                  <a:lnTo>
                    <a:pt x="3909" y="4248"/>
                  </a:lnTo>
                  <a:lnTo>
                    <a:pt x="3635" y="4347"/>
                  </a:lnTo>
                  <a:lnTo>
                    <a:pt x="3428" y="4401"/>
                  </a:lnTo>
                  <a:lnTo>
                    <a:pt x="3363" y="4420"/>
                  </a:lnTo>
                  <a:lnTo>
                    <a:pt x="3090" y="4472"/>
                  </a:lnTo>
                  <a:lnTo>
                    <a:pt x="2816" y="4501"/>
                  </a:lnTo>
                  <a:lnTo>
                    <a:pt x="2543" y="4503"/>
                  </a:lnTo>
                  <a:lnTo>
                    <a:pt x="2269" y="4477"/>
                  </a:lnTo>
                  <a:lnTo>
                    <a:pt x="1996" y="4420"/>
                  </a:lnTo>
                </a:path>
              </a:pathLst>
            </a:custGeom>
            <a:noFill/>
            <a:ln w="12700" cmpd="sng">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33" name="Freeform 681">
              <a:extLst>
                <a:ext uri="{FF2B5EF4-FFF2-40B4-BE49-F238E27FC236}">
                  <a16:creationId xmlns:a16="http://schemas.microsoft.com/office/drawing/2014/main" id="{211693A2-B1A9-442E-AC55-C82AFA403DEC}"/>
                </a:ext>
              </a:extLst>
            </p:cNvPr>
            <p:cNvSpPr>
              <a:spLocks noChangeAspect="1"/>
            </p:cNvSpPr>
            <p:nvPr/>
          </p:nvSpPr>
          <p:spPr bwMode="auto">
            <a:xfrm>
              <a:off x="4799014" y="2277428"/>
              <a:ext cx="738187" cy="806450"/>
            </a:xfrm>
            <a:custGeom>
              <a:avLst/>
              <a:gdLst>
                <a:gd name="T0" fmla="*/ 1791 w 4367"/>
                <a:gd name="T1" fmla="*/ 3548 h 3582"/>
                <a:gd name="T2" fmla="*/ 1314 w 4367"/>
                <a:gd name="T3" fmla="*/ 3417 h 3582"/>
                <a:gd name="T4" fmla="*/ 1041 w 4367"/>
                <a:gd name="T5" fmla="*/ 3271 h 3582"/>
                <a:gd name="T6" fmla="*/ 767 w 4367"/>
                <a:gd name="T7" fmla="*/ 3050 h 3582"/>
                <a:gd name="T8" fmla="*/ 510 w 4367"/>
                <a:gd name="T9" fmla="*/ 2733 h 3582"/>
                <a:gd name="T10" fmla="*/ 384 w 4367"/>
                <a:gd name="T11" fmla="*/ 2530 h 3582"/>
                <a:gd name="T12" fmla="*/ 222 w 4367"/>
                <a:gd name="T13" fmla="*/ 2195 h 3582"/>
                <a:gd name="T14" fmla="*/ 99 w 4367"/>
                <a:gd name="T15" fmla="*/ 1920 h 3582"/>
                <a:gd name="T16" fmla="*/ 0 w 4367"/>
                <a:gd name="T17" fmla="*/ 1513 h 3582"/>
                <a:gd name="T18" fmla="*/ 44 w 4367"/>
                <a:gd name="T19" fmla="*/ 1106 h 3582"/>
                <a:gd name="T20" fmla="*/ 222 w 4367"/>
                <a:gd name="T21" fmla="*/ 753 h 3582"/>
                <a:gd name="T22" fmla="*/ 456 w 4367"/>
                <a:gd name="T23" fmla="*/ 495 h 3582"/>
                <a:gd name="T24" fmla="*/ 749 w 4367"/>
                <a:gd name="T25" fmla="*/ 292 h 3582"/>
                <a:gd name="T26" fmla="*/ 1041 w 4367"/>
                <a:gd name="T27" fmla="*/ 161 h 3582"/>
                <a:gd name="T28" fmla="*/ 1314 w 4367"/>
                <a:gd name="T29" fmla="*/ 73 h 3582"/>
                <a:gd name="T30" fmla="*/ 1861 w 4367"/>
                <a:gd name="T31" fmla="*/ 0 h 3582"/>
                <a:gd name="T32" fmla="*/ 2408 w 4367"/>
                <a:gd name="T33" fmla="*/ 32 h 3582"/>
                <a:gd name="T34" fmla="*/ 2688 w 4367"/>
                <a:gd name="T35" fmla="*/ 88 h 3582"/>
                <a:gd name="T36" fmla="*/ 3193 w 4367"/>
                <a:gd name="T37" fmla="*/ 292 h 3582"/>
                <a:gd name="T38" fmla="*/ 3500 w 4367"/>
                <a:gd name="T39" fmla="*/ 489 h 3582"/>
                <a:gd name="T40" fmla="*/ 3740 w 4367"/>
                <a:gd name="T41" fmla="*/ 699 h 3582"/>
                <a:gd name="T42" fmla="*/ 3926 w 4367"/>
                <a:gd name="T43" fmla="*/ 902 h 3582"/>
                <a:gd name="T44" fmla="*/ 4082 w 4367"/>
                <a:gd name="T45" fmla="*/ 1106 h 3582"/>
                <a:gd name="T46" fmla="*/ 4295 w 4367"/>
                <a:gd name="T47" fmla="*/ 1513 h 3582"/>
                <a:gd name="T48" fmla="*/ 4349 w 4367"/>
                <a:gd name="T49" fmla="*/ 1717 h 3582"/>
                <a:gd name="T50" fmla="*/ 4348 w 4367"/>
                <a:gd name="T51" fmla="*/ 2124 h 3582"/>
                <a:gd name="T52" fmla="*/ 4292 w 4367"/>
                <a:gd name="T53" fmla="*/ 2327 h 3582"/>
                <a:gd name="T54" fmla="*/ 4063 w 4367"/>
                <a:gd name="T55" fmla="*/ 2733 h 3582"/>
                <a:gd name="T56" fmla="*/ 3877 w 4367"/>
                <a:gd name="T57" fmla="*/ 2937 h 3582"/>
                <a:gd name="T58" fmla="*/ 3623 w 4367"/>
                <a:gd name="T59" fmla="*/ 3140 h 3582"/>
                <a:gd name="T60" fmla="*/ 3263 w 4367"/>
                <a:gd name="T61" fmla="*/ 3344 h 3582"/>
                <a:gd name="T62" fmla="*/ 2953 w 4367"/>
                <a:gd name="T63" fmla="*/ 3465 h 3582"/>
                <a:gd name="T64" fmla="*/ 2566 w 4367"/>
                <a:gd name="T65" fmla="*/ 3548 h 3582"/>
                <a:gd name="T66" fmla="*/ 2134 w 4367"/>
                <a:gd name="T67" fmla="*/ 3582 h 3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67" h="3582">
                  <a:moveTo>
                    <a:pt x="1861" y="3561"/>
                  </a:moveTo>
                  <a:lnTo>
                    <a:pt x="1791" y="3548"/>
                  </a:lnTo>
                  <a:lnTo>
                    <a:pt x="1587" y="3509"/>
                  </a:lnTo>
                  <a:lnTo>
                    <a:pt x="1314" y="3417"/>
                  </a:lnTo>
                  <a:lnTo>
                    <a:pt x="1171" y="3344"/>
                  </a:lnTo>
                  <a:lnTo>
                    <a:pt x="1041" y="3271"/>
                  </a:lnTo>
                  <a:lnTo>
                    <a:pt x="866" y="3140"/>
                  </a:lnTo>
                  <a:lnTo>
                    <a:pt x="767" y="3050"/>
                  </a:lnTo>
                  <a:lnTo>
                    <a:pt x="659" y="2937"/>
                  </a:lnTo>
                  <a:lnTo>
                    <a:pt x="510" y="2733"/>
                  </a:lnTo>
                  <a:lnTo>
                    <a:pt x="495" y="2707"/>
                  </a:lnTo>
                  <a:lnTo>
                    <a:pt x="384" y="2530"/>
                  </a:lnTo>
                  <a:lnTo>
                    <a:pt x="280" y="2327"/>
                  </a:lnTo>
                  <a:lnTo>
                    <a:pt x="222" y="2195"/>
                  </a:lnTo>
                  <a:lnTo>
                    <a:pt x="184" y="2124"/>
                  </a:lnTo>
                  <a:lnTo>
                    <a:pt x="99" y="1920"/>
                  </a:lnTo>
                  <a:lnTo>
                    <a:pt x="35" y="1717"/>
                  </a:lnTo>
                  <a:lnTo>
                    <a:pt x="0" y="1513"/>
                  </a:lnTo>
                  <a:lnTo>
                    <a:pt x="1" y="1309"/>
                  </a:lnTo>
                  <a:lnTo>
                    <a:pt x="44" y="1106"/>
                  </a:lnTo>
                  <a:lnTo>
                    <a:pt x="126" y="902"/>
                  </a:lnTo>
                  <a:lnTo>
                    <a:pt x="222" y="753"/>
                  </a:lnTo>
                  <a:lnTo>
                    <a:pt x="260" y="699"/>
                  </a:lnTo>
                  <a:lnTo>
                    <a:pt x="456" y="495"/>
                  </a:lnTo>
                  <a:lnTo>
                    <a:pt x="495" y="464"/>
                  </a:lnTo>
                  <a:lnTo>
                    <a:pt x="749" y="292"/>
                  </a:lnTo>
                  <a:lnTo>
                    <a:pt x="767" y="281"/>
                  </a:lnTo>
                  <a:lnTo>
                    <a:pt x="1041" y="161"/>
                  </a:lnTo>
                  <a:lnTo>
                    <a:pt x="1262" y="88"/>
                  </a:lnTo>
                  <a:lnTo>
                    <a:pt x="1314" y="73"/>
                  </a:lnTo>
                  <a:lnTo>
                    <a:pt x="1587" y="23"/>
                  </a:lnTo>
                  <a:lnTo>
                    <a:pt x="1861" y="0"/>
                  </a:lnTo>
                  <a:lnTo>
                    <a:pt x="2134" y="2"/>
                  </a:lnTo>
                  <a:lnTo>
                    <a:pt x="2408" y="32"/>
                  </a:lnTo>
                  <a:lnTo>
                    <a:pt x="2681" y="86"/>
                  </a:lnTo>
                  <a:lnTo>
                    <a:pt x="2688" y="88"/>
                  </a:lnTo>
                  <a:lnTo>
                    <a:pt x="2953" y="184"/>
                  </a:lnTo>
                  <a:lnTo>
                    <a:pt x="3193" y="292"/>
                  </a:lnTo>
                  <a:lnTo>
                    <a:pt x="3227" y="310"/>
                  </a:lnTo>
                  <a:lnTo>
                    <a:pt x="3500" y="489"/>
                  </a:lnTo>
                  <a:lnTo>
                    <a:pt x="3509" y="495"/>
                  </a:lnTo>
                  <a:lnTo>
                    <a:pt x="3740" y="699"/>
                  </a:lnTo>
                  <a:lnTo>
                    <a:pt x="3773" y="729"/>
                  </a:lnTo>
                  <a:lnTo>
                    <a:pt x="3926" y="902"/>
                  </a:lnTo>
                  <a:lnTo>
                    <a:pt x="4047" y="1054"/>
                  </a:lnTo>
                  <a:lnTo>
                    <a:pt x="4082" y="1106"/>
                  </a:lnTo>
                  <a:lnTo>
                    <a:pt x="4207" y="1309"/>
                  </a:lnTo>
                  <a:lnTo>
                    <a:pt x="4295" y="1513"/>
                  </a:lnTo>
                  <a:lnTo>
                    <a:pt x="4320" y="1604"/>
                  </a:lnTo>
                  <a:lnTo>
                    <a:pt x="4349" y="1717"/>
                  </a:lnTo>
                  <a:lnTo>
                    <a:pt x="4367" y="1920"/>
                  </a:lnTo>
                  <a:lnTo>
                    <a:pt x="4348" y="2124"/>
                  </a:lnTo>
                  <a:lnTo>
                    <a:pt x="4320" y="2225"/>
                  </a:lnTo>
                  <a:lnTo>
                    <a:pt x="4292" y="2327"/>
                  </a:lnTo>
                  <a:lnTo>
                    <a:pt x="4199" y="2530"/>
                  </a:lnTo>
                  <a:lnTo>
                    <a:pt x="4063" y="2733"/>
                  </a:lnTo>
                  <a:lnTo>
                    <a:pt x="4047" y="2752"/>
                  </a:lnTo>
                  <a:lnTo>
                    <a:pt x="3877" y="2937"/>
                  </a:lnTo>
                  <a:lnTo>
                    <a:pt x="3773" y="3028"/>
                  </a:lnTo>
                  <a:lnTo>
                    <a:pt x="3623" y="3140"/>
                  </a:lnTo>
                  <a:lnTo>
                    <a:pt x="3500" y="3221"/>
                  </a:lnTo>
                  <a:lnTo>
                    <a:pt x="3263" y="3344"/>
                  </a:lnTo>
                  <a:lnTo>
                    <a:pt x="3227" y="3362"/>
                  </a:lnTo>
                  <a:lnTo>
                    <a:pt x="2953" y="3465"/>
                  </a:lnTo>
                  <a:lnTo>
                    <a:pt x="2681" y="3532"/>
                  </a:lnTo>
                  <a:lnTo>
                    <a:pt x="2566" y="3548"/>
                  </a:lnTo>
                  <a:lnTo>
                    <a:pt x="2408" y="3571"/>
                  </a:lnTo>
                  <a:lnTo>
                    <a:pt x="2134" y="3582"/>
                  </a:lnTo>
                  <a:lnTo>
                    <a:pt x="1861" y="3561"/>
                  </a:lnTo>
                </a:path>
              </a:pathLst>
            </a:custGeom>
            <a:noFill/>
            <a:ln w="12700" cmpd="sng">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34" name="Freeform 682">
              <a:extLst>
                <a:ext uri="{FF2B5EF4-FFF2-40B4-BE49-F238E27FC236}">
                  <a16:creationId xmlns:a16="http://schemas.microsoft.com/office/drawing/2014/main" id="{125FDEEC-3EF9-4A77-8FDE-7AA155161DB4}"/>
                </a:ext>
              </a:extLst>
            </p:cNvPr>
            <p:cNvSpPr>
              <a:spLocks noChangeAspect="1"/>
            </p:cNvSpPr>
            <p:nvPr/>
          </p:nvSpPr>
          <p:spPr bwMode="auto">
            <a:xfrm>
              <a:off x="4945063" y="2418715"/>
              <a:ext cx="508000" cy="539750"/>
            </a:xfrm>
            <a:custGeom>
              <a:avLst/>
              <a:gdLst>
                <a:gd name="T0" fmla="*/ 1268 w 3011"/>
                <a:gd name="T1" fmla="*/ 2398 h 2398"/>
                <a:gd name="T2" fmla="*/ 1194 w 3011"/>
                <a:gd name="T3" fmla="*/ 2388 h 2398"/>
                <a:gd name="T4" fmla="*/ 995 w 3011"/>
                <a:gd name="T5" fmla="*/ 2359 h 2398"/>
                <a:gd name="T6" fmla="*/ 721 w 3011"/>
                <a:gd name="T7" fmla="*/ 2272 h 2398"/>
                <a:gd name="T8" fmla="*/ 547 w 3011"/>
                <a:gd name="T9" fmla="*/ 2185 h 2398"/>
                <a:gd name="T10" fmla="*/ 448 w 3011"/>
                <a:gd name="T11" fmla="*/ 2124 h 2398"/>
                <a:gd name="T12" fmla="*/ 292 w 3011"/>
                <a:gd name="T13" fmla="*/ 1981 h 2398"/>
                <a:gd name="T14" fmla="*/ 175 w 3011"/>
                <a:gd name="T15" fmla="*/ 1837 h 2398"/>
                <a:gd name="T16" fmla="*/ 136 w 3011"/>
                <a:gd name="T17" fmla="*/ 1778 h 2398"/>
                <a:gd name="T18" fmla="*/ 51 w 3011"/>
                <a:gd name="T19" fmla="*/ 1575 h 2398"/>
                <a:gd name="T20" fmla="*/ 6 w 3011"/>
                <a:gd name="T21" fmla="*/ 1372 h 2398"/>
                <a:gd name="T22" fmla="*/ 0 w 3011"/>
                <a:gd name="T23" fmla="*/ 1168 h 2398"/>
                <a:gd name="T24" fmla="*/ 28 w 3011"/>
                <a:gd name="T25" fmla="*/ 965 h 2398"/>
                <a:gd name="T26" fmla="*/ 91 w 3011"/>
                <a:gd name="T27" fmla="*/ 761 h 2398"/>
                <a:gd name="T28" fmla="*/ 175 w 3011"/>
                <a:gd name="T29" fmla="*/ 596 h 2398"/>
                <a:gd name="T30" fmla="*/ 198 w 3011"/>
                <a:gd name="T31" fmla="*/ 557 h 2398"/>
                <a:gd name="T32" fmla="*/ 356 w 3011"/>
                <a:gd name="T33" fmla="*/ 354 h 2398"/>
                <a:gd name="T34" fmla="*/ 448 w 3011"/>
                <a:gd name="T35" fmla="*/ 267 h 2398"/>
                <a:gd name="T36" fmla="*/ 647 w 3011"/>
                <a:gd name="T37" fmla="*/ 150 h 2398"/>
                <a:gd name="T38" fmla="*/ 721 w 3011"/>
                <a:gd name="T39" fmla="*/ 115 h 2398"/>
                <a:gd name="T40" fmla="*/ 995 w 3011"/>
                <a:gd name="T41" fmla="*/ 30 h 2398"/>
                <a:gd name="T42" fmla="*/ 1268 w 3011"/>
                <a:gd name="T43" fmla="*/ 0 h 2398"/>
                <a:gd name="T44" fmla="*/ 1542 w 3011"/>
                <a:gd name="T45" fmla="*/ 8 h 2398"/>
                <a:gd name="T46" fmla="*/ 1815 w 3011"/>
                <a:gd name="T47" fmla="*/ 52 h 2398"/>
                <a:gd name="T48" fmla="*/ 2087 w 3011"/>
                <a:gd name="T49" fmla="*/ 135 h 2398"/>
                <a:gd name="T50" fmla="*/ 2120 w 3011"/>
                <a:gd name="T51" fmla="*/ 150 h 2398"/>
                <a:gd name="T52" fmla="*/ 2361 w 3011"/>
                <a:gd name="T53" fmla="*/ 256 h 2398"/>
                <a:gd name="T54" fmla="*/ 2513 w 3011"/>
                <a:gd name="T55" fmla="*/ 354 h 2398"/>
                <a:gd name="T56" fmla="*/ 2634 w 3011"/>
                <a:gd name="T57" fmla="*/ 441 h 2398"/>
                <a:gd name="T58" fmla="*/ 2754 w 3011"/>
                <a:gd name="T59" fmla="*/ 557 h 2398"/>
                <a:gd name="T60" fmla="*/ 2907 w 3011"/>
                <a:gd name="T61" fmla="*/ 757 h 2398"/>
                <a:gd name="T62" fmla="*/ 2910 w 3011"/>
                <a:gd name="T63" fmla="*/ 761 h 2398"/>
                <a:gd name="T64" fmla="*/ 2985 w 3011"/>
                <a:gd name="T65" fmla="*/ 965 h 2398"/>
                <a:gd name="T66" fmla="*/ 3011 w 3011"/>
                <a:gd name="T67" fmla="*/ 1168 h 2398"/>
                <a:gd name="T68" fmla="*/ 2985 w 3011"/>
                <a:gd name="T69" fmla="*/ 1372 h 2398"/>
                <a:gd name="T70" fmla="*/ 2916 w 3011"/>
                <a:gd name="T71" fmla="*/ 1575 h 2398"/>
                <a:gd name="T72" fmla="*/ 2907 w 3011"/>
                <a:gd name="T73" fmla="*/ 1592 h 2398"/>
                <a:gd name="T74" fmla="*/ 2785 w 3011"/>
                <a:gd name="T75" fmla="*/ 1778 h 2398"/>
                <a:gd name="T76" fmla="*/ 2634 w 3011"/>
                <a:gd name="T77" fmla="*/ 1949 h 2398"/>
                <a:gd name="T78" fmla="*/ 2597 w 3011"/>
                <a:gd name="T79" fmla="*/ 1981 h 2398"/>
                <a:gd name="T80" fmla="*/ 2361 w 3011"/>
                <a:gd name="T81" fmla="*/ 2152 h 2398"/>
                <a:gd name="T82" fmla="*/ 2298 w 3011"/>
                <a:gd name="T83" fmla="*/ 2185 h 2398"/>
                <a:gd name="T84" fmla="*/ 2087 w 3011"/>
                <a:gd name="T85" fmla="*/ 2278 h 2398"/>
                <a:gd name="T86" fmla="*/ 1815 w 3011"/>
                <a:gd name="T87" fmla="*/ 2358 h 2398"/>
                <a:gd name="T88" fmla="*/ 1602 w 3011"/>
                <a:gd name="T89" fmla="*/ 2388 h 2398"/>
                <a:gd name="T90" fmla="*/ 1542 w 3011"/>
                <a:gd name="T91" fmla="*/ 2397 h 2398"/>
                <a:gd name="T92" fmla="*/ 1268 w 3011"/>
                <a:gd name="T93" fmla="*/ 2398 h 2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011" h="2398">
                  <a:moveTo>
                    <a:pt x="1268" y="2398"/>
                  </a:moveTo>
                  <a:lnTo>
                    <a:pt x="1194" y="2388"/>
                  </a:lnTo>
                  <a:lnTo>
                    <a:pt x="995" y="2359"/>
                  </a:lnTo>
                  <a:lnTo>
                    <a:pt x="721" y="2272"/>
                  </a:lnTo>
                  <a:lnTo>
                    <a:pt x="547" y="2185"/>
                  </a:lnTo>
                  <a:lnTo>
                    <a:pt x="448" y="2124"/>
                  </a:lnTo>
                  <a:lnTo>
                    <a:pt x="292" y="1981"/>
                  </a:lnTo>
                  <a:lnTo>
                    <a:pt x="175" y="1837"/>
                  </a:lnTo>
                  <a:lnTo>
                    <a:pt x="136" y="1778"/>
                  </a:lnTo>
                  <a:lnTo>
                    <a:pt x="51" y="1575"/>
                  </a:lnTo>
                  <a:lnTo>
                    <a:pt x="6" y="1372"/>
                  </a:lnTo>
                  <a:lnTo>
                    <a:pt x="0" y="1168"/>
                  </a:lnTo>
                  <a:lnTo>
                    <a:pt x="28" y="965"/>
                  </a:lnTo>
                  <a:lnTo>
                    <a:pt x="91" y="761"/>
                  </a:lnTo>
                  <a:lnTo>
                    <a:pt x="175" y="596"/>
                  </a:lnTo>
                  <a:lnTo>
                    <a:pt x="198" y="557"/>
                  </a:lnTo>
                  <a:lnTo>
                    <a:pt x="356" y="354"/>
                  </a:lnTo>
                  <a:lnTo>
                    <a:pt x="448" y="267"/>
                  </a:lnTo>
                  <a:lnTo>
                    <a:pt x="647" y="150"/>
                  </a:lnTo>
                  <a:lnTo>
                    <a:pt x="721" y="115"/>
                  </a:lnTo>
                  <a:lnTo>
                    <a:pt x="995" y="30"/>
                  </a:lnTo>
                  <a:lnTo>
                    <a:pt x="1268" y="0"/>
                  </a:lnTo>
                  <a:lnTo>
                    <a:pt x="1542" y="8"/>
                  </a:lnTo>
                  <a:lnTo>
                    <a:pt x="1815" y="52"/>
                  </a:lnTo>
                  <a:lnTo>
                    <a:pt x="2087" y="135"/>
                  </a:lnTo>
                  <a:lnTo>
                    <a:pt x="2120" y="150"/>
                  </a:lnTo>
                  <a:lnTo>
                    <a:pt x="2361" y="256"/>
                  </a:lnTo>
                  <a:lnTo>
                    <a:pt x="2513" y="354"/>
                  </a:lnTo>
                  <a:lnTo>
                    <a:pt x="2634" y="441"/>
                  </a:lnTo>
                  <a:lnTo>
                    <a:pt x="2754" y="557"/>
                  </a:lnTo>
                  <a:lnTo>
                    <a:pt x="2907" y="757"/>
                  </a:lnTo>
                  <a:lnTo>
                    <a:pt x="2910" y="761"/>
                  </a:lnTo>
                  <a:lnTo>
                    <a:pt x="2985" y="965"/>
                  </a:lnTo>
                  <a:lnTo>
                    <a:pt x="3011" y="1168"/>
                  </a:lnTo>
                  <a:lnTo>
                    <a:pt x="2985" y="1372"/>
                  </a:lnTo>
                  <a:lnTo>
                    <a:pt x="2916" y="1575"/>
                  </a:lnTo>
                  <a:lnTo>
                    <a:pt x="2907" y="1592"/>
                  </a:lnTo>
                  <a:lnTo>
                    <a:pt x="2785" y="1778"/>
                  </a:lnTo>
                  <a:lnTo>
                    <a:pt x="2634" y="1949"/>
                  </a:lnTo>
                  <a:lnTo>
                    <a:pt x="2597" y="1981"/>
                  </a:lnTo>
                  <a:lnTo>
                    <a:pt x="2361" y="2152"/>
                  </a:lnTo>
                  <a:lnTo>
                    <a:pt x="2298" y="2185"/>
                  </a:lnTo>
                  <a:lnTo>
                    <a:pt x="2087" y="2278"/>
                  </a:lnTo>
                  <a:lnTo>
                    <a:pt x="1815" y="2358"/>
                  </a:lnTo>
                  <a:lnTo>
                    <a:pt x="1602" y="2388"/>
                  </a:lnTo>
                  <a:lnTo>
                    <a:pt x="1542" y="2397"/>
                  </a:lnTo>
                  <a:lnTo>
                    <a:pt x="1268" y="2398"/>
                  </a:lnTo>
                </a:path>
              </a:pathLst>
            </a:custGeom>
            <a:noFill/>
            <a:ln w="12700" cmpd="sng">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35" name="Freeform 683">
              <a:extLst>
                <a:ext uri="{FF2B5EF4-FFF2-40B4-BE49-F238E27FC236}">
                  <a16:creationId xmlns:a16="http://schemas.microsoft.com/office/drawing/2014/main" id="{EDB72145-BF22-41DF-9732-4B15EEF56C22}"/>
                </a:ext>
              </a:extLst>
            </p:cNvPr>
            <p:cNvSpPr>
              <a:spLocks noChangeAspect="1"/>
            </p:cNvSpPr>
            <p:nvPr/>
          </p:nvSpPr>
          <p:spPr bwMode="auto">
            <a:xfrm>
              <a:off x="5076825" y="2585403"/>
              <a:ext cx="266700" cy="266700"/>
            </a:xfrm>
            <a:custGeom>
              <a:avLst/>
              <a:gdLst>
                <a:gd name="T0" fmla="*/ 494 w 1584"/>
                <a:gd name="T1" fmla="*/ 1162 h 1177"/>
                <a:gd name="T2" fmla="*/ 484 w 1584"/>
                <a:gd name="T3" fmla="*/ 1158 h 1177"/>
                <a:gd name="T4" fmla="*/ 221 w 1584"/>
                <a:gd name="T5" fmla="*/ 1044 h 1177"/>
                <a:gd name="T6" fmla="*/ 116 w 1584"/>
                <a:gd name="T7" fmla="*/ 955 h 1177"/>
                <a:gd name="T8" fmla="*/ 3 w 1584"/>
                <a:gd name="T9" fmla="*/ 752 h 1177"/>
                <a:gd name="T10" fmla="*/ 0 w 1584"/>
                <a:gd name="T11" fmla="*/ 548 h 1177"/>
                <a:gd name="T12" fmla="*/ 96 w 1584"/>
                <a:gd name="T13" fmla="*/ 345 h 1177"/>
                <a:gd name="T14" fmla="*/ 221 w 1584"/>
                <a:gd name="T15" fmla="*/ 214 h 1177"/>
                <a:gd name="T16" fmla="*/ 321 w 1584"/>
                <a:gd name="T17" fmla="*/ 141 h 1177"/>
                <a:gd name="T18" fmla="*/ 494 w 1584"/>
                <a:gd name="T19" fmla="*/ 56 h 1177"/>
                <a:gd name="T20" fmla="*/ 768 w 1584"/>
                <a:gd name="T21" fmla="*/ 0 h 1177"/>
                <a:gd name="T22" fmla="*/ 1041 w 1584"/>
                <a:gd name="T23" fmla="*/ 16 h 1177"/>
                <a:gd name="T24" fmla="*/ 1313 w 1584"/>
                <a:gd name="T25" fmla="*/ 112 h 1177"/>
                <a:gd name="T26" fmla="*/ 1356 w 1584"/>
                <a:gd name="T27" fmla="*/ 141 h 1177"/>
                <a:gd name="T28" fmla="*/ 1534 w 1584"/>
                <a:gd name="T29" fmla="*/ 345 h 1177"/>
                <a:gd name="T30" fmla="*/ 1584 w 1584"/>
                <a:gd name="T31" fmla="*/ 548 h 1177"/>
                <a:gd name="T32" fmla="*/ 1519 w 1584"/>
                <a:gd name="T33" fmla="*/ 752 h 1177"/>
                <a:gd name="T34" fmla="*/ 1355 w 1584"/>
                <a:gd name="T35" fmla="*/ 955 h 1177"/>
                <a:gd name="T36" fmla="*/ 1313 w 1584"/>
                <a:gd name="T37" fmla="*/ 988 h 1177"/>
                <a:gd name="T38" fmla="*/ 1041 w 1584"/>
                <a:gd name="T39" fmla="*/ 1124 h 1177"/>
                <a:gd name="T40" fmla="*/ 877 w 1584"/>
                <a:gd name="T41" fmla="*/ 1158 h 1177"/>
                <a:gd name="T42" fmla="*/ 768 w 1584"/>
                <a:gd name="T43" fmla="*/ 1177 h 1177"/>
                <a:gd name="T44" fmla="*/ 494 w 1584"/>
                <a:gd name="T45" fmla="*/ 1162 h 1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4" h="1177">
                  <a:moveTo>
                    <a:pt x="494" y="1162"/>
                  </a:moveTo>
                  <a:lnTo>
                    <a:pt x="484" y="1158"/>
                  </a:lnTo>
                  <a:lnTo>
                    <a:pt x="221" y="1044"/>
                  </a:lnTo>
                  <a:lnTo>
                    <a:pt x="116" y="955"/>
                  </a:lnTo>
                  <a:lnTo>
                    <a:pt x="3" y="752"/>
                  </a:lnTo>
                  <a:lnTo>
                    <a:pt x="0" y="548"/>
                  </a:lnTo>
                  <a:lnTo>
                    <a:pt x="96" y="345"/>
                  </a:lnTo>
                  <a:lnTo>
                    <a:pt x="221" y="214"/>
                  </a:lnTo>
                  <a:lnTo>
                    <a:pt x="321" y="141"/>
                  </a:lnTo>
                  <a:lnTo>
                    <a:pt x="494" y="56"/>
                  </a:lnTo>
                  <a:lnTo>
                    <a:pt x="768" y="0"/>
                  </a:lnTo>
                  <a:lnTo>
                    <a:pt x="1041" y="16"/>
                  </a:lnTo>
                  <a:lnTo>
                    <a:pt x="1313" y="112"/>
                  </a:lnTo>
                  <a:lnTo>
                    <a:pt x="1356" y="141"/>
                  </a:lnTo>
                  <a:lnTo>
                    <a:pt x="1534" y="345"/>
                  </a:lnTo>
                  <a:lnTo>
                    <a:pt x="1584" y="548"/>
                  </a:lnTo>
                  <a:lnTo>
                    <a:pt x="1519" y="752"/>
                  </a:lnTo>
                  <a:lnTo>
                    <a:pt x="1355" y="955"/>
                  </a:lnTo>
                  <a:lnTo>
                    <a:pt x="1313" y="988"/>
                  </a:lnTo>
                  <a:lnTo>
                    <a:pt x="1041" y="1124"/>
                  </a:lnTo>
                  <a:lnTo>
                    <a:pt x="877" y="1158"/>
                  </a:lnTo>
                  <a:lnTo>
                    <a:pt x="768" y="1177"/>
                  </a:lnTo>
                  <a:lnTo>
                    <a:pt x="494" y="1162"/>
                  </a:lnTo>
                </a:path>
              </a:pathLst>
            </a:custGeom>
            <a:noFill/>
            <a:ln w="12700" cmpd="sng">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236" name="Line 684">
              <a:extLst>
                <a:ext uri="{FF2B5EF4-FFF2-40B4-BE49-F238E27FC236}">
                  <a16:creationId xmlns:a16="http://schemas.microsoft.com/office/drawing/2014/main" id="{2FCBF07B-0551-4FD4-BEA4-CCA7A287B050}"/>
                </a:ext>
              </a:extLst>
            </p:cNvPr>
            <p:cNvSpPr>
              <a:spLocks noChangeAspect="1" noChangeShapeType="1"/>
            </p:cNvSpPr>
            <p:nvPr/>
          </p:nvSpPr>
          <p:spPr bwMode="auto">
            <a:xfrm flipH="1" flipV="1">
              <a:off x="4868864" y="3442653"/>
              <a:ext cx="14287"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37" name="Line 685">
              <a:extLst>
                <a:ext uri="{FF2B5EF4-FFF2-40B4-BE49-F238E27FC236}">
                  <a16:creationId xmlns:a16="http://schemas.microsoft.com/office/drawing/2014/main" id="{824E9349-AAAE-4366-8889-8E403D6C5AB2}"/>
                </a:ext>
              </a:extLst>
            </p:cNvPr>
            <p:cNvSpPr>
              <a:spLocks noChangeAspect="1" noChangeShapeType="1"/>
            </p:cNvSpPr>
            <p:nvPr/>
          </p:nvSpPr>
          <p:spPr bwMode="auto">
            <a:xfrm flipH="1" flipV="1">
              <a:off x="4835525" y="3428365"/>
              <a:ext cx="33338"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38" name="Line 686">
              <a:extLst>
                <a:ext uri="{FF2B5EF4-FFF2-40B4-BE49-F238E27FC236}">
                  <a16:creationId xmlns:a16="http://schemas.microsoft.com/office/drawing/2014/main" id="{E384BF9C-F9EA-49CE-AF3A-567577C81D44}"/>
                </a:ext>
              </a:extLst>
            </p:cNvPr>
            <p:cNvSpPr>
              <a:spLocks noChangeAspect="1" noChangeShapeType="1"/>
            </p:cNvSpPr>
            <p:nvPr/>
          </p:nvSpPr>
          <p:spPr bwMode="auto">
            <a:xfrm flipH="1" flipV="1">
              <a:off x="4835525" y="3428365"/>
              <a:ext cx="15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39" name="Line 687">
              <a:extLst>
                <a:ext uri="{FF2B5EF4-FFF2-40B4-BE49-F238E27FC236}">
                  <a16:creationId xmlns:a16="http://schemas.microsoft.com/office/drawing/2014/main" id="{793BF547-A982-4006-9C63-2318A3F6F02D}"/>
                </a:ext>
              </a:extLst>
            </p:cNvPr>
            <p:cNvSpPr>
              <a:spLocks noChangeAspect="1" noChangeShapeType="1"/>
            </p:cNvSpPr>
            <p:nvPr/>
          </p:nvSpPr>
          <p:spPr bwMode="auto">
            <a:xfrm flipH="1" flipV="1">
              <a:off x="4789489" y="3404553"/>
              <a:ext cx="33337"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40" name="Line 688">
              <a:extLst>
                <a:ext uri="{FF2B5EF4-FFF2-40B4-BE49-F238E27FC236}">
                  <a16:creationId xmlns:a16="http://schemas.microsoft.com/office/drawing/2014/main" id="{7A488F67-AB16-40E9-AE41-D3E9D717914C}"/>
                </a:ext>
              </a:extLst>
            </p:cNvPr>
            <p:cNvSpPr>
              <a:spLocks noChangeAspect="1" noChangeShapeType="1"/>
            </p:cNvSpPr>
            <p:nvPr/>
          </p:nvSpPr>
          <p:spPr bwMode="auto">
            <a:xfrm flipH="1" flipV="1">
              <a:off x="4778376" y="3396615"/>
              <a:ext cx="11113"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41" name="Line 689">
              <a:extLst>
                <a:ext uri="{FF2B5EF4-FFF2-40B4-BE49-F238E27FC236}">
                  <a16:creationId xmlns:a16="http://schemas.microsoft.com/office/drawing/2014/main" id="{A22B689D-E565-4654-9947-626EB4B53CC8}"/>
                </a:ext>
              </a:extLst>
            </p:cNvPr>
            <p:cNvSpPr>
              <a:spLocks noChangeAspect="1" noChangeShapeType="1"/>
            </p:cNvSpPr>
            <p:nvPr/>
          </p:nvSpPr>
          <p:spPr bwMode="auto">
            <a:xfrm flipH="1" flipV="1">
              <a:off x="4743450" y="3374390"/>
              <a:ext cx="25400"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42" name="Line 690">
              <a:extLst>
                <a:ext uri="{FF2B5EF4-FFF2-40B4-BE49-F238E27FC236}">
                  <a16:creationId xmlns:a16="http://schemas.microsoft.com/office/drawing/2014/main" id="{00167F3D-E5EC-47B0-AD38-F36FE5636DC3}"/>
                </a:ext>
              </a:extLst>
            </p:cNvPr>
            <p:cNvSpPr>
              <a:spLocks noChangeAspect="1" noChangeShapeType="1"/>
            </p:cNvSpPr>
            <p:nvPr/>
          </p:nvSpPr>
          <p:spPr bwMode="auto">
            <a:xfrm flipH="1" flipV="1">
              <a:off x="4724400" y="3360104"/>
              <a:ext cx="19050"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43" name="Line 691">
              <a:extLst>
                <a:ext uri="{FF2B5EF4-FFF2-40B4-BE49-F238E27FC236}">
                  <a16:creationId xmlns:a16="http://schemas.microsoft.com/office/drawing/2014/main" id="{A52494CA-F0A6-4C24-B887-8481135F3E0D}"/>
                </a:ext>
              </a:extLst>
            </p:cNvPr>
            <p:cNvSpPr>
              <a:spLocks noChangeAspect="1" noChangeShapeType="1"/>
            </p:cNvSpPr>
            <p:nvPr/>
          </p:nvSpPr>
          <p:spPr bwMode="auto">
            <a:xfrm flipH="1">
              <a:off x="4714875" y="3350579"/>
              <a:ext cx="0"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44" name="Line 692">
              <a:extLst>
                <a:ext uri="{FF2B5EF4-FFF2-40B4-BE49-F238E27FC236}">
                  <a16:creationId xmlns:a16="http://schemas.microsoft.com/office/drawing/2014/main" id="{7AC10F41-6C82-4953-8DC0-D9F3CD93DD4C}"/>
                </a:ext>
              </a:extLst>
            </p:cNvPr>
            <p:cNvSpPr>
              <a:spLocks noChangeAspect="1" noChangeShapeType="1"/>
            </p:cNvSpPr>
            <p:nvPr/>
          </p:nvSpPr>
          <p:spPr bwMode="auto">
            <a:xfrm flipH="1" flipV="1">
              <a:off x="4697413" y="3336290"/>
              <a:ext cx="17462"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45" name="Line 693">
              <a:extLst>
                <a:ext uri="{FF2B5EF4-FFF2-40B4-BE49-F238E27FC236}">
                  <a16:creationId xmlns:a16="http://schemas.microsoft.com/office/drawing/2014/main" id="{723E065A-6F74-457B-BA02-84E863F16037}"/>
                </a:ext>
              </a:extLst>
            </p:cNvPr>
            <p:cNvSpPr>
              <a:spLocks noChangeAspect="1" noChangeShapeType="1"/>
            </p:cNvSpPr>
            <p:nvPr/>
          </p:nvSpPr>
          <p:spPr bwMode="auto">
            <a:xfrm flipH="1" flipV="1">
              <a:off x="4675189" y="3315654"/>
              <a:ext cx="22225"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46" name="Line 694">
              <a:extLst>
                <a:ext uri="{FF2B5EF4-FFF2-40B4-BE49-F238E27FC236}">
                  <a16:creationId xmlns:a16="http://schemas.microsoft.com/office/drawing/2014/main" id="{87BA552B-693D-43D1-A99B-65E075D77F60}"/>
                </a:ext>
              </a:extLst>
            </p:cNvPr>
            <p:cNvSpPr>
              <a:spLocks noChangeAspect="1" noChangeShapeType="1"/>
            </p:cNvSpPr>
            <p:nvPr/>
          </p:nvSpPr>
          <p:spPr bwMode="auto">
            <a:xfrm flipH="1" flipV="1">
              <a:off x="4664075" y="3306128"/>
              <a:ext cx="1588"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47" name="Line 695">
              <a:extLst>
                <a:ext uri="{FF2B5EF4-FFF2-40B4-BE49-F238E27FC236}">
                  <a16:creationId xmlns:a16="http://schemas.microsoft.com/office/drawing/2014/main" id="{DFDC5EE0-D962-4F4A-AEB8-F44E8C4677AC}"/>
                </a:ext>
              </a:extLst>
            </p:cNvPr>
            <p:cNvSpPr>
              <a:spLocks noChangeAspect="1" noChangeShapeType="1"/>
            </p:cNvSpPr>
            <p:nvPr/>
          </p:nvSpPr>
          <p:spPr bwMode="auto">
            <a:xfrm flipH="1" flipV="1">
              <a:off x="4651375" y="3291840"/>
              <a:ext cx="12700"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48" name="Line 696">
              <a:extLst>
                <a:ext uri="{FF2B5EF4-FFF2-40B4-BE49-F238E27FC236}">
                  <a16:creationId xmlns:a16="http://schemas.microsoft.com/office/drawing/2014/main" id="{2511AA99-F7DB-4980-9938-CEA7839349A8}"/>
                </a:ext>
              </a:extLst>
            </p:cNvPr>
            <p:cNvSpPr>
              <a:spLocks noChangeAspect="1" noChangeShapeType="1"/>
            </p:cNvSpPr>
            <p:nvPr/>
          </p:nvSpPr>
          <p:spPr bwMode="auto">
            <a:xfrm flipH="1" flipV="1">
              <a:off x="4627563" y="3264854"/>
              <a:ext cx="23812" cy="269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49" name="Line 697">
              <a:extLst>
                <a:ext uri="{FF2B5EF4-FFF2-40B4-BE49-F238E27FC236}">
                  <a16:creationId xmlns:a16="http://schemas.microsoft.com/office/drawing/2014/main" id="{EFF0FEFF-AB6F-4498-A0E4-F21DA9F7F6FC}"/>
                </a:ext>
              </a:extLst>
            </p:cNvPr>
            <p:cNvSpPr>
              <a:spLocks noChangeAspect="1" noChangeShapeType="1"/>
            </p:cNvSpPr>
            <p:nvPr/>
          </p:nvSpPr>
          <p:spPr bwMode="auto">
            <a:xfrm flipH="1" flipV="1">
              <a:off x="4606925" y="3236278"/>
              <a:ext cx="12700"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50" name="Line 698">
              <a:extLst>
                <a:ext uri="{FF2B5EF4-FFF2-40B4-BE49-F238E27FC236}">
                  <a16:creationId xmlns:a16="http://schemas.microsoft.com/office/drawing/2014/main" id="{4D474283-02E2-4F91-BC87-A2F89AECD348}"/>
                </a:ext>
              </a:extLst>
            </p:cNvPr>
            <p:cNvSpPr>
              <a:spLocks noChangeAspect="1" noChangeShapeType="1"/>
            </p:cNvSpPr>
            <p:nvPr/>
          </p:nvSpPr>
          <p:spPr bwMode="auto">
            <a:xfrm flipH="1" flipV="1">
              <a:off x="4589463" y="3214054"/>
              <a:ext cx="17462"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51" name="Line 699">
              <a:extLst>
                <a:ext uri="{FF2B5EF4-FFF2-40B4-BE49-F238E27FC236}">
                  <a16:creationId xmlns:a16="http://schemas.microsoft.com/office/drawing/2014/main" id="{54033A67-E0AC-44A5-8123-F12097A19796}"/>
                </a:ext>
              </a:extLst>
            </p:cNvPr>
            <p:cNvSpPr>
              <a:spLocks noChangeAspect="1" noChangeShapeType="1"/>
            </p:cNvSpPr>
            <p:nvPr/>
          </p:nvSpPr>
          <p:spPr bwMode="auto">
            <a:xfrm flipH="1" flipV="1">
              <a:off x="4586289" y="3209291"/>
              <a:ext cx="3175"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52" name="Line 700">
              <a:extLst>
                <a:ext uri="{FF2B5EF4-FFF2-40B4-BE49-F238E27FC236}">
                  <a16:creationId xmlns:a16="http://schemas.microsoft.com/office/drawing/2014/main" id="{BA4516D3-20E6-45B2-AA6C-367B31B3DEF4}"/>
                </a:ext>
              </a:extLst>
            </p:cNvPr>
            <p:cNvSpPr>
              <a:spLocks noChangeAspect="1" noChangeShapeType="1"/>
            </p:cNvSpPr>
            <p:nvPr/>
          </p:nvSpPr>
          <p:spPr bwMode="auto">
            <a:xfrm flipH="1" flipV="1">
              <a:off x="4559300" y="3169604"/>
              <a:ext cx="19050"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53" name="Line 701">
              <a:extLst>
                <a:ext uri="{FF2B5EF4-FFF2-40B4-BE49-F238E27FC236}">
                  <a16:creationId xmlns:a16="http://schemas.microsoft.com/office/drawing/2014/main" id="{9881BE4F-DAB8-43DC-BC42-68DCD9A72717}"/>
                </a:ext>
              </a:extLst>
            </p:cNvPr>
            <p:cNvSpPr>
              <a:spLocks noChangeAspect="1" noChangeShapeType="1"/>
            </p:cNvSpPr>
            <p:nvPr/>
          </p:nvSpPr>
          <p:spPr bwMode="auto">
            <a:xfrm flipH="1" flipV="1">
              <a:off x="4559300" y="3168015"/>
              <a:ext cx="15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54" name="Line 702">
              <a:extLst>
                <a:ext uri="{FF2B5EF4-FFF2-40B4-BE49-F238E27FC236}">
                  <a16:creationId xmlns:a16="http://schemas.microsoft.com/office/drawing/2014/main" id="{20430EF5-2B17-4EE2-86CF-FAD653EBA67F}"/>
                </a:ext>
              </a:extLst>
            </p:cNvPr>
            <p:cNvSpPr>
              <a:spLocks noChangeAspect="1" noChangeShapeType="1"/>
            </p:cNvSpPr>
            <p:nvPr/>
          </p:nvSpPr>
          <p:spPr bwMode="auto">
            <a:xfrm flipH="1" flipV="1">
              <a:off x="4548188" y="3150553"/>
              <a:ext cx="11112"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55" name="Line 703">
              <a:extLst>
                <a:ext uri="{FF2B5EF4-FFF2-40B4-BE49-F238E27FC236}">
                  <a16:creationId xmlns:a16="http://schemas.microsoft.com/office/drawing/2014/main" id="{16CA5259-5FC0-4015-A681-CFF1689607C3}"/>
                </a:ext>
              </a:extLst>
            </p:cNvPr>
            <p:cNvSpPr>
              <a:spLocks noChangeAspect="1" noChangeShapeType="1"/>
            </p:cNvSpPr>
            <p:nvPr/>
          </p:nvSpPr>
          <p:spPr bwMode="auto">
            <a:xfrm flipH="1" flipV="1">
              <a:off x="4532314" y="3121979"/>
              <a:ext cx="9525"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56" name="Line 704">
              <a:extLst>
                <a:ext uri="{FF2B5EF4-FFF2-40B4-BE49-F238E27FC236}">
                  <a16:creationId xmlns:a16="http://schemas.microsoft.com/office/drawing/2014/main" id="{37030EAB-3DEE-4A3C-9C63-92C9E82BFD5C}"/>
                </a:ext>
              </a:extLst>
            </p:cNvPr>
            <p:cNvSpPr>
              <a:spLocks noChangeAspect="1" noChangeShapeType="1"/>
            </p:cNvSpPr>
            <p:nvPr/>
          </p:nvSpPr>
          <p:spPr bwMode="auto">
            <a:xfrm flipH="1" flipV="1">
              <a:off x="4516439" y="3087054"/>
              <a:ext cx="15875"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57" name="Line 705">
              <a:extLst>
                <a:ext uri="{FF2B5EF4-FFF2-40B4-BE49-F238E27FC236}">
                  <a16:creationId xmlns:a16="http://schemas.microsoft.com/office/drawing/2014/main" id="{B8360E33-A00B-4E95-89A5-0BB9A0042249}"/>
                </a:ext>
              </a:extLst>
            </p:cNvPr>
            <p:cNvSpPr>
              <a:spLocks noChangeAspect="1" noChangeShapeType="1"/>
            </p:cNvSpPr>
            <p:nvPr/>
          </p:nvSpPr>
          <p:spPr bwMode="auto">
            <a:xfrm flipH="1" flipV="1">
              <a:off x="4491038" y="3029903"/>
              <a:ext cx="17462" cy="428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58" name="Line 706">
              <a:extLst>
                <a:ext uri="{FF2B5EF4-FFF2-40B4-BE49-F238E27FC236}">
                  <a16:creationId xmlns:a16="http://schemas.microsoft.com/office/drawing/2014/main" id="{B8A58959-9F19-4914-B6B1-F421B07FC5AD}"/>
                </a:ext>
              </a:extLst>
            </p:cNvPr>
            <p:cNvSpPr>
              <a:spLocks noChangeAspect="1" noChangeShapeType="1"/>
            </p:cNvSpPr>
            <p:nvPr/>
          </p:nvSpPr>
          <p:spPr bwMode="auto">
            <a:xfrm flipH="1" flipV="1">
              <a:off x="4487864" y="3018791"/>
              <a:ext cx="3175"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59" name="Line 707">
              <a:extLst>
                <a:ext uri="{FF2B5EF4-FFF2-40B4-BE49-F238E27FC236}">
                  <a16:creationId xmlns:a16="http://schemas.microsoft.com/office/drawing/2014/main" id="{B2F309C4-36C5-4B38-A443-D700FF1AC19C}"/>
                </a:ext>
              </a:extLst>
            </p:cNvPr>
            <p:cNvSpPr>
              <a:spLocks noChangeAspect="1" noChangeShapeType="1"/>
            </p:cNvSpPr>
            <p:nvPr/>
          </p:nvSpPr>
          <p:spPr bwMode="auto">
            <a:xfrm flipH="1" flipV="1">
              <a:off x="4475164" y="2983866"/>
              <a:ext cx="7937"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60" name="Line 708">
              <a:extLst>
                <a:ext uri="{FF2B5EF4-FFF2-40B4-BE49-F238E27FC236}">
                  <a16:creationId xmlns:a16="http://schemas.microsoft.com/office/drawing/2014/main" id="{CAE87EA1-7097-4877-984B-6007613C02CF}"/>
                </a:ext>
              </a:extLst>
            </p:cNvPr>
            <p:cNvSpPr>
              <a:spLocks noChangeAspect="1" noChangeShapeType="1"/>
            </p:cNvSpPr>
            <p:nvPr/>
          </p:nvSpPr>
          <p:spPr bwMode="auto">
            <a:xfrm flipH="1" flipV="1">
              <a:off x="4467225" y="2953703"/>
              <a:ext cx="7938" cy="301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61" name="Line 709">
              <a:extLst>
                <a:ext uri="{FF2B5EF4-FFF2-40B4-BE49-F238E27FC236}">
                  <a16:creationId xmlns:a16="http://schemas.microsoft.com/office/drawing/2014/main" id="{26D6A5D3-37CA-4F08-A489-208EE415A703}"/>
                </a:ext>
              </a:extLst>
            </p:cNvPr>
            <p:cNvSpPr>
              <a:spLocks noChangeAspect="1" noChangeShapeType="1"/>
            </p:cNvSpPr>
            <p:nvPr/>
          </p:nvSpPr>
          <p:spPr bwMode="auto">
            <a:xfrm flipH="1" flipV="1">
              <a:off x="4465639" y="2948941"/>
              <a:ext cx="1587"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62" name="Line 710">
              <a:extLst>
                <a:ext uri="{FF2B5EF4-FFF2-40B4-BE49-F238E27FC236}">
                  <a16:creationId xmlns:a16="http://schemas.microsoft.com/office/drawing/2014/main" id="{CD86017A-8817-44CF-95AA-3FE93CD7964E}"/>
                </a:ext>
              </a:extLst>
            </p:cNvPr>
            <p:cNvSpPr>
              <a:spLocks noChangeAspect="1" noChangeShapeType="1"/>
            </p:cNvSpPr>
            <p:nvPr/>
          </p:nvSpPr>
          <p:spPr bwMode="auto">
            <a:xfrm flipH="1" flipV="1">
              <a:off x="4451351" y="2891791"/>
              <a:ext cx="11113" cy="428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63" name="Line 711">
              <a:extLst>
                <a:ext uri="{FF2B5EF4-FFF2-40B4-BE49-F238E27FC236}">
                  <a16:creationId xmlns:a16="http://schemas.microsoft.com/office/drawing/2014/main" id="{BB16F4C4-D5E4-410E-80A5-87AE46B0C3ED}"/>
                </a:ext>
              </a:extLst>
            </p:cNvPr>
            <p:cNvSpPr>
              <a:spLocks noChangeAspect="1" noChangeShapeType="1"/>
            </p:cNvSpPr>
            <p:nvPr/>
          </p:nvSpPr>
          <p:spPr bwMode="auto">
            <a:xfrm flipH="1" flipV="1">
              <a:off x="4448176" y="2875916"/>
              <a:ext cx="3175"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64" name="Line 712">
              <a:extLst>
                <a:ext uri="{FF2B5EF4-FFF2-40B4-BE49-F238E27FC236}">
                  <a16:creationId xmlns:a16="http://schemas.microsoft.com/office/drawing/2014/main" id="{83141D34-EA6D-4FC5-85B1-3CCB4BDADCC3}"/>
                </a:ext>
              </a:extLst>
            </p:cNvPr>
            <p:cNvSpPr>
              <a:spLocks noChangeAspect="1" noChangeShapeType="1"/>
            </p:cNvSpPr>
            <p:nvPr/>
          </p:nvSpPr>
          <p:spPr bwMode="auto">
            <a:xfrm flipH="1" flipV="1">
              <a:off x="4443414" y="2845754"/>
              <a:ext cx="3175"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65" name="Line 713">
              <a:extLst>
                <a:ext uri="{FF2B5EF4-FFF2-40B4-BE49-F238E27FC236}">
                  <a16:creationId xmlns:a16="http://schemas.microsoft.com/office/drawing/2014/main" id="{4522F1D8-AB52-4C90-BB0F-3E85EE028A55}"/>
                </a:ext>
              </a:extLst>
            </p:cNvPr>
            <p:cNvSpPr>
              <a:spLocks noChangeAspect="1" noChangeShapeType="1"/>
            </p:cNvSpPr>
            <p:nvPr/>
          </p:nvSpPr>
          <p:spPr bwMode="auto">
            <a:xfrm flipH="1" flipV="1">
              <a:off x="4437063" y="2802891"/>
              <a:ext cx="6350" cy="428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66" name="Line 714">
              <a:extLst>
                <a:ext uri="{FF2B5EF4-FFF2-40B4-BE49-F238E27FC236}">
                  <a16:creationId xmlns:a16="http://schemas.microsoft.com/office/drawing/2014/main" id="{3CDAEB3D-1DC2-435D-AF75-29653209D9F0}"/>
                </a:ext>
              </a:extLst>
            </p:cNvPr>
            <p:cNvSpPr>
              <a:spLocks noChangeAspect="1" noChangeShapeType="1"/>
            </p:cNvSpPr>
            <p:nvPr/>
          </p:nvSpPr>
          <p:spPr bwMode="auto">
            <a:xfrm flipH="1" flipV="1">
              <a:off x="4433889" y="2755265"/>
              <a:ext cx="3175"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67" name="Line 715">
              <a:extLst>
                <a:ext uri="{FF2B5EF4-FFF2-40B4-BE49-F238E27FC236}">
                  <a16:creationId xmlns:a16="http://schemas.microsoft.com/office/drawing/2014/main" id="{2E3E99D6-79EB-41BA-AB32-2CB502214BD7}"/>
                </a:ext>
              </a:extLst>
            </p:cNvPr>
            <p:cNvSpPr>
              <a:spLocks noChangeAspect="1" noChangeShapeType="1"/>
            </p:cNvSpPr>
            <p:nvPr/>
          </p:nvSpPr>
          <p:spPr bwMode="auto">
            <a:xfrm flipH="1" flipV="1">
              <a:off x="4432300" y="2726691"/>
              <a:ext cx="1588"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68" name="Line 716">
              <a:extLst>
                <a:ext uri="{FF2B5EF4-FFF2-40B4-BE49-F238E27FC236}">
                  <a16:creationId xmlns:a16="http://schemas.microsoft.com/office/drawing/2014/main" id="{E54ECEA4-78DB-42C1-8B15-4333AC56C60A}"/>
                </a:ext>
              </a:extLst>
            </p:cNvPr>
            <p:cNvSpPr>
              <a:spLocks noChangeAspect="1" noChangeShapeType="1"/>
            </p:cNvSpPr>
            <p:nvPr/>
          </p:nvSpPr>
          <p:spPr bwMode="auto">
            <a:xfrm flipV="1">
              <a:off x="4432300" y="2709229"/>
              <a:ext cx="1588"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69" name="Line 717">
              <a:extLst>
                <a:ext uri="{FF2B5EF4-FFF2-40B4-BE49-F238E27FC236}">
                  <a16:creationId xmlns:a16="http://schemas.microsoft.com/office/drawing/2014/main" id="{69609B07-0B69-4B24-9CE3-2F7B6314A444}"/>
                </a:ext>
              </a:extLst>
            </p:cNvPr>
            <p:cNvSpPr>
              <a:spLocks noChangeAspect="1" noChangeShapeType="1"/>
            </p:cNvSpPr>
            <p:nvPr/>
          </p:nvSpPr>
          <p:spPr bwMode="auto">
            <a:xfrm flipV="1">
              <a:off x="4432300" y="2663190"/>
              <a:ext cx="1588" cy="460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70" name="Line 718">
              <a:extLst>
                <a:ext uri="{FF2B5EF4-FFF2-40B4-BE49-F238E27FC236}">
                  <a16:creationId xmlns:a16="http://schemas.microsoft.com/office/drawing/2014/main" id="{78E3C863-1092-4827-924B-0F1DD5D47300}"/>
                </a:ext>
              </a:extLst>
            </p:cNvPr>
            <p:cNvSpPr>
              <a:spLocks noChangeAspect="1" noChangeShapeType="1"/>
            </p:cNvSpPr>
            <p:nvPr/>
          </p:nvSpPr>
          <p:spPr bwMode="auto">
            <a:xfrm flipV="1">
              <a:off x="4432300" y="2652078"/>
              <a:ext cx="1588"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71" name="Line 719">
              <a:extLst>
                <a:ext uri="{FF2B5EF4-FFF2-40B4-BE49-F238E27FC236}">
                  <a16:creationId xmlns:a16="http://schemas.microsoft.com/office/drawing/2014/main" id="{4DD00B8C-FF2C-4BA3-A4B5-F0408F3349B0}"/>
                </a:ext>
              </a:extLst>
            </p:cNvPr>
            <p:cNvSpPr>
              <a:spLocks noChangeAspect="1" noChangeShapeType="1"/>
            </p:cNvSpPr>
            <p:nvPr/>
          </p:nvSpPr>
          <p:spPr bwMode="auto">
            <a:xfrm flipV="1">
              <a:off x="4433889" y="2617153"/>
              <a:ext cx="1587"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72" name="Line 720">
              <a:extLst>
                <a:ext uri="{FF2B5EF4-FFF2-40B4-BE49-F238E27FC236}">
                  <a16:creationId xmlns:a16="http://schemas.microsoft.com/office/drawing/2014/main" id="{BC9091D6-1EAC-4655-9D7C-0EA77B936FC7}"/>
                </a:ext>
              </a:extLst>
            </p:cNvPr>
            <p:cNvSpPr>
              <a:spLocks noChangeAspect="1" noChangeShapeType="1"/>
            </p:cNvSpPr>
            <p:nvPr/>
          </p:nvSpPr>
          <p:spPr bwMode="auto">
            <a:xfrm flipV="1">
              <a:off x="4435476" y="2577465"/>
              <a:ext cx="3175" cy="396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73" name="Line 721">
              <a:extLst>
                <a:ext uri="{FF2B5EF4-FFF2-40B4-BE49-F238E27FC236}">
                  <a16:creationId xmlns:a16="http://schemas.microsoft.com/office/drawing/2014/main" id="{333E4CC7-0B1D-4CFF-91E1-9A5FC804833A}"/>
                </a:ext>
              </a:extLst>
            </p:cNvPr>
            <p:cNvSpPr>
              <a:spLocks noChangeAspect="1" noChangeShapeType="1"/>
            </p:cNvSpPr>
            <p:nvPr/>
          </p:nvSpPr>
          <p:spPr bwMode="auto">
            <a:xfrm flipV="1">
              <a:off x="4441826" y="2526666"/>
              <a:ext cx="4763" cy="365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74" name="Line 722">
              <a:extLst>
                <a:ext uri="{FF2B5EF4-FFF2-40B4-BE49-F238E27FC236}">
                  <a16:creationId xmlns:a16="http://schemas.microsoft.com/office/drawing/2014/main" id="{4C772423-8184-4C5A-B3D5-020AC68A4A60}"/>
                </a:ext>
              </a:extLst>
            </p:cNvPr>
            <p:cNvSpPr>
              <a:spLocks noChangeAspect="1" noChangeShapeType="1"/>
            </p:cNvSpPr>
            <p:nvPr/>
          </p:nvSpPr>
          <p:spPr bwMode="auto">
            <a:xfrm flipV="1">
              <a:off x="4446588" y="2502853"/>
              <a:ext cx="6350" cy="238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75" name="Line 723">
              <a:extLst>
                <a:ext uri="{FF2B5EF4-FFF2-40B4-BE49-F238E27FC236}">
                  <a16:creationId xmlns:a16="http://schemas.microsoft.com/office/drawing/2014/main" id="{D4C17C08-806B-4E54-B8D7-E2F4DA009593}"/>
                </a:ext>
              </a:extLst>
            </p:cNvPr>
            <p:cNvSpPr>
              <a:spLocks noChangeAspect="1" noChangeShapeType="1"/>
            </p:cNvSpPr>
            <p:nvPr/>
          </p:nvSpPr>
          <p:spPr bwMode="auto">
            <a:xfrm flipV="1">
              <a:off x="4454526" y="2480629"/>
              <a:ext cx="3175"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76" name="Line 724">
              <a:extLst>
                <a:ext uri="{FF2B5EF4-FFF2-40B4-BE49-F238E27FC236}">
                  <a16:creationId xmlns:a16="http://schemas.microsoft.com/office/drawing/2014/main" id="{90DC45FC-540F-4867-9E09-6502AA59F803}"/>
                </a:ext>
              </a:extLst>
            </p:cNvPr>
            <p:cNvSpPr>
              <a:spLocks noChangeAspect="1" noChangeShapeType="1"/>
            </p:cNvSpPr>
            <p:nvPr/>
          </p:nvSpPr>
          <p:spPr bwMode="auto">
            <a:xfrm flipV="1">
              <a:off x="4457701" y="2444116"/>
              <a:ext cx="9525" cy="365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77" name="Line 725">
              <a:extLst>
                <a:ext uri="{FF2B5EF4-FFF2-40B4-BE49-F238E27FC236}">
                  <a16:creationId xmlns:a16="http://schemas.microsoft.com/office/drawing/2014/main" id="{891EFACA-FA79-4ABC-81B0-BB4DCD5C8561}"/>
                </a:ext>
              </a:extLst>
            </p:cNvPr>
            <p:cNvSpPr>
              <a:spLocks noChangeAspect="1" noChangeShapeType="1"/>
            </p:cNvSpPr>
            <p:nvPr/>
          </p:nvSpPr>
          <p:spPr bwMode="auto">
            <a:xfrm flipV="1">
              <a:off x="4467226" y="2434591"/>
              <a:ext cx="3175"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78" name="Line 726">
              <a:extLst>
                <a:ext uri="{FF2B5EF4-FFF2-40B4-BE49-F238E27FC236}">
                  <a16:creationId xmlns:a16="http://schemas.microsoft.com/office/drawing/2014/main" id="{4D19A49B-73DC-449A-9DF1-3CB0799FA5E4}"/>
                </a:ext>
              </a:extLst>
            </p:cNvPr>
            <p:cNvSpPr>
              <a:spLocks noChangeAspect="1" noChangeShapeType="1"/>
            </p:cNvSpPr>
            <p:nvPr/>
          </p:nvSpPr>
          <p:spPr bwMode="auto">
            <a:xfrm flipV="1">
              <a:off x="4470400" y="2431416"/>
              <a:ext cx="1588"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79" name="Line 727">
              <a:extLst>
                <a:ext uri="{FF2B5EF4-FFF2-40B4-BE49-F238E27FC236}">
                  <a16:creationId xmlns:a16="http://schemas.microsoft.com/office/drawing/2014/main" id="{71CB3EB7-C930-4FFD-B30E-CD895F486144}"/>
                </a:ext>
              </a:extLst>
            </p:cNvPr>
            <p:cNvSpPr>
              <a:spLocks noChangeAspect="1" noChangeShapeType="1"/>
            </p:cNvSpPr>
            <p:nvPr/>
          </p:nvSpPr>
          <p:spPr bwMode="auto">
            <a:xfrm flipV="1">
              <a:off x="4475164" y="2388553"/>
              <a:ext cx="9525" cy="301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80" name="Line 728">
              <a:extLst>
                <a:ext uri="{FF2B5EF4-FFF2-40B4-BE49-F238E27FC236}">
                  <a16:creationId xmlns:a16="http://schemas.microsoft.com/office/drawing/2014/main" id="{AFE1C47F-20CD-4781-9325-4A82768BBCE6}"/>
                </a:ext>
              </a:extLst>
            </p:cNvPr>
            <p:cNvSpPr>
              <a:spLocks noChangeAspect="1" noChangeShapeType="1"/>
            </p:cNvSpPr>
            <p:nvPr/>
          </p:nvSpPr>
          <p:spPr bwMode="auto">
            <a:xfrm flipV="1">
              <a:off x="4484688" y="2363153"/>
              <a:ext cx="11112"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81" name="Line 729">
              <a:extLst>
                <a:ext uri="{FF2B5EF4-FFF2-40B4-BE49-F238E27FC236}">
                  <a16:creationId xmlns:a16="http://schemas.microsoft.com/office/drawing/2014/main" id="{1576F486-5493-4B07-9EF3-06C20EE3CAE9}"/>
                </a:ext>
              </a:extLst>
            </p:cNvPr>
            <p:cNvSpPr>
              <a:spLocks noChangeAspect="1" noChangeShapeType="1"/>
            </p:cNvSpPr>
            <p:nvPr/>
          </p:nvSpPr>
          <p:spPr bwMode="auto">
            <a:xfrm flipV="1">
              <a:off x="4500564" y="2342515"/>
              <a:ext cx="1587"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82" name="Line 730">
              <a:extLst>
                <a:ext uri="{FF2B5EF4-FFF2-40B4-BE49-F238E27FC236}">
                  <a16:creationId xmlns:a16="http://schemas.microsoft.com/office/drawing/2014/main" id="{05632295-26F5-4E28-A497-8BBB7A755579}"/>
                </a:ext>
              </a:extLst>
            </p:cNvPr>
            <p:cNvSpPr>
              <a:spLocks noChangeAspect="1" noChangeShapeType="1"/>
            </p:cNvSpPr>
            <p:nvPr/>
          </p:nvSpPr>
          <p:spPr bwMode="auto">
            <a:xfrm flipV="1">
              <a:off x="4502151" y="2318703"/>
              <a:ext cx="11113" cy="238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83" name="Line 731">
              <a:extLst>
                <a:ext uri="{FF2B5EF4-FFF2-40B4-BE49-F238E27FC236}">
                  <a16:creationId xmlns:a16="http://schemas.microsoft.com/office/drawing/2014/main" id="{912BCE75-1D54-4F32-8B12-E200031353CD}"/>
                </a:ext>
              </a:extLst>
            </p:cNvPr>
            <p:cNvSpPr>
              <a:spLocks noChangeAspect="1" noChangeShapeType="1"/>
            </p:cNvSpPr>
            <p:nvPr/>
          </p:nvSpPr>
          <p:spPr bwMode="auto">
            <a:xfrm flipV="1">
              <a:off x="4513263" y="2296479"/>
              <a:ext cx="11112"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84" name="Line 732">
              <a:extLst>
                <a:ext uri="{FF2B5EF4-FFF2-40B4-BE49-F238E27FC236}">
                  <a16:creationId xmlns:a16="http://schemas.microsoft.com/office/drawing/2014/main" id="{23795C59-5259-4296-B9FD-E0F4762E354F}"/>
                </a:ext>
              </a:extLst>
            </p:cNvPr>
            <p:cNvSpPr>
              <a:spLocks noChangeAspect="1" noChangeShapeType="1"/>
            </p:cNvSpPr>
            <p:nvPr/>
          </p:nvSpPr>
          <p:spPr bwMode="auto">
            <a:xfrm flipV="1">
              <a:off x="4524375" y="2296479"/>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85" name="Line 733">
              <a:extLst>
                <a:ext uri="{FF2B5EF4-FFF2-40B4-BE49-F238E27FC236}">
                  <a16:creationId xmlns:a16="http://schemas.microsoft.com/office/drawing/2014/main" id="{4FC76304-2688-4C99-A3E0-DEA48E3C8B7A}"/>
                </a:ext>
              </a:extLst>
            </p:cNvPr>
            <p:cNvSpPr>
              <a:spLocks noChangeAspect="1" noChangeShapeType="1"/>
            </p:cNvSpPr>
            <p:nvPr/>
          </p:nvSpPr>
          <p:spPr bwMode="auto">
            <a:xfrm flipV="1">
              <a:off x="4532313" y="2250440"/>
              <a:ext cx="17462" cy="333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86" name="Line 734">
              <a:extLst>
                <a:ext uri="{FF2B5EF4-FFF2-40B4-BE49-F238E27FC236}">
                  <a16:creationId xmlns:a16="http://schemas.microsoft.com/office/drawing/2014/main" id="{1A302ACF-78C9-4ACC-A399-5CE1E5A0D505}"/>
                </a:ext>
              </a:extLst>
            </p:cNvPr>
            <p:cNvSpPr>
              <a:spLocks noChangeAspect="1" noChangeShapeType="1"/>
            </p:cNvSpPr>
            <p:nvPr/>
          </p:nvSpPr>
          <p:spPr bwMode="auto">
            <a:xfrm flipV="1">
              <a:off x="4549776" y="2234566"/>
              <a:ext cx="9525"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87" name="Line 735">
              <a:extLst>
                <a:ext uri="{FF2B5EF4-FFF2-40B4-BE49-F238E27FC236}">
                  <a16:creationId xmlns:a16="http://schemas.microsoft.com/office/drawing/2014/main" id="{28A3756F-C474-4767-AE71-70EB143BF45D}"/>
                </a:ext>
              </a:extLst>
            </p:cNvPr>
            <p:cNvSpPr>
              <a:spLocks noChangeAspect="1" noChangeShapeType="1"/>
            </p:cNvSpPr>
            <p:nvPr/>
          </p:nvSpPr>
          <p:spPr bwMode="auto">
            <a:xfrm flipV="1">
              <a:off x="4559300" y="2234565"/>
              <a:ext cx="15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88" name="Line 736">
              <a:extLst>
                <a:ext uri="{FF2B5EF4-FFF2-40B4-BE49-F238E27FC236}">
                  <a16:creationId xmlns:a16="http://schemas.microsoft.com/office/drawing/2014/main" id="{B8334D1C-EB18-4F2A-ABBE-6CB491739A7E}"/>
                </a:ext>
              </a:extLst>
            </p:cNvPr>
            <p:cNvSpPr>
              <a:spLocks noChangeAspect="1" noChangeShapeType="1"/>
            </p:cNvSpPr>
            <p:nvPr/>
          </p:nvSpPr>
          <p:spPr bwMode="auto">
            <a:xfrm flipV="1">
              <a:off x="4567238" y="2205991"/>
              <a:ext cx="11112"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89" name="Line 737">
              <a:extLst>
                <a:ext uri="{FF2B5EF4-FFF2-40B4-BE49-F238E27FC236}">
                  <a16:creationId xmlns:a16="http://schemas.microsoft.com/office/drawing/2014/main" id="{4EF15CF7-0C21-4A41-BC22-98E8EBFB3AB3}"/>
                </a:ext>
              </a:extLst>
            </p:cNvPr>
            <p:cNvSpPr>
              <a:spLocks noChangeAspect="1" noChangeShapeType="1"/>
            </p:cNvSpPr>
            <p:nvPr/>
          </p:nvSpPr>
          <p:spPr bwMode="auto">
            <a:xfrm flipV="1">
              <a:off x="4578350" y="2177416"/>
              <a:ext cx="20638"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90" name="Line 738">
              <a:extLst>
                <a:ext uri="{FF2B5EF4-FFF2-40B4-BE49-F238E27FC236}">
                  <a16:creationId xmlns:a16="http://schemas.microsoft.com/office/drawing/2014/main" id="{C570AA7D-D6ED-41E5-9F22-0788D59B2C54}"/>
                </a:ext>
              </a:extLst>
            </p:cNvPr>
            <p:cNvSpPr>
              <a:spLocks noChangeAspect="1" noChangeShapeType="1"/>
            </p:cNvSpPr>
            <p:nvPr/>
          </p:nvSpPr>
          <p:spPr bwMode="auto">
            <a:xfrm flipV="1">
              <a:off x="4608513" y="2159953"/>
              <a:ext cx="4762"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91" name="Line 739">
              <a:extLst>
                <a:ext uri="{FF2B5EF4-FFF2-40B4-BE49-F238E27FC236}">
                  <a16:creationId xmlns:a16="http://schemas.microsoft.com/office/drawing/2014/main" id="{B8E22469-D4E1-4B47-94F2-B98058ACA1AB}"/>
                </a:ext>
              </a:extLst>
            </p:cNvPr>
            <p:cNvSpPr>
              <a:spLocks noChangeAspect="1" noChangeShapeType="1"/>
            </p:cNvSpPr>
            <p:nvPr/>
          </p:nvSpPr>
          <p:spPr bwMode="auto">
            <a:xfrm flipV="1">
              <a:off x="4613275" y="2123441"/>
              <a:ext cx="31750" cy="365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92" name="Line 740">
              <a:extLst>
                <a:ext uri="{FF2B5EF4-FFF2-40B4-BE49-F238E27FC236}">
                  <a16:creationId xmlns:a16="http://schemas.microsoft.com/office/drawing/2014/main" id="{A9444CFF-9E83-4E73-AB5D-6699F0F3B8FA}"/>
                </a:ext>
              </a:extLst>
            </p:cNvPr>
            <p:cNvSpPr>
              <a:spLocks noChangeAspect="1" noChangeShapeType="1"/>
            </p:cNvSpPr>
            <p:nvPr/>
          </p:nvSpPr>
          <p:spPr bwMode="auto">
            <a:xfrm flipV="1">
              <a:off x="4652964" y="2113915"/>
              <a:ext cx="1587"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93" name="Line 741">
              <a:extLst>
                <a:ext uri="{FF2B5EF4-FFF2-40B4-BE49-F238E27FC236}">
                  <a16:creationId xmlns:a16="http://schemas.microsoft.com/office/drawing/2014/main" id="{C885E932-A9B2-4885-A8EF-F7B988CDEB08}"/>
                </a:ext>
              </a:extLst>
            </p:cNvPr>
            <p:cNvSpPr>
              <a:spLocks noChangeAspect="1" noChangeShapeType="1"/>
            </p:cNvSpPr>
            <p:nvPr/>
          </p:nvSpPr>
          <p:spPr bwMode="auto">
            <a:xfrm flipV="1">
              <a:off x="4652964" y="2077403"/>
              <a:ext cx="39687" cy="365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94" name="Line 742">
              <a:extLst>
                <a:ext uri="{FF2B5EF4-FFF2-40B4-BE49-F238E27FC236}">
                  <a16:creationId xmlns:a16="http://schemas.microsoft.com/office/drawing/2014/main" id="{698AE546-ABB0-4142-B62F-710A07BCF37F}"/>
                </a:ext>
              </a:extLst>
            </p:cNvPr>
            <p:cNvSpPr>
              <a:spLocks noChangeAspect="1" noChangeShapeType="1"/>
            </p:cNvSpPr>
            <p:nvPr/>
          </p:nvSpPr>
          <p:spPr bwMode="auto">
            <a:xfrm flipV="1">
              <a:off x="4702176" y="2036128"/>
              <a:ext cx="41275"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95" name="Line 743">
              <a:extLst>
                <a:ext uri="{FF2B5EF4-FFF2-40B4-BE49-F238E27FC236}">
                  <a16:creationId xmlns:a16="http://schemas.microsoft.com/office/drawing/2014/main" id="{635AE10C-F397-4AC6-BCB1-7B81ECC62F7D}"/>
                </a:ext>
              </a:extLst>
            </p:cNvPr>
            <p:cNvSpPr>
              <a:spLocks noChangeAspect="1" noChangeShapeType="1"/>
            </p:cNvSpPr>
            <p:nvPr/>
          </p:nvSpPr>
          <p:spPr bwMode="auto">
            <a:xfrm flipV="1">
              <a:off x="4754564" y="2021840"/>
              <a:ext cx="9525"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96" name="Line 744">
              <a:extLst>
                <a:ext uri="{FF2B5EF4-FFF2-40B4-BE49-F238E27FC236}">
                  <a16:creationId xmlns:a16="http://schemas.microsoft.com/office/drawing/2014/main" id="{ACBE0A61-E911-4664-9C21-B6B9458D2452}"/>
                </a:ext>
              </a:extLst>
            </p:cNvPr>
            <p:cNvSpPr>
              <a:spLocks noChangeAspect="1" noChangeShapeType="1"/>
            </p:cNvSpPr>
            <p:nvPr/>
          </p:nvSpPr>
          <p:spPr bwMode="auto">
            <a:xfrm flipV="1">
              <a:off x="4764088" y="2004378"/>
              <a:ext cx="25400"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97" name="Line 745">
              <a:extLst>
                <a:ext uri="{FF2B5EF4-FFF2-40B4-BE49-F238E27FC236}">
                  <a16:creationId xmlns:a16="http://schemas.microsoft.com/office/drawing/2014/main" id="{C0628FE3-84C8-4DB0-89ED-BD969962F262}"/>
                </a:ext>
              </a:extLst>
            </p:cNvPr>
            <p:cNvSpPr>
              <a:spLocks noChangeAspect="1" noChangeShapeType="1"/>
            </p:cNvSpPr>
            <p:nvPr/>
          </p:nvSpPr>
          <p:spPr bwMode="auto">
            <a:xfrm flipV="1">
              <a:off x="4789489" y="2001204"/>
              <a:ext cx="952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98" name="Line 746">
              <a:extLst>
                <a:ext uri="{FF2B5EF4-FFF2-40B4-BE49-F238E27FC236}">
                  <a16:creationId xmlns:a16="http://schemas.microsoft.com/office/drawing/2014/main" id="{002AEB6F-4C98-4250-8821-E0A8E8049A42}"/>
                </a:ext>
              </a:extLst>
            </p:cNvPr>
            <p:cNvSpPr>
              <a:spLocks noChangeAspect="1" noChangeShapeType="1"/>
            </p:cNvSpPr>
            <p:nvPr/>
          </p:nvSpPr>
          <p:spPr bwMode="auto">
            <a:xfrm flipV="1">
              <a:off x="4810125" y="1982153"/>
              <a:ext cx="25400"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299" name="Line 747">
              <a:extLst>
                <a:ext uri="{FF2B5EF4-FFF2-40B4-BE49-F238E27FC236}">
                  <a16:creationId xmlns:a16="http://schemas.microsoft.com/office/drawing/2014/main" id="{46001FAC-9D35-4796-B851-A634DD674E11}"/>
                </a:ext>
              </a:extLst>
            </p:cNvPr>
            <p:cNvSpPr>
              <a:spLocks noChangeAspect="1" noChangeShapeType="1"/>
            </p:cNvSpPr>
            <p:nvPr/>
          </p:nvSpPr>
          <p:spPr bwMode="auto">
            <a:xfrm flipV="1">
              <a:off x="4835525" y="1975803"/>
              <a:ext cx="14288"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00" name="Line 748">
              <a:extLst>
                <a:ext uri="{FF2B5EF4-FFF2-40B4-BE49-F238E27FC236}">
                  <a16:creationId xmlns:a16="http://schemas.microsoft.com/office/drawing/2014/main" id="{4E1135D1-8231-44AE-985D-EE74A86BFB2D}"/>
                </a:ext>
              </a:extLst>
            </p:cNvPr>
            <p:cNvSpPr>
              <a:spLocks noChangeAspect="1" noChangeShapeType="1"/>
            </p:cNvSpPr>
            <p:nvPr/>
          </p:nvSpPr>
          <p:spPr bwMode="auto">
            <a:xfrm flipV="1">
              <a:off x="4849813" y="1974215"/>
              <a:ext cx="6350"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01" name="Line 749">
              <a:extLst>
                <a:ext uri="{FF2B5EF4-FFF2-40B4-BE49-F238E27FC236}">
                  <a16:creationId xmlns:a16="http://schemas.microsoft.com/office/drawing/2014/main" id="{D1B7F094-285B-4DEA-BFB2-A58CFDC298BC}"/>
                </a:ext>
              </a:extLst>
            </p:cNvPr>
            <p:cNvSpPr>
              <a:spLocks noChangeAspect="1" noChangeShapeType="1"/>
            </p:cNvSpPr>
            <p:nvPr/>
          </p:nvSpPr>
          <p:spPr bwMode="auto">
            <a:xfrm flipV="1">
              <a:off x="4868864" y="1963103"/>
              <a:ext cx="14287"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02" name="Line 750">
              <a:extLst>
                <a:ext uri="{FF2B5EF4-FFF2-40B4-BE49-F238E27FC236}">
                  <a16:creationId xmlns:a16="http://schemas.microsoft.com/office/drawing/2014/main" id="{E97A0424-08CD-4E80-892A-2A6ACA658E3D}"/>
                </a:ext>
              </a:extLst>
            </p:cNvPr>
            <p:cNvSpPr>
              <a:spLocks noChangeAspect="1" noChangeShapeType="1"/>
            </p:cNvSpPr>
            <p:nvPr/>
          </p:nvSpPr>
          <p:spPr bwMode="auto">
            <a:xfrm flipV="1">
              <a:off x="4883150" y="1951991"/>
              <a:ext cx="33338"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03" name="Line 751">
              <a:extLst>
                <a:ext uri="{FF2B5EF4-FFF2-40B4-BE49-F238E27FC236}">
                  <a16:creationId xmlns:a16="http://schemas.microsoft.com/office/drawing/2014/main" id="{BEDDF9A6-06FB-4039-A631-FD6796C38159}"/>
                </a:ext>
              </a:extLst>
            </p:cNvPr>
            <p:cNvSpPr>
              <a:spLocks noChangeAspect="1" noChangeShapeType="1"/>
            </p:cNvSpPr>
            <p:nvPr/>
          </p:nvSpPr>
          <p:spPr bwMode="auto">
            <a:xfrm flipV="1">
              <a:off x="4929189" y="1939291"/>
              <a:ext cx="46037"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04" name="Line 752">
              <a:extLst>
                <a:ext uri="{FF2B5EF4-FFF2-40B4-BE49-F238E27FC236}">
                  <a16:creationId xmlns:a16="http://schemas.microsoft.com/office/drawing/2014/main" id="{959F578B-5FE0-417D-993C-C5CDBD93BE78}"/>
                </a:ext>
              </a:extLst>
            </p:cNvPr>
            <p:cNvSpPr>
              <a:spLocks noChangeAspect="1" noChangeShapeType="1"/>
            </p:cNvSpPr>
            <p:nvPr/>
          </p:nvSpPr>
          <p:spPr bwMode="auto">
            <a:xfrm flipV="1">
              <a:off x="4975226" y="1939290"/>
              <a:ext cx="3175"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05" name="Line 753">
              <a:extLst>
                <a:ext uri="{FF2B5EF4-FFF2-40B4-BE49-F238E27FC236}">
                  <a16:creationId xmlns:a16="http://schemas.microsoft.com/office/drawing/2014/main" id="{82EDA64B-11F0-472E-BF41-CF3A9DFDD271}"/>
                </a:ext>
              </a:extLst>
            </p:cNvPr>
            <p:cNvSpPr>
              <a:spLocks noChangeAspect="1" noChangeShapeType="1"/>
            </p:cNvSpPr>
            <p:nvPr/>
          </p:nvSpPr>
          <p:spPr bwMode="auto">
            <a:xfrm flipV="1">
              <a:off x="4989513" y="1936116"/>
              <a:ext cx="31750"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06" name="Line 754">
              <a:extLst>
                <a:ext uri="{FF2B5EF4-FFF2-40B4-BE49-F238E27FC236}">
                  <a16:creationId xmlns:a16="http://schemas.microsoft.com/office/drawing/2014/main" id="{275E49AF-8FB8-4598-921D-9F4F174B83E5}"/>
                </a:ext>
              </a:extLst>
            </p:cNvPr>
            <p:cNvSpPr>
              <a:spLocks noChangeAspect="1" noChangeShapeType="1"/>
            </p:cNvSpPr>
            <p:nvPr/>
          </p:nvSpPr>
          <p:spPr bwMode="auto">
            <a:xfrm flipV="1">
              <a:off x="5021263" y="1934529"/>
              <a:ext cx="19050"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07" name="Line 755">
              <a:extLst>
                <a:ext uri="{FF2B5EF4-FFF2-40B4-BE49-F238E27FC236}">
                  <a16:creationId xmlns:a16="http://schemas.microsoft.com/office/drawing/2014/main" id="{3F68467E-1EB2-4B32-A7DC-ED5E24DBB8EF}"/>
                </a:ext>
              </a:extLst>
            </p:cNvPr>
            <p:cNvSpPr>
              <a:spLocks noChangeAspect="1" noChangeShapeType="1"/>
            </p:cNvSpPr>
            <p:nvPr/>
          </p:nvSpPr>
          <p:spPr bwMode="auto">
            <a:xfrm flipV="1">
              <a:off x="5051426" y="1934529"/>
              <a:ext cx="15875"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08" name="Line 756">
              <a:extLst>
                <a:ext uri="{FF2B5EF4-FFF2-40B4-BE49-F238E27FC236}">
                  <a16:creationId xmlns:a16="http://schemas.microsoft.com/office/drawing/2014/main" id="{8874A8F3-B3F5-447B-AA7B-74D3ACFF3EEE}"/>
                </a:ext>
              </a:extLst>
            </p:cNvPr>
            <p:cNvSpPr>
              <a:spLocks noChangeAspect="1" noChangeShapeType="1"/>
            </p:cNvSpPr>
            <p:nvPr/>
          </p:nvSpPr>
          <p:spPr bwMode="auto">
            <a:xfrm>
              <a:off x="5067301" y="1934529"/>
              <a:ext cx="3492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09" name="Line 757">
              <a:extLst>
                <a:ext uri="{FF2B5EF4-FFF2-40B4-BE49-F238E27FC236}">
                  <a16:creationId xmlns:a16="http://schemas.microsoft.com/office/drawing/2014/main" id="{18334EC2-D3A0-427D-AC84-838F37AEC20F}"/>
                </a:ext>
              </a:extLst>
            </p:cNvPr>
            <p:cNvSpPr>
              <a:spLocks noChangeAspect="1" noChangeShapeType="1"/>
            </p:cNvSpPr>
            <p:nvPr/>
          </p:nvSpPr>
          <p:spPr bwMode="auto">
            <a:xfrm>
              <a:off x="5114925" y="1939290"/>
              <a:ext cx="44450"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10" name="Line 758">
              <a:extLst>
                <a:ext uri="{FF2B5EF4-FFF2-40B4-BE49-F238E27FC236}">
                  <a16:creationId xmlns:a16="http://schemas.microsoft.com/office/drawing/2014/main" id="{0BA10C1C-7714-4139-96C6-3E755D4167DA}"/>
                </a:ext>
              </a:extLst>
            </p:cNvPr>
            <p:cNvSpPr>
              <a:spLocks noChangeAspect="1" noChangeShapeType="1"/>
            </p:cNvSpPr>
            <p:nvPr/>
          </p:nvSpPr>
          <p:spPr bwMode="auto">
            <a:xfrm>
              <a:off x="5159376" y="1945640"/>
              <a:ext cx="3175"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11" name="Line 759">
              <a:extLst>
                <a:ext uri="{FF2B5EF4-FFF2-40B4-BE49-F238E27FC236}">
                  <a16:creationId xmlns:a16="http://schemas.microsoft.com/office/drawing/2014/main" id="{7C7F17B6-C6B5-4DA2-A67B-6C9418C8BC62}"/>
                </a:ext>
              </a:extLst>
            </p:cNvPr>
            <p:cNvSpPr>
              <a:spLocks noChangeAspect="1" noChangeShapeType="1"/>
            </p:cNvSpPr>
            <p:nvPr/>
          </p:nvSpPr>
          <p:spPr bwMode="auto">
            <a:xfrm>
              <a:off x="5175251" y="1948815"/>
              <a:ext cx="30163"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12" name="Line 760">
              <a:extLst>
                <a:ext uri="{FF2B5EF4-FFF2-40B4-BE49-F238E27FC236}">
                  <a16:creationId xmlns:a16="http://schemas.microsoft.com/office/drawing/2014/main" id="{1C4E4D2E-40EE-4E90-A17E-C55687C5FD9A}"/>
                </a:ext>
              </a:extLst>
            </p:cNvPr>
            <p:cNvSpPr>
              <a:spLocks noChangeAspect="1" noChangeShapeType="1"/>
            </p:cNvSpPr>
            <p:nvPr/>
          </p:nvSpPr>
          <p:spPr bwMode="auto">
            <a:xfrm>
              <a:off x="5205413" y="1956753"/>
              <a:ext cx="17462"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13" name="Line 761">
              <a:extLst>
                <a:ext uri="{FF2B5EF4-FFF2-40B4-BE49-F238E27FC236}">
                  <a16:creationId xmlns:a16="http://schemas.microsoft.com/office/drawing/2014/main" id="{0DE2CB27-FFC7-487E-8363-9F3648BA731D}"/>
                </a:ext>
              </a:extLst>
            </p:cNvPr>
            <p:cNvSpPr>
              <a:spLocks noChangeAspect="1" noChangeShapeType="1"/>
            </p:cNvSpPr>
            <p:nvPr/>
          </p:nvSpPr>
          <p:spPr bwMode="auto">
            <a:xfrm>
              <a:off x="5235576" y="1966279"/>
              <a:ext cx="158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14" name="Line 762">
              <a:extLst>
                <a:ext uri="{FF2B5EF4-FFF2-40B4-BE49-F238E27FC236}">
                  <a16:creationId xmlns:a16="http://schemas.microsoft.com/office/drawing/2014/main" id="{DE235B14-4A49-4FE4-99CB-ECAE9C8B224C}"/>
                </a:ext>
              </a:extLst>
            </p:cNvPr>
            <p:cNvSpPr>
              <a:spLocks noChangeAspect="1" noChangeShapeType="1"/>
            </p:cNvSpPr>
            <p:nvPr/>
          </p:nvSpPr>
          <p:spPr bwMode="auto">
            <a:xfrm>
              <a:off x="5251451" y="1969453"/>
              <a:ext cx="15875"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15" name="Line 763">
              <a:extLst>
                <a:ext uri="{FF2B5EF4-FFF2-40B4-BE49-F238E27FC236}">
                  <a16:creationId xmlns:a16="http://schemas.microsoft.com/office/drawing/2014/main" id="{D0D5A150-DEFC-4F37-9B99-50F246080A7C}"/>
                </a:ext>
              </a:extLst>
            </p:cNvPr>
            <p:cNvSpPr>
              <a:spLocks noChangeAspect="1" noChangeShapeType="1"/>
            </p:cNvSpPr>
            <p:nvPr/>
          </p:nvSpPr>
          <p:spPr bwMode="auto">
            <a:xfrm>
              <a:off x="5267326" y="1975803"/>
              <a:ext cx="17463"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16" name="Line 764">
              <a:extLst>
                <a:ext uri="{FF2B5EF4-FFF2-40B4-BE49-F238E27FC236}">
                  <a16:creationId xmlns:a16="http://schemas.microsoft.com/office/drawing/2014/main" id="{CB524285-9EEA-42E4-9495-E6AF65C75739}"/>
                </a:ext>
              </a:extLst>
            </p:cNvPr>
            <p:cNvSpPr>
              <a:spLocks noChangeAspect="1" noChangeShapeType="1"/>
            </p:cNvSpPr>
            <p:nvPr/>
          </p:nvSpPr>
          <p:spPr bwMode="auto">
            <a:xfrm>
              <a:off x="5295900" y="1986915"/>
              <a:ext cx="15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17" name="Line 765">
              <a:extLst>
                <a:ext uri="{FF2B5EF4-FFF2-40B4-BE49-F238E27FC236}">
                  <a16:creationId xmlns:a16="http://schemas.microsoft.com/office/drawing/2014/main" id="{B2854F20-0E46-47AE-A7BA-E24937B95612}"/>
                </a:ext>
              </a:extLst>
            </p:cNvPr>
            <p:cNvSpPr>
              <a:spLocks noChangeAspect="1" noChangeShapeType="1"/>
            </p:cNvSpPr>
            <p:nvPr/>
          </p:nvSpPr>
          <p:spPr bwMode="auto">
            <a:xfrm>
              <a:off x="5297488" y="1986915"/>
              <a:ext cx="44450"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18" name="Line 766">
              <a:extLst>
                <a:ext uri="{FF2B5EF4-FFF2-40B4-BE49-F238E27FC236}">
                  <a16:creationId xmlns:a16="http://schemas.microsoft.com/office/drawing/2014/main" id="{674DCC66-8F97-41FD-A98C-7717940C7077}"/>
                </a:ext>
              </a:extLst>
            </p:cNvPr>
            <p:cNvSpPr>
              <a:spLocks noChangeAspect="1" noChangeShapeType="1"/>
            </p:cNvSpPr>
            <p:nvPr/>
          </p:nvSpPr>
          <p:spPr bwMode="auto">
            <a:xfrm>
              <a:off x="5353050" y="2013904"/>
              <a:ext cx="14288"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19" name="Line 767">
              <a:extLst>
                <a:ext uri="{FF2B5EF4-FFF2-40B4-BE49-F238E27FC236}">
                  <a16:creationId xmlns:a16="http://schemas.microsoft.com/office/drawing/2014/main" id="{AC9BCBCF-7892-4660-A6C6-6F43F4E9311D}"/>
                </a:ext>
              </a:extLst>
            </p:cNvPr>
            <p:cNvSpPr>
              <a:spLocks noChangeAspect="1" noChangeShapeType="1"/>
            </p:cNvSpPr>
            <p:nvPr/>
          </p:nvSpPr>
          <p:spPr bwMode="auto">
            <a:xfrm>
              <a:off x="5367339" y="2021841"/>
              <a:ext cx="22225"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20" name="Line 768">
              <a:extLst>
                <a:ext uri="{FF2B5EF4-FFF2-40B4-BE49-F238E27FC236}">
                  <a16:creationId xmlns:a16="http://schemas.microsoft.com/office/drawing/2014/main" id="{94C419B8-E318-459E-B745-36E362FD34C9}"/>
                </a:ext>
              </a:extLst>
            </p:cNvPr>
            <p:cNvSpPr>
              <a:spLocks noChangeAspect="1" noChangeShapeType="1"/>
            </p:cNvSpPr>
            <p:nvPr/>
          </p:nvSpPr>
          <p:spPr bwMode="auto">
            <a:xfrm>
              <a:off x="5389564" y="2032953"/>
              <a:ext cx="9525"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21" name="Line 769">
              <a:extLst>
                <a:ext uri="{FF2B5EF4-FFF2-40B4-BE49-F238E27FC236}">
                  <a16:creationId xmlns:a16="http://schemas.microsoft.com/office/drawing/2014/main" id="{A0C7257A-9A8F-4AE3-A3B6-FE151761E9D1}"/>
                </a:ext>
              </a:extLst>
            </p:cNvPr>
            <p:cNvSpPr>
              <a:spLocks noChangeAspect="1" noChangeShapeType="1"/>
            </p:cNvSpPr>
            <p:nvPr/>
          </p:nvSpPr>
          <p:spPr bwMode="auto">
            <a:xfrm>
              <a:off x="5410200" y="2047241"/>
              <a:ext cx="25400"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22" name="Line 770">
              <a:extLst>
                <a:ext uri="{FF2B5EF4-FFF2-40B4-BE49-F238E27FC236}">
                  <a16:creationId xmlns:a16="http://schemas.microsoft.com/office/drawing/2014/main" id="{CAB3DF64-4233-45B8-A14A-83F6E70BA9E4}"/>
                </a:ext>
              </a:extLst>
            </p:cNvPr>
            <p:cNvSpPr>
              <a:spLocks noChangeAspect="1" noChangeShapeType="1"/>
            </p:cNvSpPr>
            <p:nvPr/>
          </p:nvSpPr>
          <p:spPr bwMode="auto">
            <a:xfrm>
              <a:off x="5435600" y="2063116"/>
              <a:ext cx="6350"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23" name="Line 771">
              <a:extLst>
                <a:ext uri="{FF2B5EF4-FFF2-40B4-BE49-F238E27FC236}">
                  <a16:creationId xmlns:a16="http://schemas.microsoft.com/office/drawing/2014/main" id="{6C61468E-59CC-4F80-B829-F83252731E97}"/>
                </a:ext>
              </a:extLst>
            </p:cNvPr>
            <p:cNvSpPr>
              <a:spLocks noChangeAspect="1" noChangeShapeType="1"/>
            </p:cNvSpPr>
            <p:nvPr/>
          </p:nvSpPr>
          <p:spPr bwMode="auto">
            <a:xfrm>
              <a:off x="5441951" y="2067879"/>
              <a:ext cx="11113"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24" name="Line 772">
              <a:extLst>
                <a:ext uri="{FF2B5EF4-FFF2-40B4-BE49-F238E27FC236}">
                  <a16:creationId xmlns:a16="http://schemas.microsoft.com/office/drawing/2014/main" id="{83FAD1BC-A64B-46CE-B577-84AE0492649C}"/>
                </a:ext>
              </a:extLst>
            </p:cNvPr>
            <p:cNvSpPr>
              <a:spLocks noChangeAspect="1" noChangeShapeType="1"/>
            </p:cNvSpPr>
            <p:nvPr/>
          </p:nvSpPr>
          <p:spPr bwMode="auto">
            <a:xfrm>
              <a:off x="5464175" y="2083754"/>
              <a:ext cx="19050"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25" name="Line 773">
              <a:extLst>
                <a:ext uri="{FF2B5EF4-FFF2-40B4-BE49-F238E27FC236}">
                  <a16:creationId xmlns:a16="http://schemas.microsoft.com/office/drawing/2014/main" id="{BE6ADDFF-1F9E-43AE-AC46-1BA7D8187036}"/>
                </a:ext>
              </a:extLst>
            </p:cNvPr>
            <p:cNvSpPr>
              <a:spLocks noChangeAspect="1" noChangeShapeType="1"/>
            </p:cNvSpPr>
            <p:nvPr/>
          </p:nvSpPr>
          <p:spPr bwMode="auto">
            <a:xfrm>
              <a:off x="5483226" y="2098041"/>
              <a:ext cx="17463"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26" name="Line 774">
              <a:extLst>
                <a:ext uri="{FF2B5EF4-FFF2-40B4-BE49-F238E27FC236}">
                  <a16:creationId xmlns:a16="http://schemas.microsoft.com/office/drawing/2014/main" id="{4ED4CECE-FC80-462B-9DA4-708466F044AC}"/>
                </a:ext>
              </a:extLst>
            </p:cNvPr>
            <p:cNvSpPr>
              <a:spLocks noChangeAspect="1" noChangeShapeType="1"/>
            </p:cNvSpPr>
            <p:nvPr/>
          </p:nvSpPr>
          <p:spPr bwMode="auto">
            <a:xfrm>
              <a:off x="5500689" y="2113916"/>
              <a:ext cx="31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27" name="Line 775">
              <a:extLst>
                <a:ext uri="{FF2B5EF4-FFF2-40B4-BE49-F238E27FC236}">
                  <a16:creationId xmlns:a16="http://schemas.microsoft.com/office/drawing/2014/main" id="{7CE96DEF-B00F-4CB1-A57F-09F8908DC952}"/>
                </a:ext>
              </a:extLst>
            </p:cNvPr>
            <p:cNvSpPr>
              <a:spLocks noChangeAspect="1" noChangeShapeType="1"/>
            </p:cNvSpPr>
            <p:nvPr/>
          </p:nvSpPr>
          <p:spPr bwMode="auto">
            <a:xfrm>
              <a:off x="5514975" y="2126616"/>
              <a:ext cx="14288"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28" name="Line 776">
              <a:extLst>
                <a:ext uri="{FF2B5EF4-FFF2-40B4-BE49-F238E27FC236}">
                  <a16:creationId xmlns:a16="http://schemas.microsoft.com/office/drawing/2014/main" id="{B9A4CBAD-5922-4C65-8D22-BF77496BD332}"/>
                </a:ext>
              </a:extLst>
            </p:cNvPr>
            <p:cNvSpPr>
              <a:spLocks noChangeAspect="1" noChangeShapeType="1"/>
            </p:cNvSpPr>
            <p:nvPr/>
          </p:nvSpPr>
          <p:spPr bwMode="auto">
            <a:xfrm>
              <a:off x="5529264" y="2137729"/>
              <a:ext cx="20637"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29" name="Line 777">
              <a:extLst>
                <a:ext uri="{FF2B5EF4-FFF2-40B4-BE49-F238E27FC236}">
                  <a16:creationId xmlns:a16="http://schemas.microsoft.com/office/drawing/2014/main" id="{080AC41E-336A-4FE4-9560-ECE0CE8B338B}"/>
                </a:ext>
              </a:extLst>
            </p:cNvPr>
            <p:cNvSpPr>
              <a:spLocks noChangeAspect="1" noChangeShapeType="1"/>
            </p:cNvSpPr>
            <p:nvPr/>
          </p:nvSpPr>
          <p:spPr bwMode="auto">
            <a:xfrm>
              <a:off x="5549901" y="2159953"/>
              <a:ext cx="3175"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30" name="Line 778">
              <a:extLst>
                <a:ext uri="{FF2B5EF4-FFF2-40B4-BE49-F238E27FC236}">
                  <a16:creationId xmlns:a16="http://schemas.microsoft.com/office/drawing/2014/main" id="{B6F79608-0CE7-4476-BDD9-B0A3FC3EC425}"/>
                </a:ext>
              </a:extLst>
            </p:cNvPr>
            <p:cNvSpPr>
              <a:spLocks noChangeAspect="1" noChangeShapeType="1"/>
            </p:cNvSpPr>
            <p:nvPr/>
          </p:nvSpPr>
          <p:spPr bwMode="auto">
            <a:xfrm>
              <a:off x="5562600" y="2174241"/>
              <a:ext cx="12700"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31" name="Line 779">
              <a:extLst>
                <a:ext uri="{FF2B5EF4-FFF2-40B4-BE49-F238E27FC236}">
                  <a16:creationId xmlns:a16="http://schemas.microsoft.com/office/drawing/2014/main" id="{810EA328-19F3-41B3-9D28-8C9CDF1F8618}"/>
                </a:ext>
              </a:extLst>
            </p:cNvPr>
            <p:cNvSpPr>
              <a:spLocks noChangeAspect="1" noChangeShapeType="1"/>
            </p:cNvSpPr>
            <p:nvPr/>
          </p:nvSpPr>
          <p:spPr bwMode="auto">
            <a:xfrm>
              <a:off x="5575301" y="2185354"/>
              <a:ext cx="15875"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32" name="Line 780">
              <a:extLst>
                <a:ext uri="{FF2B5EF4-FFF2-40B4-BE49-F238E27FC236}">
                  <a16:creationId xmlns:a16="http://schemas.microsoft.com/office/drawing/2014/main" id="{D58D45ED-E60A-483D-915D-B1AB846967B8}"/>
                </a:ext>
              </a:extLst>
            </p:cNvPr>
            <p:cNvSpPr>
              <a:spLocks noChangeAspect="1" noChangeShapeType="1"/>
            </p:cNvSpPr>
            <p:nvPr/>
          </p:nvSpPr>
          <p:spPr bwMode="auto">
            <a:xfrm>
              <a:off x="5591175" y="2205991"/>
              <a:ext cx="7938"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33" name="Line 781">
              <a:extLst>
                <a:ext uri="{FF2B5EF4-FFF2-40B4-BE49-F238E27FC236}">
                  <a16:creationId xmlns:a16="http://schemas.microsoft.com/office/drawing/2014/main" id="{A728D5AD-3DAC-483B-9085-35EB883288CA}"/>
                </a:ext>
              </a:extLst>
            </p:cNvPr>
            <p:cNvSpPr>
              <a:spLocks noChangeAspect="1" noChangeShapeType="1"/>
            </p:cNvSpPr>
            <p:nvPr/>
          </p:nvSpPr>
          <p:spPr bwMode="auto">
            <a:xfrm>
              <a:off x="5607050" y="2226629"/>
              <a:ext cx="12700"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34" name="Line 782">
              <a:extLst>
                <a:ext uri="{FF2B5EF4-FFF2-40B4-BE49-F238E27FC236}">
                  <a16:creationId xmlns:a16="http://schemas.microsoft.com/office/drawing/2014/main" id="{CECF43C6-30AB-4A06-AF9F-4BAC662DBF87}"/>
                </a:ext>
              </a:extLst>
            </p:cNvPr>
            <p:cNvSpPr>
              <a:spLocks noChangeAspect="1" noChangeShapeType="1"/>
            </p:cNvSpPr>
            <p:nvPr/>
          </p:nvSpPr>
          <p:spPr bwMode="auto">
            <a:xfrm>
              <a:off x="5619750" y="2242504"/>
              <a:ext cx="7938"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35" name="Line 783">
              <a:extLst>
                <a:ext uri="{FF2B5EF4-FFF2-40B4-BE49-F238E27FC236}">
                  <a16:creationId xmlns:a16="http://schemas.microsoft.com/office/drawing/2014/main" id="{1107DB1B-92C3-469A-B1E9-2A6FE45AEFC6}"/>
                </a:ext>
              </a:extLst>
            </p:cNvPr>
            <p:cNvSpPr>
              <a:spLocks noChangeAspect="1" noChangeShapeType="1"/>
            </p:cNvSpPr>
            <p:nvPr/>
          </p:nvSpPr>
          <p:spPr bwMode="auto">
            <a:xfrm>
              <a:off x="5627688" y="2250440"/>
              <a:ext cx="12700"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36" name="Line 784">
              <a:extLst>
                <a:ext uri="{FF2B5EF4-FFF2-40B4-BE49-F238E27FC236}">
                  <a16:creationId xmlns:a16="http://schemas.microsoft.com/office/drawing/2014/main" id="{DEB0D424-EEDA-44AC-8093-015EAA18D254}"/>
                </a:ext>
              </a:extLst>
            </p:cNvPr>
            <p:cNvSpPr>
              <a:spLocks noChangeAspect="1" noChangeShapeType="1"/>
            </p:cNvSpPr>
            <p:nvPr/>
          </p:nvSpPr>
          <p:spPr bwMode="auto">
            <a:xfrm>
              <a:off x="5648326" y="2282190"/>
              <a:ext cx="9525"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37" name="Line 785">
              <a:extLst>
                <a:ext uri="{FF2B5EF4-FFF2-40B4-BE49-F238E27FC236}">
                  <a16:creationId xmlns:a16="http://schemas.microsoft.com/office/drawing/2014/main" id="{9D031F7B-F3FD-4B16-8277-14570122A1C0}"/>
                </a:ext>
              </a:extLst>
            </p:cNvPr>
            <p:cNvSpPr>
              <a:spLocks noChangeAspect="1" noChangeShapeType="1"/>
            </p:cNvSpPr>
            <p:nvPr/>
          </p:nvSpPr>
          <p:spPr bwMode="auto">
            <a:xfrm>
              <a:off x="5657850" y="2296479"/>
              <a:ext cx="7938"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38" name="Line 786">
              <a:extLst>
                <a:ext uri="{FF2B5EF4-FFF2-40B4-BE49-F238E27FC236}">
                  <a16:creationId xmlns:a16="http://schemas.microsoft.com/office/drawing/2014/main" id="{1F69CD4B-63FA-447E-9409-A8452024913B}"/>
                </a:ext>
              </a:extLst>
            </p:cNvPr>
            <p:cNvSpPr>
              <a:spLocks noChangeAspect="1" noChangeShapeType="1"/>
            </p:cNvSpPr>
            <p:nvPr/>
          </p:nvSpPr>
          <p:spPr bwMode="auto">
            <a:xfrm>
              <a:off x="5665788" y="2310765"/>
              <a:ext cx="12700"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39" name="Line 787">
              <a:extLst>
                <a:ext uri="{FF2B5EF4-FFF2-40B4-BE49-F238E27FC236}">
                  <a16:creationId xmlns:a16="http://schemas.microsoft.com/office/drawing/2014/main" id="{BFD1348A-9697-4FBD-AD6A-F10836CEE26D}"/>
                </a:ext>
              </a:extLst>
            </p:cNvPr>
            <p:cNvSpPr>
              <a:spLocks noChangeAspect="1" noChangeShapeType="1"/>
            </p:cNvSpPr>
            <p:nvPr/>
          </p:nvSpPr>
          <p:spPr bwMode="auto">
            <a:xfrm>
              <a:off x="5684839" y="2342515"/>
              <a:ext cx="1587"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40" name="Line 788">
              <a:extLst>
                <a:ext uri="{FF2B5EF4-FFF2-40B4-BE49-F238E27FC236}">
                  <a16:creationId xmlns:a16="http://schemas.microsoft.com/office/drawing/2014/main" id="{3B8E75C7-13B5-4046-B72D-E1F91C71811A}"/>
                </a:ext>
              </a:extLst>
            </p:cNvPr>
            <p:cNvSpPr>
              <a:spLocks noChangeAspect="1" noChangeShapeType="1"/>
            </p:cNvSpPr>
            <p:nvPr/>
          </p:nvSpPr>
          <p:spPr bwMode="auto">
            <a:xfrm>
              <a:off x="5684838" y="2342515"/>
              <a:ext cx="25400" cy="460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41" name="Line 789">
              <a:extLst>
                <a:ext uri="{FF2B5EF4-FFF2-40B4-BE49-F238E27FC236}">
                  <a16:creationId xmlns:a16="http://schemas.microsoft.com/office/drawing/2014/main" id="{ED42F5B6-FBF8-4D08-91C9-878E8D7CDF4A}"/>
                </a:ext>
              </a:extLst>
            </p:cNvPr>
            <p:cNvSpPr>
              <a:spLocks noChangeAspect="1" noChangeShapeType="1"/>
            </p:cNvSpPr>
            <p:nvPr/>
          </p:nvSpPr>
          <p:spPr bwMode="auto">
            <a:xfrm>
              <a:off x="5710239" y="2388553"/>
              <a:ext cx="1587"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42" name="Line 790">
              <a:extLst>
                <a:ext uri="{FF2B5EF4-FFF2-40B4-BE49-F238E27FC236}">
                  <a16:creationId xmlns:a16="http://schemas.microsoft.com/office/drawing/2014/main" id="{5A816DBE-EAB9-4041-9E65-4561EFBACA92}"/>
                </a:ext>
              </a:extLst>
            </p:cNvPr>
            <p:cNvSpPr>
              <a:spLocks noChangeAspect="1" noChangeShapeType="1"/>
            </p:cNvSpPr>
            <p:nvPr/>
          </p:nvSpPr>
          <p:spPr bwMode="auto">
            <a:xfrm>
              <a:off x="5718176" y="2407604"/>
              <a:ext cx="11113" cy="269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43" name="Line 791">
              <a:extLst>
                <a:ext uri="{FF2B5EF4-FFF2-40B4-BE49-F238E27FC236}">
                  <a16:creationId xmlns:a16="http://schemas.microsoft.com/office/drawing/2014/main" id="{8245E684-4B2C-4B0C-B448-0718FF971F98}"/>
                </a:ext>
              </a:extLst>
            </p:cNvPr>
            <p:cNvSpPr>
              <a:spLocks noChangeAspect="1" noChangeShapeType="1"/>
            </p:cNvSpPr>
            <p:nvPr/>
          </p:nvSpPr>
          <p:spPr bwMode="auto">
            <a:xfrm>
              <a:off x="5729289" y="2434590"/>
              <a:ext cx="9525"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44" name="Line 792">
              <a:extLst>
                <a:ext uri="{FF2B5EF4-FFF2-40B4-BE49-F238E27FC236}">
                  <a16:creationId xmlns:a16="http://schemas.microsoft.com/office/drawing/2014/main" id="{34F39624-0523-44A4-956B-000D82E3FBAD}"/>
                </a:ext>
              </a:extLst>
            </p:cNvPr>
            <p:cNvSpPr>
              <a:spLocks noChangeAspect="1" noChangeShapeType="1"/>
            </p:cNvSpPr>
            <p:nvPr/>
          </p:nvSpPr>
          <p:spPr bwMode="auto">
            <a:xfrm>
              <a:off x="5745164" y="2474278"/>
              <a:ext cx="1587"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45" name="Line 793">
              <a:extLst>
                <a:ext uri="{FF2B5EF4-FFF2-40B4-BE49-F238E27FC236}">
                  <a16:creationId xmlns:a16="http://schemas.microsoft.com/office/drawing/2014/main" id="{A322C2E8-0D80-4C58-AB48-3048EF4DF39D}"/>
                </a:ext>
              </a:extLst>
            </p:cNvPr>
            <p:cNvSpPr>
              <a:spLocks noChangeAspect="1" noChangeShapeType="1"/>
            </p:cNvSpPr>
            <p:nvPr/>
          </p:nvSpPr>
          <p:spPr bwMode="auto">
            <a:xfrm>
              <a:off x="5746750" y="2480628"/>
              <a:ext cx="12700"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46" name="Line 794">
              <a:extLst>
                <a:ext uri="{FF2B5EF4-FFF2-40B4-BE49-F238E27FC236}">
                  <a16:creationId xmlns:a16="http://schemas.microsoft.com/office/drawing/2014/main" id="{6F71F704-7260-4460-824A-0921D30F2E48}"/>
                </a:ext>
              </a:extLst>
            </p:cNvPr>
            <p:cNvSpPr>
              <a:spLocks noChangeAspect="1" noChangeShapeType="1"/>
            </p:cNvSpPr>
            <p:nvPr/>
          </p:nvSpPr>
          <p:spPr bwMode="auto">
            <a:xfrm>
              <a:off x="5759450" y="2525079"/>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47" name="Line 795">
              <a:extLst>
                <a:ext uri="{FF2B5EF4-FFF2-40B4-BE49-F238E27FC236}">
                  <a16:creationId xmlns:a16="http://schemas.microsoft.com/office/drawing/2014/main" id="{D49F594E-54A9-4533-A6D9-B12BAEE4B8E1}"/>
                </a:ext>
              </a:extLst>
            </p:cNvPr>
            <p:cNvSpPr>
              <a:spLocks noChangeAspect="1" noChangeShapeType="1"/>
            </p:cNvSpPr>
            <p:nvPr/>
          </p:nvSpPr>
          <p:spPr bwMode="auto">
            <a:xfrm>
              <a:off x="5759450" y="2526666"/>
              <a:ext cx="1588"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48" name="Line 796">
              <a:extLst>
                <a:ext uri="{FF2B5EF4-FFF2-40B4-BE49-F238E27FC236}">
                  <a16:creationId xmlns:a16="http://schemas.microsoft.com/office/drawing/2014/main" id="{8E03DFBB-E880-45CE-AFA2-4DFE01846AD8}"/>
                </a:ext>
              </a:extLst>
            </p:cNvPr>
            <p:cNvSpPr>
              <a:spLocks noChangeAspect="1" noChangeShapeType="1"/>
            </p:cNvSpPr>
            <p:nvPr/>
          </p:nvSpPr>
          <p:spPr bwMode="auto">
            <a:xfrm>
              <a:off x="5764213" y="2545715"/>
              <a:ext cx="4762"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49" name="Line 797">
              <a:extLst>
                <a:ext uri="{FF2B5EF4-FFF2-40B4-BE49-F238E27FC236}">
                  <a16:creationId xmlns:a16="http://schemas.microsoft.com/office/drawing/2014/main" id="{17A2F1CE-2BEE-4B14-8D2E-B4310FFE6755}"/>
                </a:ext>
              </a:extLst>
            </p:cNvPr>
            <p:cNvSpPr>
              <a:spLocks noChangeAspect="1" noChangeShapeType="1"/>
            </p:cNvSpPr>
            <p:nvPr/>
          </p:nvSpPr>
          <p:spPr bwMode="auto">
            <a:xfrm>
              <a:off x="5768976" y="2572704"/>
              <a:ext cx="4763" cy="333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50" name="Line 798">
              <a:extLst>
                <a:ext uri="{FF2B5EF4-FFF2-40B4-BE49-F238E27FC236}">
                  <a16:creationId xmlns:a16="http://schemas.microsoft.com/office/drawing/2014/main" id="{BBF58640-BC05-4F31-A51B-B3C4FEE5C789}"/>
                </a:ext>
              </a:extLst>
            </p:cNvPr>
            <p:cNvSpPr>
              <a:spLocks noChangeAspect="1" noChangeShapeType="1"/>
            </p:cNvSpPr>
            <p:nvPr/>
          </p:nvSpPr>
          <p:spPr bwMode="auto">
            <a:xfrm>
              <a:off x="5775326" y="2620328"/>
              <a:ext cx="3175" cy="428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51" name="Line 799">
              <a:extLst>
                <a:ext uri="{FF2B5EF4-FFF2-40B4-BE49-F238E27FC236}">
                  <a16:creationId xmlns:a16="http://schemas.microsoft.com/office/drawing/2014/main" id="{E906F17C-EA8F-4622-9359-4AA464673C12}"/>
                </a:ext>
              </a:extLst>
            </p:cNvPr>
            <p:cNvSpPr>
              <a:spLocks noChangeAspect="1" noChangeShapeType="1"/>
            </p:cNvSpPr>
            <p:nvPr/>
          </p:nvSpPr>
          <p:spPr bwMode="auto">
            <a:xfrm flipH="1">
              <a:off x="5776914" y="2663191"/>
              <a:ext cx="1587"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52" name="Line 800">
              <a:extLst>
                <a:ext uri="{FF2B5EF4-FFF2-40B4-BE49-F238E27FC236}">
                  <a16:creationId xmlns:a16="http://schemas.microsoft.com/office/drawing/2014/main" id="{6572A193-BC16-4A35-A6D7-4E48F24381A7}"/>
                </a:ext>
              </a:extLst>
            </p:cNvPr>
            <p:cNvSpPr>
              <a:spLocks noChangeAspect="1" noChangeShapeType="1"/>
            </p:cNvSpPr>
            <p:nvPr/>
          </p:nvSpPr>
          <p:spPr bwMode="auto">
            <a:xfrm flipH="1">
              <a:off x="5776914" y="2694940"/>
              <a:ext cx="1587"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53" name="Line 801">
              <a:extLst>
                <a:ext uri="{FF2B5EF4-FFF2-40B4-BE49-F238E27FC236}">
                  <a16:creationId xmlns:a16="http://schemas.microsoft.com/office/drawing/2014/main" id="{62AB1E63-4BBE-47DC-A890-2DFE172AB431}"/>
                </a:ext>
              </a:extLst>
            </p:cNvPr>
            <p:cNvSpPr>
              <a:spLocks noChangeAspect="1" noChangeShapeType="1"/>
            </p:cNvSpPr>
            <p:nvPr/>
          </p:nvSpPr>
          <p:spPr bwMode="auto">
            <a:xfrm flipH="1">
              <a:off x="5773739" y="2709229"/>
              <a:ext cx="3175"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54" name="Line 802">
              <a:extLst>
                <a:ext uri="{FF2B5EF4-FFF2-40B4-BE49-F238E27FC236}">
                  <a16:creationId xmlns:a16="http://schemas.microsoft.com/office/drawing/2014/main" id="{C05277F1-1E5D-4954-A3D2-8898BB23E880}"/>
                </a:ext>
              </a:extLst>
            </p:cNvPr>
            <p:cNvSpPr>
              <a:spLocks noChangeAspect="1" noChangeShapeType="1"/>
            </p:cNvSpPr>
            <p:nvPr/>
          </p:nvSpPr>
          <p:spPr bwMode="auto">
            <a:xfrm>
              <a:off x="5773738" y="2755265"/>
              <a:ext cx="0"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55" name="Line 803">
              <a:extLst>
                <a:ext uri="{FF2B5EF4-FFF2-40B4-BE49-F238E27FC236}">
                  <a16:creationId xmlns:a16="http://schemas.microsoft.com/office/drawing/2014/main" id="{4EF69E52-063A-45C0-B79D-ECF31E578DBD}"/>
                </a:ext>
              </a:extLst>
            </p:cNvPr>
            <p:cNvSpPr>
              <a:spLocks noChangeAspect="1" noChangeShapeType="1"/>
            </p:cNvSpPr>
            <p:nvPr/>
          </p:nvSpPr>
          <p:spPr bwMode="auto">
            <a:xfrm flipH="1">
              <a:off x="5765801" y="2771141"/>
              <a:ext cx="4763" cy="301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56" name="Line 804">
              <a:extLst>
                <a:ext uri="{FF2B5EF4-FFF2-40B4-BE49-F238E27FC236}">
                  <a16:creationId xmlns:a16="http://schemas.microsoft.com/office/drawing/2014/main" id="{4F601707-C448-40D7-81B0-1669D93952E8}"/>
                </a:ext>
              </a:extLst>
            </p:cNvPr>
            <p:cNvSpPr>
              <a:spLocks noChangeAspect="1" noChangeShapeType="1"/>
            </p:cNvSpPr>
            <p:nvPr/>
          </p:nvSpPr>
          <p:spPr bwMode="auto">
            <a:xfrm flipH="1">
              <a:off x="5759450" y="2801304"/>
              <a:ext cx="6350" cy="269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57" name="Line 805">
              <a:extLst>
                <a:ext uri="{FF2B5EF4-FFF2-40B4-BE49-F238E27FC236}">
                  <a16:creationId xmlns:a16="http://schemas.microsoft.com/office/drawing/2014/main" id="{22251291-6DA0-4C80-B325-71D759B56267}"/>
                </a:ext>
              </a:extLst>
            </p:cNvPr>
            <p:cNvSpPr>
              <a:spLocks noChangeAspect="1" noChangeShapeType="1"/>
            </p:cNvSpPr>
            <p:nvPr/>
          </p:nvSpPr>
          <p:spPr bwMode="auto">
            <a:xfrm flipH="1">
              <a:off x="5756275" y="2844165"/>
              <a:ext cx="0"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58" name="Line 806">
              <a:extLst>
                <a:ext uri="{FF2B5EF4-FFF2-40B4-BE49-F238E27FC236}">
                  <a16:creationId xmlns:a16="http://schemas.microsoft.com/office/drawing/2014/main" id="{6E3EA449-787B-4BAA-8B8F-5E9397DB20D3}"/>
                </a:ext>
              </a:extLst>
            </p:cNvPr>
            <p:cNvSpPr>
              <a:spLocks noChangeAspect="1" noChangeShapeType="1"/>
            </p:cNvSpPr>
            <p:nvPr/>
          </p:nvSpPr>
          <p:spPr bwMode="auto">
            <a:xfrm flipH="1">
              <a:off x="5740401" y="2845754"/>
              <a:ext cx="15875"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59" name="Line 807">
              <a:extLst>
                <a:ext uri="{FF2B5EF4-FFF2-40B4-BE49-F238E27FC236}">
                  <a16:creationId xmlns:a16="http://schemas.microsoft.com/office/drawing/2014/main" id="{0EC09943-8100-4243-A5A8-512EDACDF1BC}"/>
                </a:ext>
              </a:extLst>
            </p:cNvPr>
            <p:cNvSpPr>
              <a:spLocks noChangeAspect="1" noChangeShapeType="1"/>
            </p:cNvSpPr>
            <p:nvPr/>
          </p:nvSpPr>
          <p:spPr bwMode="auto">
            <a:xfrm flipH="1">
              <a:off x="5737226" y="2891790"/>
              <a:ext cx="3175"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60" name="Line 808">
              <a:extLst>
                <a:ext uri="{FF2B5EF4-FFF2-40B4-BE49-F238E27FC236}">
                  <a16:creationId xmlns:a16="http://schemas.microsoft.com/office/drawing/2014/main" id="{6258F4A0-38C8-4F59-A3D0-FDB12A3F717B}"/>
                </a:ext>
              </a:extLst>
            </p:cNvPr>
            <p:cNvSpPr>
              <a:spLocks noChangeAspect="1" noChangeShapeType="1"/>
            </p:cNvSpPr>
            <p:nvPr/>
          </p:nvSpPr>
          <p:spPr bwMode="auto">
            <a:xfrm flipH="1">
              <a:off x="5722939" y="2912428"/>
              <a:ext cx="9525"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61" name="Line 809">
              <a:extLst>
                <a:ext uri="{FF2B5EF4-FFF2-40B4-BE49-F238E27FC236}">
                  <a16:creationId xmlns:a16="http://schemas.microsoft.com/office/drawing/2014/main" id="{D1F76516-BF3C-4FFD-A4E0-4ECB96E3C769}"/>
                </a:ext>
              </a:extLst>
            </p:cNvPr>
            <p:cNvSpPr>
              <a:spLocks noChangeAspect="1" noChangeShapeType="1"/>
            </p:cNvSpPr>
            <p:nvPr/>
          </p:nvSpPr>
          <p:spPr bwMode="auto">
            <a:xfrm flipH="1">
              <a:off x="5711826" y="2937829"/>
              <a:ext cx="11113"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62" name="Line 810">
              <a:extLst>
                <a:ext uri="{FF2B5EF4-FFF2-40B4-BE49-F238E27FC236}">
                  <a16:creationId xmlns:a16="http://schemas.microsoft.com/office/drawing/2014/main" id="{3B475A11-94FB-4B98-85B7-1482FE2C4A37}"/>
                </a:ext>
              </a:extLst>
            </p:cNvPr>
            <p:cNvSpPr>
              <a:spLocks noChangeAspect="1" noChangeShapeType="1"/>
            </p:cNvSpPr>
            <p:nvPr/>
          </p:nvSpPr>
          <p:spPr bwMode="auto">
            <a:xfrm flipH="1">
              <a:off x="5710239" y="2960053"/>
              <a:ext cx="1587"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63" name="Line 811">
              <a:extLst>
                <a:ext uri="{FF2B5EF4-FFF2-40B4-BE49-F238E27FC236}">
                  <a16:creationId xmlns:a16="http://schemas.microsoft.com/office/drawing/2014/main" id="{BB397515-F27A-4133-A3F6-FE4414EDC72E}"/>
                </a:ext>
              </a:extLst>
            </p:cNvPr>
            <p:cNvSpPr>
              <a:spLocks noChangeAspect="1" noChangeShapeType="1"/>
            </p:cNvSpPr>
            <p:nvPr/>
          </p:nvSpPr>
          <p:spPr bwMode="auto">
            <a:xfrm flipH="1">
              <a:off x="5702300" y="2979103"/>
              <a:ext cx="0"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64" name="Line 812">
              <a:extLst>
                <a:ext uri="{FF2B5EF4-FFF2-40B4-BE49-F238E27FC236}">
                  <a16:creationId xmlns:a16="http://schemas.microsoft.com/office/drawing/2014/main" id="{77A298D2-5804-4EA2-95CB-42241156342D}"/>
                </a:ext>
              </a:extLst>
            </p:cNvPr>
            <p:cNvSpPr>
              <a:spLocks noChangeAspect="1" noChangeShapeType="1"/>
            </p:cNvSpPr>
            <p:nvPr/>
          </p:nvSpPr>
          <p:spPr bwMode="auto">
            <a:xfrm flipH="1">
              <a:off x="5675314" y="2983865"/>
              <a:ext cx="26987" cy="460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65" name="Line 813">
              <a:extLst>
                <a:ext uri="{FF2B5EF4-FFF2-40B4-BE49-F238E27FC236}">
                  <a16:creationId xmlns:a16="http://schemas.microsoft.com/office/drawing/2014/main" id="{D29BBAC1-9DF5-429A-9687-1D33B3E586BF}"/>
                </a:ext>
              </a:extLst>
            </p:cNvPr>
            <p:cNvSpPr>
              <a:spLocks noChangeAspect="1" noChangeShapeType="1"/>
            </p:cNvSpPr>
            <p:nvPr/>
          </p:nvSpPr>
          <p:spPr bwMode="auto">
            <a:xfrm flipH="1">
              <a:off x="5665789" y="3042604"/>
              <a:ext cx="1587"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66" name="Line 814">
              <a:extLst>
                <a:ext uri="{FF2B5EF4-FFF2-40B4-BE49-F238E27FC236}">
                  <a16:creationId xmlns:a16="http://schemas.microsoft.com/office/drawing/2014/main" id="{19DF964B-5250-4576-8F0F-B669251D3E49}"/>
                </a:ext>
              </a:extLst>
            </p:cNvPr>
            <p:cNvSpPr>
              <a:spLocks noChangeAspect="1" noChangeShapeType="1"/>
            </p:cNvSpPr>
            <p:nvPr/>
          </p:nvSpPr>
          <p:spPr bwMode="auto">
            <a:xfrm flipH="1">
              <a:off x="5646738" y="3044190"/>
              <a:ext cx="19050"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67" name="Line 815">
              <a:extLst>
                <a:ext uri="{FF2B5EF4-FFF2-40B4-BE49-F238E27FC236}">
                  <a16:creationId xmlns:a16="http://schemas.microsoft.com/office/drawing/2014/main" id="{BE28CE92-679F-40FE-B305-CC09EF263745}"/>
                </a:ext>
              </a:extLst>
            </p:cNvPr>
            <p:cNvSpPr>
              <a:spLocks noChangeAspect="1" noChangeShapeType="1"/>
            </p:cNvSpPr>
            <p:nvPr/>
          </p:nvSpPr>
          <p:spPr bwMode="auto">
            <a:xfrm flipH="1">
              <a:off x="5637214" y="3075940"/>
              <a:ext cx="9525"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68" name="Line 816">
              <a:extLst>
                <a:ext uri="{FF2B5EF4-FFF2-40B4-BE49-F238E27FC236}">
                  <a16:creationId xmlns:a16="http://schemas.microsoft.com/office/drawing/2014/main" id="{D31B5408-9588-4C2B-910F-88796C6805CF}"/>
                </a:ext>
              </a:extLst>
            </p:cNvPr>
            <p:cNvSpPr>
              <a:spLocks noChangeAspect="1" noChangeShapeType="1"/>
            </p:cNvSpPr>
            <p:nvPr/>
          </p:nvSpPr>
          <p:spPr bwMode="auto">
            <a:xfrm flipH="1">
              <a:off x="5619751" y="3099753"/>
              <a:ext cx="9525"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69" name="Line 817">
              <a:extLst>
                <a:ext uri="{FF2B5EF4-FFF2-40B4-BE49-F238E27FC236}">
                  <a16:creationId xmlns:a16="http://schemas.microsoft.com/office/drawing/2014/main" id="{A0CD6126-F2A3-43A9-BD68-B0D67658BD6A}"/>
                </a:ext>
              </a:extLst>
            </p:cNvPr>
            <p:cNvSpPr>
              <a:spLocks noChangeAspect="1" noChangeShapeType="1"/>
            </p:cNvSpPr>
            <p:nvPr/>
          </p:nvSpPr>
          <p:spPr bwMode="auto">
            <a:xfrm flipH="1">
              <a:off x="5611814" y="3110866"/>
              <a:ext cx="7937"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70" name="Line 818">
              <a:extLst>
                <a:ext uri="{FF2B5EF4-FFF2-40B4-BE49-F238E27FC236}">
                  <a16:creationId xmlns:a16="http://schemas.microsoft.com/office/drawing/2014/main" id="{2239AA78-5A65-4329-B474-2808B1B81613}"/>
                </a:ext>
              </a:extLst>
            </p:cNvPr>
            <p:cNvSpPr>
              <a:spLocks noChangeAspect="1" noChangeShapeType="1"/>
            </p:cNvSpPr>
            <p:nvPr/>
          </p:nvSpPr>
          <p:spPr bwMode="auto">
            <a:xfrm flipH="1">
              <a:off x="5594351" y="3121979"/>
              <a:ext cx="17463"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71" name="Line 819">
              <a:extLst>
                <a:ext uri="{FF2B5EF4-FFF2-40B4-BE49-F238E27FC236}">
                  <a16:creationId xmlns:a16="http://schemas.microsoft.com/office/drawing/2014/main" id="{5C0CBA32-BAE2-486D-89FF-0A1761A9A80F}"/>
                </a:ext>
              </a:extLst>
            </p:cNvPr>
            <p:cNvSpPr>
              <a:spLocks noChangeAspect="1" noChangeShapeType="1"/>
            </p:cNvSpPr>
            <p:nvPr/>
          </p:nvSpPr>
          <p:spPr bwMode="auto">
            <a:xfrm flipH="1">
              <a:off x="5575301" y="3153729"/>
              <a:ext cx="9525"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72" name="Line 820">
              <a:extLst>
                <a:ext uri="{FF2B5EF4-FFF2-40B4-BE49-F238E27FC236}">
                  <a16:creationId xmlns:a16="http://schemas.microsoft.com/office/drawing/2014/main" id="{1785E5EC-9F0A-4E48-98DA-FB87455C2C9A}"/>
                </a:ext>
              </a:extLst>
            </p:cNvPr>
            <p:cNvSpPr>
              <a:spLocks noChangeAspect="1" noChangeShapeType="1"/>
            </p:cNvSpPr>
            <p:nvPr/>
          </p:nvSpPr>
          <p:spPr bwMode="auto">
            <a:xfrm>
              <a:off x="5575300" y="3168015"/>
              <a:ext cx="0"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73" name="Line 821">
              <a:extLst>
                <a:ext uri="{FF2B5EF4-FFF2-40B4-BE49-F238E27FC236}">
                  <a16:creationId xmlns:a16="http://schemas.microsoft.com/office/drawing/2014/main" id="{FD31FDAA-3F0C-4611-880A-0E0341AF0215}"/>
                </a:ext>
              </a:extLst>
            </p:cNvPr>
            <p:cNvSpPr>
              <a:spLocks noChangeAspect="1" noChangeShapeType="1"/>
            </p:cNvSpPr>
            <p:nvPr/>
          </p:nvSpPr>
          <p:spPr bwMode="auto">
            <a:xfrm flipH="1">
              <a:off x="5548314" y="3168015"/>
              <a:ext cx="26987"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74" name="Line 822">
              <a:extLst>
                <a:ext uri="{FF2B5EF4-FFF2-40B4-BE49-F238E27FC236}">
                  <a16:creationId xmlns:a16="http://schemas.microsoft.com/office/drawing/2014/main" id="{454F1F09-2564-4EB4-82B9-1B12E051DA24}"/>
                </a:ext>
              </a:extLst>
            </p:cNvPr>
            <p:cNvSpPr>
              <a:spLocks noChangeAspect="1" noChangeShapeType="1"/>
            </p:cNvSpPr>
            <p:nvPr/>
          </p:nvSpPr>
          <p:spPr bwMode="auto">
            <a:xfrm flipH="1">
              <a:off x="5530850" y="3204529"/>
              <a:ext cx="7938"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75" name="Line 823">
              <a:extLst>
                <a:ext uri="{FF2B5EF4-FFF2-40B4-BE49-F238E27FC236}">
                  <a16:creationId xmlns:a16="http://schemas.microsoft.com/office/drawing/2014/main" id="{DEC4B489-DC20-4C68-AFBE-4062C84474F9}"/>
                </a:ext>
              </a:extLst>
            </p:cNvPr>
            <p:cNvSpPr>
              <a:spLocks noChangeAspect="1" noChangeShapeType="1"/>
            </p:cNvSpPr>
            <p:nvPr/>
          </p:nvSpPr>
          <p:spPr bwMode="auto">
            <a:xfrm flipH="1">
              <a:off x="5529264" y="3214054"/>
              <a:ext cx="1587"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76" name="Line 824">
              <a:extLst>
                <a:ext uri="{FF2B5EF4-FFF2-40B4-BE49-F238E27FC236}">
                  <a16:creationId xmlns:a16="http://schemas.microsoft.com/office/drawing/2014/main" id="{87C8EE26-872D-4726-A1FE-F0E056849BCC}"/>
                </a:ext>
              </a:extLst>
            </p:cNvPr>
            <p:cNvSpPr>
              <a:spLocks noChangeAspect="1" noChangeShapeType="1"/>
            </p:cNvSpPr>
            <p:nvPr/>
          </p:nvSpPr>
          <p:spPr bwMode="auto">
            <a:xfrm flipH="1">
              <a:off x="5502275" y="3215640"/>
              <a:ext cx="26988"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77" name="Line 825">
              <a:extLst>
                <a:ext uri="{FF2B5EF4-FFF2-40B4-BE49-F238E27FC236}">
                  <a16:creationId xmlns:a16="http://schemas.microsoft.com/office/drawing/2014/main" id="{0DA65126-9EA6-4F26-B396-FF0E1EC0B6FB}"/>
                </a:ext>
              </a:extLst>
            </p:cNvPr>
            <p:cNvSpPr>
              <a:spLocks noChangeAspect="1" noChangeShapeType="1"/>
            </p:cNvSpPr>
            <p:nvPr/>
          </p:nvSpPr>
          <p:spPr bwMode="auto">
            <a:xfrm flipH="1">
              <a:off x="5483225" y="3250566"/>
              <a:ext cx="7938"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78" name="Line 826">
              <a:extLst>
                <a:ext uri="{FF2B5EF4-FFF2-40B4-BE49-F238E27FC236}">
                  <a16:creationId xmlns:a16="http://schemas.microsoft.com/office/drawing/2014/main" id="{BE6B1B64-2C5B-4178-9281-29E08211D30F}"/>
                </a:ext>
              </a:extLst>
            </p:cNvPr>
            <p:cNvSpPr>
              <a:spLocks noChangeAspect="1" noChangeShapeType="1"/>
            </p:cNvSpPr>
            <p:nvPr/>
          </p:nvSpPr>
          <p:spPr bwMode="auto">
            <a:xfrm flipH="1">
              <a:off x="5483225" y="3260090"/>
              <a:ext cx="1588"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79" name="Line 827">
              <a:extLst>
                <a:ext uri="{FF2B5EF4-FFF2-40B4-BE49-F238E27FC236}">
                  <a16:creationId xmlns:a16="http://schemas.microsoft.com/office/drawing/2014/main" id="{61B5CFDB-7BB2-4631-A948-E96EFA3AA5C6}"/>
                </a:ext>
              </a:extLst>
            </p:cNvPr>
            <p:cNvSpPr>
              <a:spLocks noChangeAspect="1" noChangeShapeType="1"/>
            </p:cNvSpPr>
            <p:nvPr/>
          </p:nvSpPr>
          <p:spPr bwMode="auto">
            <a:xfrm flipH="1">
              <a:off x="5451475" y="3260090"/>
              <a:ext cx="31750"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80" name="Line 828">
              <a:extLst>
                <a:ext uri="{FF2B5EF4-FFF2-40B4-BE49-F238E27FC236}">
                  <a16:creationId xmlns:a16="http://schemas.microsoft.com/office/drawing/2014/main" id="{4436669F-0216-4C3A-BA30-78607207C728}"/>
                </a:ext>
              </a:extLst>
            </p:cNvPr>
            <p:cNvSpPr>
              <a:spLocks noChangeAspect="1" noChangeShapeType="1"/>
            </p:cNvSpPr>
            <p:nvPr/>
          </p:nvSpPr>
          <p:spPr bwMode="auto">
            <a:xfrm flipH="1">
              <a:off x="5435601" y="3296604"/>
              <a:ext cx="4763"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81" name="Line 829">
              <a:extLst>
                <a:ext uri="{FF2B5EF4-FFF2-40B4-BE49-F238E27FC236}">
                  <a16:creationId xmlns:a16="http://schemas.microsoft.com/office/drawing/2014/main" id="{103C3C50-06BD-4D30-A1EF-366827A17058}"/>
                </a:ext>
              </a:extLst>
            </p:cNvPr>
            <p:cNvSpPr>
              <a:spLocks noChangeAspect="1" noChangeShapeType="1"/>
            </p:cNvSpPr>
            <p:nvPr/>
          </p:nvSpPr>
          <p:spPr bwMode="auto">
            <a:xfrm flipH="1">
              <a:off x="5429250" y="3299778"/>
              <a:ext cx="6350"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82" name="Line 830">
              <a:extLst>
                <a:ext uri="{FF2B5EF4-FFF2-40B4-BE49-F238E27FC236}">
                  <a16:creationId xmlns:a16="http://schemas.microsoft.com/office/drawing/2014/main" id="{1BE33524-52F7-457C-A002-0BF5CFF4887E}"/>
                </a:ext>
              </a:extLst>
            </p:cNvPr>
            <p:cNvSpPr>
              <a:spLocks noChangeAspect="1" noChangeShapeType="1"/>
            </p:cNvSpPr>
            <p:nvPr/>
          </p:nvSpPr>
          <p:spPr bwMode="auto">
            <a:xfrm flipH="1">
              <a:off x="5399088" y="3306129"/>
              <a:ext cx="30162"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83" name="Line 831">
              <a:extLst>
                <a:ext uri="{FF2B5EF4-FFF2-40B4-BE49-F238E27FC236}">
                  <a16:creationId xmlns:a16="http://schemas.microsoft.com/office/drawing/2014/main" id="{267CC46B-4096-4652-B317-368C835E5A31}"/>
                </a:ext>
              </a:extLst>
            </p:cNvPr>
            <p:cNvSpPr>
              <a:spLocks noChangeAspect="1" noChangeShapeType="1"/>
            </p:cNvSpPr>
            <p:nvPr/>
          </p:nvSpPr>
          <p:spPr bwMode="auto">
            <a:xfrm flipH="1">
              <a:off x="5367339" y="3336290"/>
              <a:ext cx="20637"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84" name="Line 832">
              <a:extLst>
                <a:ext uri="{FF2B5EF4-FFF2-40B4-BE49-F238E27FC236}">
                  <a16:creationId xmlns:a16="http://schemas.microsoft.com/office/drawing/2014/main" id="{F12B2E63-E2A0-4F93-B0FC-5593BC288879}"/>
                </a:ext>
              </a:extLst>
            </p:cNvPr>
            <p:cNvSpPr>
              <a:spLocks noChangeAspect="1" noChangeShapeType="1"/>
            </p:cNvSpPr>
            <p:nvPr/>
          </p:nvSpPr>
          <p:spPr bwMode="auto">
            <a:xfrm flipH="1">
              <a:off x="5345114" y="3350579"/>
              <a:ext cx="22225"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85" name="Line 833">
              <a:extLst>
                <a:ext uri="{FF2B5EF4-FFF2-40B4-BE49-F238E27FC236}">
                  <a16:creationId xmlns:a16="http://schemas.microsoft.com/office/drawing/2014/main" id="{921B7AB2-1450-49BF-86FE-93C36C8C35C7}"/>
                </a:ext>
              </a:extLst>
            </p:cNvPr>
            <p:cNvSpPr>
              <a:spLocks noChangeAspect="1" noChangeShapeType="1"/>
            </p:cNvSpPr>
            <p:nvPr/>
          </p:nvSpPr>
          <p:spPr bwMode="auto">
            <a:xfrm flipH="1">
              <a:off x="5297488" y="3372804"/>
              <a:ext cx="36512"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86" name="Line 834">
              <a:extLst>
                <a:ext uri="{FF2B5EF4-FFF2-40B4-BE49-F238E27FC236}">
                  <a16:creationId xmlns:a16="http://schemas.microsoft.com/office/drawing/2014/main" id="{F0382AB9-DFEA-4D5D-8F72-020A99DBE235}"/>
                </a:ext>
              </a:extLst>
            </p:cNvPr>
            <p:cNvSpPr>
              <a:spLocks noChangeAspect="1" noChangeShapeType="1"/>
            </p:cNvSpPr>
            <p:nvPr/>
          </p:nvSpPr>
          <p:spPr bwMode="auto">
            <a:xfrm flipH="1">
              <a:off x="5294314" y="3395029"/>
              <a:ext cx="3175"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87" name="Line 835">
              <a:extLst>
                <a:ext uri="{FF2B5EF4-FFF2-40B4-BE49-F238E27FC236}">
                  <a16:creationId xmlns:a16="http://schemas.microsoft.com/office/drawing/2014/main" id="{D2B0EFDC-7010-4479-8CD9-99E50E916BD6}"/>
                </a:ext>
              </a:extLst>
            </p:cNvPr>
            <p:cNvSpPr>
              <a:spLocks noChangeAspect="1" noChangeShapeType="1"/>
            </p:cNvSpPr>
            <p:nvPr/>
          </p:nvSpPr>
          <p:spPr bwMode="auto">
            <a:xfrm flipH="1">
              <a:off x="5289551" y="3396615"/>
              <a:ext cx="4763"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88" name="Line 836">
              <a:extLst>
                <a:ext uri="{FF2B5EF4-FFF2-40B4-BE49-F238E27FC236}">
                  <a16:creationId xmlns:a16="http://schemas.microsoft.com/office/drawing/2014/main" id="{B3ED21F3-8CF7-487C-B63C-D4AC733E8215}"/>
                </a:ext>
              </a:extLst>
            </p:cNvPr>
            <p:cNvSpPr>
              <a:spLocks noChangeAspect="1" noChangeShapeType="1"/>
            </p:cNvSpPr>
            <p:nvPr/>
          </p:nvSpPr>
          <p:spPr bwMode="auto">
            <a:xfrm flipH="1">
              <a:off x="5251450" y="3404554"/>
              <a:ext cx="25400"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89" name="Line 837">
              <a:extLst>
                <a:ext uri="{FF2B5EF4-FFF2-40B4-BE49-F238E27FC236}">
                  <a16:creationId xmlns:a16="http://schemas.microsoft.com/office/drawing/2014/main" id="{3E04ED1A-E65B-454B-A203-E28360FF3DD1}"/>
                </a:ext>
              </a:extLst>
            </p:cNvPr>
            <p:cNvSpPr>
              <a:spLocks noChangeAspect="1" noChangeShapeType="1"/>
            </p:cNvSpPr>
            <p:nvPr/>
          </p:nvSpPr>
          <p:spPr bwMode="auto">
            <a:xfrm flipH="1">
              <a:off x="5232400" y="3418840"/>
              <a:ext cx="19050"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90" name="Line 838">
              <a:extLst>
                <a:ext uri="{FF2B5EF4-FFF2-40B4-BE49-F238E27FC236}">
                  <a16:creationId xmlns:a16="http://schemas.microsoft.com/office/drawing/2014/main" id="{5E03A3A6-C89F-42EA-9879-EBFD99247777}"/>
                </a:ext>
              </a:extLst>
            </p:cNvPr>
            <p:cNvSpPr>
              <a:spLocks noChangeAspect="1" noChangeShapeType="1"/>
            </p:cNvSpPr>
            <p:nvPr/>
          </p:nvSpPr>
          <p:spPr bwMode="auto">
            <a:xfrm flipH="1">
              <a:off x="5205414" y="3431540"/>
              <a:ext cx="15875"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91" name="Line 839">
              <a:extLst>
                <a:ext uri="{FF2B5EF4-FFF2-40B4-BE49-F238E27FC236}">
                  <a16:creationId xmlns:a16="http://schemas.microsoft.com/office/drawing/2014/main" id="{F75903E0-2AB2-4617-AE8F-87F78AF58688}"/>
                </a:ext>
              </a:extLst>
            </p:cNvPr>
            <p:cNvSpPr>
              <a:spLocks noChangeAspect="1" noChangeShapeType="1"/>
            </p:cNvSpPr>
            <p:nvPr/>
          </p:nvSpPr>
          <p:spPr bwMode="auto">
            <a:xfrm flipH="1">
              <a:off x="5191125" y="3437891"/>
              <a:ext cx="14288"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92" name="Line 840">
              <a:extLst>
                <a:ext uri="{FF2B5EF4-FFF2-40B4-BE49-F238E27FC236}">
                  <a16:creationId xmlns:a16="http://schemas.microsoft.com/office/drawing/2014/main" id="{06A2A3FA-5B90-4617-94EF-A6FBAB30A94F}"/>
                </a:ext>
              </a:extLst>
            </p:cNvPr>
            <p:cNvSpPr>
              <a:spLocks noChangeAspect="1" noChangeShapeType="1"/>
            </p:cNvSpPr>
            <p:nvPr/>
          </p:nvSpPr>
          <p:spPr bwMode="auto">
            <a:xfrm flipH="1">
              <a:off x="5172075" y="3441065"/>
              <a:ext cx="19050"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93" name="Line 841">
              <a:extLst>
                <a:ext uri="{FF2B5EF4-FFF2-40B4-BE49-F238E27FC236}">
                  <a16:creationId xmlns:a16="http://schemas.microsoft.com/office/drawing/2014/main" id="{40C74C6C-4F39-484D-9F0C-32A445237A32}"/>
                </a:ext>
              </a:extLst>
            </p:cNvPr>
            <p:cNvSpPr>
              <a:spLocks noChangeAspect="1" noChangeShapeType="1"/>
            </p:cNvSpPr>
            <p:nvPr/>
          </p:nvSpPr>
          <p:spPr bwMode="auto">
            <a:xfrm flipH="1">
              <a:off x="5159375" y="3452179"/>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94" name="Line 842">
              <a:extLst>
                <a:ext uri="{FF2B5EF4-FFF2-40B4-BE49-F238E27FC236}">
                  <a16:creationId xmlns:a16="http://schemas.microsoft.com/office/drawing/2014/main" id="{D30738BC-95D1-4AD0-A577-891E2233B574}"/>
                </a:ext>
              </a:extLst>
            </p:cNvPr>
            <p:cNvSpPr>
              <a:spLocks noChangeAspect="1" noChangeShapeType="1"/>
            </p:cNvSpPr>
            <p:nvPr/>
          </p:nvSpPr>
          <p:spPr bwMode="auto">
            <a:xfrm flipH="1">
              <a:off x="5113339" y="3453766"/>
              <a:ext cx="46037"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95" name="Line 843">
              <a:extLst>
                <a:ext uri="{FF2B5EF4-FFF2-40B4-BE49-F238E27FC236}">
                  <a16:creationId xmlns:a16="http://schemas.microsoft.com/office/drawing/2014/main" id="{7B60701C-F34D-4B7B-B18F-881E92FBF987}"/>
                </a:ext>
              </a:extLst>
            </p:cNvPr>
            <p:cNvSpPr>
              <a:spLocks noChangeAspect="1" noChangeShapeType="1"/>
            </p:cNvSpPr>
            <p:nvPr/>
          </p:nvSpPr>
          <p:spPr bwMode="auto">
            <a:xfrm flipH="1">
              <a:off x="5111750" y="3464879"/>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96" name="Line 844">
              <a:extLst>
                <a:ext uri="{FF2B5EF4-FFF2-40B4-BE49-F238E27FC236}">
                  <a16:creationId xmlns:a16="http://schemas.microsoft.com/office/drawing/2014/main" id="{DE4AC452-380F-4D5C-8705-EF9EF86EE9CE}"/>
                </a:ext>
              </a:extLst>
            </p:cNvPr>
            <p:cNvSpPr>
              <a:spLocks noChangeAspect="1" noChangeShapeType="1"/>
            </p:cNvSpPr>
            <p:nvPr/>
          </p:nvSpPr>
          <p:spPr bwMode="auto">
            <a:xfrm flipH="1">
              <a:off x="5067300" y="3466466"/>
              <a:ext cx="31750"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97" name="Line 845">
              <a:extLst>
                <a:ext uri="{FF2B5EF4-FFF2-40B4-BE49-F238E27FC236}">
                  <a16:creationId xmlns:a16="http://schemas.microsoft.com/office/drawing/2014/main" id="{DEF3CC88-0FD1-4C31-8646-9E9C0958A23D}"/>
                </a:ext>
              </a:extLst>
            </p:cNvPr>
            <p:cNvSpPr>
              <a:spLocks noChangeAspect="1" noChangeShapeType="1"/>
            </p:cNvSpPr>
            <p:nvPr/>
          </p:nvSpPr>
          <p:spPr bwMode="auto">
            <a:xfrm flipH="1">
              <a:off x="5051426" y="3469640"/>
              <a:ext cx="15875"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98" name="Line 846">
              <a:extLst>
                <a:ext uri="{FF2B5EF4-FFF2-40B4-BE49-F238E27FC236}">
                  <a16:creationId xmlns:a16="http://schemas.microsoft.com/office/drawing/2014/main" id="{33860419-DF78-4AB5-B11B-6B0A817CD9A8}"/>
                </a:ext>
              </a:extLst>
            </p:cNvPr>
            <p:cNvSpPr>
              <a:spLocks noChangeAspect="1" noChangeShapeType="1"/>
            </p:cNvSpPr>
            <p:nvPr/>
          </p:nvSpPr>
          <p:spPr bwMode="auto">
            <a:xfrm flipH="1">
              <a:off x="5021263" y="3471229"/>
              <a:ext cx="17462"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399" name="Line 847">
              <a:extLst>
                <a:ext uri="{FF2B5EF4-FFF2-40B4-BE49-F238E27FC236}">
                  <a16:creationId xmlns:a16="http://schemas.microsoft.com/office/drawing/2014/main" id="{EBB28E19-6856-49DC-A3DD-E8DAE1C4EF22}"/>
                </a:ext>
              </a:extLst>
            </p:cNvPr>
            <p:cNvSpPr>
              <a:spLocks noChangeAspect="1" noChangeShapeType="1"/>
            </p:cNvSpPr>
            <p:nvPr/>
          </p:nvSpPr>
          <p:spPr bwMode="auto">
            <a:xfrm flipH="1" flipV="1">
              <a:off x="4987925" y="3469641"/>
              <a:ext cx="33338"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00" name="Line 848">
              <a:extLst>
                <a:ext uri="{FF2B5EF4-FFF2-40B4-BE49-F238E27FC236}">
                  <a16:creationId xmlns:a16="http://schemas.microsoft.com/office/drawing/2014/main" id="{6A846353-48A4-43D9-B067-8BDD466B4839}"/>
                </a:ext>
              </a:extLst>
            </p:cNvPr>
            <p:cNvSpPr>
              <a:spLocks noChangeAspect="1" noChangeShapeType="1"/>
            </p:cNvSpPr>
            <p:nvPr/>
          </p:nvSpPr>
          <p:spPr bwMode="auto">
            <a:xfrm flipH="1">
              <a:off x="4975225" y="3468054"/>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01" name="Line 849">
              <a:extLst>
                <a:ext uri="{FF2B5EF4-FFF2-40B4-BE49-F238E27FC236}">
                  <a16:creationId xmlns:a16="http://schemas.microsoft.com/office/drawing/2014/main" id="{A2C7A409-3811-46C6-BBD8-E06126D02675}"/>
                </a:ext>
              </a:extLst>
            </p:cNvPr>
            <p:cNvSpPr>
              <a:spLocks noChangeAspect="1" noChangeShapeType="1"/>
            </p:cNvSpPr>
            <p:nvPr/>
          </p:nvSpPr>
          <p:spPr bwMode="auto">
            <a:xfrm flipH="1" flipV="1">
              <a:off x="4929189" y="3460115"/>
              <a:ext cx="46037"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02" name="Line 850">
              <a:extLst>
                <a:ext uri="{FF2B5EF4-FFF2-40B4-BE49-F238E27FC236}">
                  <a16:creationId xmlns:a16="http://schemas.microsoft.com/office/drawing/2014/main" id="{B7C8EEF0-E0E6-4F8C-A8B6-47108CF10ABD}"/>
                </a:ext>
              </a:extLst>
            </p:cNvPr>
            <p:cNvSpPr>
              <a:spLocks noChangeAspect="1" noChangeShapeType="1"/>
            </p:cNvSpPr>
            <p:nvPr/>
          </p:nvSpPr>
          <p:spPr bwMode="auto">
            <a:xfrm flipH="1" flipV="1">
              <a:off x="4926014" y="3460115"/>
              <a:ext cx="3175"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03" name="Line 851">
              <a:extLst>
                <a:ext uri="{FF2B5EF4-FFF2-40B4-BE49-F238E27FC236}">
                  <a16:creationId xmlns:a16="http://schemas.microsoft.com/office/drawing/2014/main" id="{D216FD7D-595E-41BE-9E3C-08503AEE7BA4}"/>
                </a:ext>
              </a:extLst>
            </p:cNvPr>
            <p:cNvSpPr>
              <a:spLocks noChangeAspect="1" noChangeShapeType="1"/>
            </p:cNvSpPr>
            <p:nvPr/>
          </p:nvSpPr>
          <p:spPr bwMode="auto">
            <a:xfrm flipH="1" flipV="1">
              <a:off x="4883150" y="3447416"/>
              <a:ext cx="31750"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04" name="Line 852">
              <a:extLst>
                <a:ext uri="{FF2B5EF4-FFF2-40B4-BE49-F238E27FC236}">
                  <a16:creationId xmlns:a16="http://schemas.microsoft.com/office/drawing/2014/main" id="{46F4703A-2CA1-4FD3-9810-D31EE8BB20F3}"/>
                </a:ext>
              </a:extLst>
            </p:cNvPr>
            <p:cNvSpPr>
              <a:spLocks noChangeAspect="1" noChangeShapeType="1"/>
            </p:cNvSpPr>
            <p:nvPr/>
          </p:nvSpPr>
          <p:spPr bwMode="auto">
            <a:xfrm flipH="1" flipV="1">
              <a:off x="4984751" y="3441066"/>
              <a:ext cx="36513"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05" name="Line 853">
              <a:extLst>
                <a:ext uri="{FF2B5EF4-FFF2-40B4-BE49-F238E27FC236}">
                  <a16:creationId xmlns:a16="http://schemas.microsoft.com/office/drawing/2014/main" id="{01DB1968-578D-491B-86B2-77A1C4274E5A}"/>
                </a:ext>
              </a:extLst>
            </p:cNvPr>
            <p:cNvSpPr>
              <a:spLocks noChangeAspect="1" noChangeShapeType="1"/>
            </p:cNvSpPr>
            <p:nvPr/>
          </p:nvSpPr>
          <p:spPr bwMode="auto">
            <a:xfrm flipH="1" flipV="1">
              <a:off x="4975226" y="3441065"/>
              <a:ext cx="9525"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06" name="Line 854">
              <a:extLst>
                <a:ext uri="{FF2B5EF4-FFF2-40B4-BE49-F238E27FC236}">
                  <a16:creationId xmlns:a16="http://schemas.microsoft.com/office/drawing/2014/main" id="{B66B778D-608E-4B3A-91C9-2D778BAAA57D}"/>
                </a:ext>
              </a:extLst>
            </p:cNvPr>
            <p:cNvSpPr>
              <a:spLocks noChangeAspect="1" noChangeShapeType="1"/>
            </p:cNvSpPr>
            <p:nvPr/>
          </p:nvSpPr>
          <p:spPr bwMode="auto">
            <a:xfrm flipH="1" flipV="1">
              <a:off x="4970463" y="3441065"/>
              <a:ext cx="4762"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07" name="Line 855">
              <a:extLst>
                <a:ext uri="{FF2B5EF4-FFF2-40B4-BE49-F238E27FC236}">
                  <a16:creationId xmlns:a16="http://schemas.microsoft.com/office/drawing/2014/main" id="{1944ED6F-8E4E-4886-8159-09E0B7DC0AC8}"/>
                </a:ext>
              </a:extLst>
            </p:cNvPr>
            <p:cNvSpPr>
              <a:spLocks noChangeAspect="1" noChangeShapeType="1"/>
            </p:cNvSpPr>
            <p:nvPr/>
          </p:nvSpPr>
          <p:spPr bwMode="auto">
            <a:xfrm flipH="1" flipV="1">
              <a:off x="4929188" y="3431540"/>
              <a:ext cx="30162"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08" name="Line 856">
              <a:extLst>
                <a:ext uri="{FF2B5EF4-FFF2-40B4-BE49-F238E27FC236}">
                  <a16:creationId xmlns:a16="http://schemas.microsoft.com/office/drawing/2014/main" id="{385B26FA-BD9B-4740-A6DF-C9AA945D6F6F}"/>
                </a:ext>
              </a:extLst>
            </p:cNvPr>
            <p:cNvSpPr>
              <a:spLocks noChangeAspect="1" noChangeShapeType="1"/>
            </p:cNvSpPr>
            <p:nvPr/>
          </p:nvSpPr>
          <p:spPr bwMode="auto">
            <a:xfrm flipH="1" flipV="1">
              <a:off x="4910138" y="3425190"/>
              <a:ext cx="19050"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09" name="Line 857">
              <a:extLst>
                <a:ext uri="{FF2B5EF4-FFF2-40B4-BE49-F238E27FC236}">
                  <a16:creationId xmlns:a16="http://schemas.microsoft.com/office/drawing/2014/main" id="{C0EACFC5-A916-4490-8F8F-B301CDDD1D72}"/>
                </a:ext>
              </a:extLst>
            </p:cNvPr>
            <p:cNvSpPr>
              <a:spLocks noChangeAspect="1" noChangeShapeType="1"/>
            </p:cNvSpPr>
            <p:nvPr/>
          </p:nvSpPr>
          <p:spPr bwMode="auto">
            <a:xfrm flipH="1" flipV="1">
              <a:off x="4883150" y="3415665"/>
              <a:ext cx="14288"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10" name="Line 858">
              <a:extLst>
                <a:ext uri="{FF2B5EF4-FFF2-40B4-BE49-F238E27FC236}">
                  <a16:creationId xmlns:a16="http://schemas.microsoft.com/office/drawing/2014/main" id="{5140527C-16DA-4FDB-9B14-BF39D4E332CC}"/>
                </a:ext>
              </a:extLst>
            </p:cNvPr>
            <p:cNvSpPr>
              <a:spLocks noChangeAspect="1" noChangeShapeType="1"/>
            </p:cNvSpPr>
            <p:nvPr/>
          </p:nvSpPr>
          <p:spPr bwMode="auto">
            <a:xfrm flipH="1" flipV="1">
              <a:off x="4852988" y="3402965"/>
              <a:ext cx="30162"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11" name="Line 859">
              <a:extLst>
                <a:ext uri="{FF2B5EF4-FFF2-40B4-BE49-F238E27FC236}">
                  <a16:creationId xmlns:a16="http://schemas.microsoft.com/office/drawing/2014/main" id="{D81E9ACE-1460-4724-972F-91F80DA949B1}"/>
                </a:ext>
              </a:extLst>
            </p:cNvPr>
            <p:cNvSpPr>
              <a:spLocks noChangeAspect="1" noChangeShapeType="1"/>
            </p:cNvSpPr>
            <p:nvPr/>
          </p:nvSpPr>
          <p:spPr bwMode="auto">
            <a:xfrm flipH="1" flipV="1">
              <a:off x="4837114" y="3396615"/>
              <a:ext cx="3175"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12" name="Line 860">
              <a:extLst>
                <a:ext uri="{FF2B5EF4-FFF2-40B4-BE49-F238E27FC236}">
                  <a16:creationId xmlns:a16="http://schemas.microsoft.com/office/drawing/2014/main" id="{990C1625-0192-453A-838A-7AB591C4E8E1}"/>
                </a:ext>
              </a:extLst>
            </p:cNvPr>
            <p:cNvSpPr>
              <a:spLocks noChangeAspect="1" noChangeShapeType="1"/>
            </p:cNvSpPr>
            <p:nvPr/>
          </p:nvSpPr>
          <p:spPr bwMode="auto">
            <a:xfrm flipH="1" flipV="1">
              <a:off x="4835525" y="3396615"/>
              <a:ext cx="1588"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13" name="Line 861">
              <a:extLst>
                <a:ext uri="{FF2B5EF4-FFF2-40B4-BE49-F238E27FC236}">
                  <a16:creationId xmlns:a16="http://schemas.microsoft.com/office/drawing/2014/main" id="{5B5399D4-EC52-45FC-872C-F076D28D1EFC}"/>
                </a:ext>
              </a:extLst>
            </p:cNvPr>
            <p:cNvSpPr>
              <a:spLocks noChangeAspect="1" noChangeShapeType="1"/>
            </p:cNvSpPr>
            <p:nvPr/>
          </p:nvSpPr>
          <p:spPr bwMode="auto">
            <a:xfrm flipH="1" flipV="1">
              <a:off x="4795839" y="3372803"/>
              <a:ext cx="39687" cy="238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14" name="Line 862">
              <a:extLst>
                <a:ext uri="{FF2B5EF4-FFF2-40B4-BE49-F238E27FC236}">
                  <a16:creationId xmlns:a16="http://schemas.microsoft.com/office/drawing/2014/main" id="{EB2C3B7D-DC57-4344-A0B7-7657555CBBBB}"/>
                </a:ext>
              </a:extLst>
            </p:cNvPr>
            <p:cNvSpPr>
              <a:spLocks noChangeAspect="1" noChangeShapeType="1"/>
            </p:cNvSpPr>
            <p:nvPr/>
          </p:nvSpPr>
          <p:spPr bwMode="auto">
            <a:xfrm flipH="1" flipV="1">
              <a:off x="4762500" y="3350579"/>
              <a:ext cx="20638"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15" name="Line 863">
              <a:extLst>
                <a:ext uri="{FF2B5EF4-FFF2-40B4-BE49-F238E27FC236}">
                  <a16:creationId xmlns:a16="http://schemas.microsoft.com/office/drawing/2014/main" id="{0C0BC551-DF55-42C1-BDE6-5243EC929B80}"/>
                </a:ext>
              </a:extLst>
            </p:cNvPr>
            <p:cNvSpPr>
              <a:spLocks noChangeAspect="1" noChangeShapeType="1"/>
            </p:cNvSpPr>
            <p:nvPr/>
          </p:nvSpPr>
          <p:spPr bwMode="auto">
            <a:xfrm flipH="1" flipV="1">
              <a:off x="4743450" y="3337878"/>
              <a:ext cx="19050"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16" name="Line 864">
              <a:extLst>
                <a:ext uri="{FF2B5EF4-FFF2-40B4-BE49-F238E27FC236}">
                  <a16:creationId xmlns:a16="http://schemas.microsoft.com/office/drawing/2014/main" id="{D7AFEE74-8ABA-448C-BFC5-DF8C4F8D39BA}"/>
                </a:ext>
              </a:extLst>
            </p:cNvPr>
            <p:cNvSpPr>
              <a:spLocks noChangeAspect="1" noChangeShapeType="1"/>
            </p:cNvSpPr>
            <p:nvPr/>
          </p:nvSpPr>
          <p:spPr bwMode="auto">
            <a:xfrm flipH="1" flipV="1">
              <a:off x="4741864" y="3334704"/>
              <a:ext cx="1587"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17" name="Line 865">
              <a:extLst>
                <a:ext uri="{FF2B5EF4-FFF2-40B4-BE49-F238E27FC236}">
                  <a16:creationId xmlns:a16="http://schemas.microsoft.com/office/drawing/2014/main" id="{905CCE27-5F62-4EDA-9992-4D271D965219}"/>
                </a:ext>
              </a:extLst>
            </p:cNvPr>
            <p:cNvSpPr>
              <a:spLocks noChangeAspect="1" noChangeShapeType="1"/>
            </p:cNvSpPr>
            <p:nvPr/>
          </p:nvSpPr>
          <p:spPr bwMode="auto">
            <a:xfrm flipH="1" flipV="1">
              <a:off x="4705350" y="3306129"/>
              <a:ext cx="25400"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18" name="Line 866">
              <a:extLst>
                <a:ext uri="{FF2B5EF4-FFF2-40B4-BE49-F238E27FC236}">
                  <a16:creationId xmlns:a16="http://schemas.microsoft.com/office/drawing/2014/main" id="{F7943126-0A4F-4601-8E36-075B2F4A397B}"/>
                </a:ext>
              </a:extLst>
            </p:cNvPr>
            <p:cNvSpPr>
              <a:spLocks noChangeAspect="1" noChangeShapeType="1"/>
            </p:cNvSpPr>
            <p:nvPr/>
          </p:nvSpPr>
          <p:spPr bwMode="auto">
            <a:xfrm flipH="1" flipV="1">
              <a:off x="4699000" y="3298190"/>
              <a:ext cx="6350"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19" name="Line 867">
              <a:extLst>
                <a:ext uri="{FF2B5EF4-FFF2-40B4-BE49-F238E27FC236}">
                  <a16:creationId xmlns:a16="http://schemas.microsoft.com/office/drawing/2014/main" id="{99E9E508-062F-45D6-865D-923799A83674}"/>
                </a:ext>
              </a:extLst>
            </p:cNvPr>
            <p:cNvSpPr>
              <a:spLocks noChangeAspect="1" noChangeShapeType="1"/>
            </p:cNvSpPr>
            <p:nvPr/>
          </p:nvSpPr>
          <p:spPr bwMode="auto">
            <a:xfrm flipH="1" flipV="1">
              <a:off x="4691064" y="3290254"/>
              <a:ext cx="7937"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20" name="Line 868">
              <a:extLst>
                <a:ext uri="{FF2B5EF4-FFF2-40B4-BE49-F238E27FC236}">
                  <a16:creationId xmlns:a16="http://schemas.microsoft.com/office/drawing/2014/main" id="{E126E1F3-B916-4009-ABFF-341A463C3129}"/>
                </a:ext>
              </a:extLst>
            </p:cNvPr>
            <p:cNvSpPr>
              <a:spLocks noChangeAspect="1" noChangeShapeType="1"/>
            </p:cNvSpPr>
            <p:nvPr/>
          </p:nvSpPr>
          <p:spPr bwMode="auto">
            <a:xfrm flipH="1" flipV="1">
              <a:off x="4659314" y="3260090"/>
              <a:ext cx="22225"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21" name="Line 869">
              <a:extLst>
                <a:ext uri="{FF2B5EF4-FFF2-40B4-BE49-F238E27FC236}">
                  <a16:creationId xmlns:a16="http://schemas.microsoft.com/office/drawing/2014/main" id="{1A146774-0F5F-41AA-ACA6-3CD7871D1A4D}"/>
                </a:ext>
              </a:extLst>
            </p:cNvPr>
            <p:cNvSpPr>
              <a:spLocks noChangeAspect="1" noChangeShapeType="1"/>
            </p:cNvSpPr>
            <p:nvPr/>
          </p:nvSpPr>
          <p:spPr bwMode="auto">
            <a:xfrm flipH="1" flipV="1">
              <a:off x="4652963" y="3250566"/>
              <a:ext cx="6350"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22" name="Line 870">
              <a:extLst>
                <a:ext uri="{FF2B5EF4-FFF2-40B4-BE49-F238E27FC236}">
                  <a16:creationId xmlns:a16="http://schemas.microsoft.com/office/drawing/2014/main" id="{11ACB774-13BF-4B35-B77A-A67A60E0E28D}"/>
                </a:ext>
              </a:extLst>
            </p:cNvPr>
            <p:cNvSpPr>
              <a:spLocks noChangeAspect="1" noChangeShapeType="1"/>
            </p:cNvSpPr>
            <p:nvPr/>
          </p:nvSpPr>
          <p:spPr bwMode="auto">
            <a:xfrm flipH="1" flipV="1">
              <a:off x="4645025" y="3241041"/>
              <a:ext cx="7938"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23" name="Line 871">
              <a:extLst>
                <a:ext uri="{FF2B5EF4-FFF2-40B4-BE49-F238E27FC236}">
                  <a16:creationId xmlns:a16="http://schemas.microsoft.com/office/drawing/2014/main" id="{213DCDD1-9074-4D98-A545-EF1EF7F2C1FC}"/>
                </a:ext>
              </a:extLst>
            </p:cNvPr>
            <p:cNvSpPr>
              <a:spLocks noChangeAspect="1" noChangeShapeType="1"/>
            </p:cNvSpPr>
            <p:nvPr/>
          </p:nvSpPr>
          <p:spPr bwMode="auto">
            <a:xfrm flipH="1" flipV="1">
              <a:off x="4621214" y="3214054"/>
              <a:ext cx="14287"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24" name="Line 872">
              <a:extLst>
                <a:ext uri="{FF2B5EF4-FFF2-40B4-BE49-F238E27FC236}">
                  <a16:creationId xmlns:a16="http://schemas.microsoft.com/office/drawing/2014/main" id="{6B716D44-F2B9-4FD4-B349-3AED8F308038}"/>
                </a:ext>
              </a:extLst>
            </p:cNvPr>
            <p:cNvSpPr>
              <a:spLocks noChangeAspect="1" noChangeShapeType="1"/>
            </p:cNvSpPr>
            <p:nvPr/>
          </p:nvSpPr>
          <p:spPr bwMode="auto">
            <a:xfrm flipH="1" flipV="1">
              <a:off x="4606925" y="3191829"/>
              <a:ext cx="14288"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25" name="Line 873">
              <a:extLst>
                <a:ext uri="{FF2B5EF4-FFF2-40B4-BE49-F238E27FC236}">
                  <a16:creationId xmlns:a16="http://schemas.microsoft.com/office/drawing/2014/main" id="{126EE060-B6DB-44CA-B57A-DFF7D30A26F2}"/>
                </a:ext>
              </a:extLst>
            </p:cNvPr>
            <p:cNvSpPr>
              <a:spLocks noChangeAspect="1" noChangeShapeType="1"/>
            </p:cNvSpPr>
            <p:nvPr/>
          </p:nvSpPr>
          <p:spPr bwMode="auto">
            <a:xfrm flipH="1" flipV="1">
              <a:off x="4602163" y="3187066"/>
              <a:ext cx="4762"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26" name="Line 874">
              <a:extLst>
                <a:ext uri="{FF2B5EF4-FFF2-40B4-BE49-F238E27FC236}">
                  <a16:creationId xmlns:a16="http://schemas.microsoft.com/office/drawing/2014/main" id="{A94F2A35-9624-40DE-BF36-0B278C17697F}"/>
                </a:ext>
              </a:extLst>
            </p:cNvPr>
            <p:cNvSpPr>
              <a:spLocks noChangeAspect="1" noChangeShapeType="1"/>
            </p:cNvSpPr>
            <p:nvPr/>
          </p:nvSpPr>
          <p:spPr bwMode="auto">
            <a:xfrm flipH="1" flipV="1">
              <a:off x="4589463" y="3168015"/>
              <a:ext cx="4762"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27" name="Line 875">
              <a:extLst>
                <a:ext uri="{FF2B5EF4-FFF2-40B4-BE49-F238E27FC236}">
                  <a16:creationId xmlns:a16="http://schemas.microsoft.com/office/drawing/2014/main" id="{F0C573FC-F846-4BC4-BAE4-50850A2B96B3}"/>
                </a:ext>
              </a:extLst>
            </p:cNvPr>
            <p:cNvSpPr>
              <a:spLocks noChangeAspect="1" noChangeShapeType="1"/>
            </p:cNvSpPr>
            <p:nvPr/>
          </p:nvSpPr>
          <p:spPr bwMode="auto">
            <a:xfrm flipH="1" flipV="1">
              <a:off x="4564063" y="3125153"/>
              <a:ext cx="25400" cy="428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28" name="Line 876">
              <a:extLst>
                <a:ext uri="{FF2B5EF4-FFF2-40B4-BE49-F238E27FC236}">
                  <a16:creationId xmlns:a16="http://schemas.microsoft.com/office/drawing/2014/main" id="{5C1F7504-6728-431E-909C-E9A8A0541468}"/>
                </a:ext>
              </a:extLst>
            </p:cNvPr>
            <p:cNvSpPr>
              <a:spLocks noChangeAspect="1" noChangeShapeType="1"/>
            </p:cNvSpPr>
            <p:nvPr/>
          </p:nvSpPr>
          <p:spPr bwMode="auto">
            <a:xfrm flipH="1" flipV="1">
              <a:off x="4537075" y="3075940"/>
              <a:ext cx="20638"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29" name="Line 877">
              <a:extLst>
                <a:ext uri="{FF2B5EF4-FFF2-40B4-BE49-F238E27FC236}">
                  <a16:creationId xmlns:a16="http://schemas.microsoft.com/office/drawing/2014/main" id="{72E84B4C-7454-4CF8-ACF9-D90990B7EDE1}"/>
                </a:ext>
              </a:extLst>
            </p:cNvPr>
            <p:cNvSpPr>
              <a:spLocks noChangeAspect="1" noChangeShapeType="1"/>
            </p:cNvSpPr>
            <p:nvPr/>
          </p:nvSpPr>
          <p:spPr bwMode="auto">
            <a:xfrm flipH="1" flipV="1">
              <a:off x="4532313" y="3061654"/>
              <a:ext cx="4762"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30" name="Line 878">
              <a:extLst>
                <a:ext uri="{FF2B5EF4-FFF2-40B4-BE49-F238E27FC236}">
                  <a16:creationId xmlns:a16="http://schemas.microsoft.com/office/drawing/2014/main" id="{017970ED-54E1-4128-838C-597B4CCA64E7}"/>
                </a:ext>
              </a:extLst>
            </p:cNvPr>
            <p:cNvSpPr>
              <a:spLocks noChangeAspect="1" noChangeShapeType="1"/>
            </p:cNvSpPr>
            <p:nvPr/>
          </p:nvSpPr>
          <p:spPr bwMode="auto">
            <a:xfrm flipH="1" flipV="1">
              <a:off x="4518026" y="3029903"/>
              <a:ext cx="9525"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31" name="Line 879">
              <a:extLst>
                <a:ext uri="{FF2B5EF4-FFF2-40B4-BE49-F238E27FC236}">
                  <a16:creationId xmlns:a16="http://schemas.microsoft.com/office/drawing/2014/main" id="{16B58D50-D3B0-4A5D-88DF-0D1B9E9D4104}"/>
                </a:ext>
              </a:extLst>
            </p:cNvPr>
            <p:cNvSpPr>
              <a:spLocks noChangeAspect="1" noChangeShapeType="1"/>
            </p:cNvSpPr>
            <p:nvPr/>
          </p:nvSpPr>
          <p:spPr bwMode="auto">
            <a:xfrm flipH="1" flipV="1">
              <a:off x="4513263" y="3018791"/>
              <a:ext cx="4762"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32" name="Line 880">
              <a:extLst>
                <a:ext uri="{FF2B5EF4-FFF2-40B4-BE49-F238E27FC236}">
                  <a16:creationId xmlns:a16="http://schemas.microsoft.com/office/drawing/2014/main" id="{B1A4EDE5-2EE6-4D0A-BFAF-436E9158A9A1}"/>
                </a:ext>
              </a:extLst>
            </p:cNvPr>
            <p:cNvSpPr>
              <a:spLocks noChangeAspect="1" noChangeShapeType="1"/>
            </p:cNvSpPr>
            <p:nvPr/>
          </p:nvSpPr>
          <p:spPr bwMode="auto">
            <a:xfrm flipH="1" flipV="1">
              <a:off x="4505325" y="2994978"/>
              <a:ext cx="7938" cy="238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33" name="Line 881">
              <a:extLst>
                <a:ext uri="{FF2B5EF4-FFF2-40B4-BE49-F238E27FC236}">
                  <a16:creationId xmlns:a16="http://schemas.microsoft.com/office/drawing/2014/main" id="{C443A1E4-BD06-4244-8743-E905E6D35D50}"/>
                </a:ext>
              </a:extLst>
            </p:cNvPr>
            <p:cNvSpPr>
              <a:spLocks noChangeAspect="1" noChangeShapeType="1"/>
            </p:cNvSpPr>
            <p:nvPr/>
          </p:nvSpPr>
          <p:spPr bwMode="auto">
            <a:xfrm flipH="1" flipV="1">
              <a:off x="4486275" y="2937828"/>
              <a:ext cx="14288" cy="428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34" name="Line 882">
              <a:extLst>
                <a:ext uri="{FF2B5EF4-FFF2-40B4-BE49-F238E27FC236}">
                  <a16:creationId xmlns:a16="http://schemas.microsoft.com/office/drawing/2014/main" id="{9C07FF16-9D08-4DB6-AAE1-F337D9B6F806}"/>
                </a:ext>
              </a:extLst>
            </p:cNvPr>
            <p:cNvSpPr>
              <a:spLocks noChangeAspect="1" noChangeShapeType="1"/>
            </p:cNvSpPr>
            <p:nvPr/>
          </p:nvSpPr>
          <p:spPr bwMode="auto">
            <a:xfrm flipH="1" flipV="1">
              <a:off x="4483101" y="2923540"/>
              <a:ext cx="3175"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35" name="Line 883">
              <a:extLst>
                <a:ext uri="{FF2B5EF4-FFF2-40B4-BE49-F238E27FC236}">
                  <a16:creationId xmlns:a16="http://schemas.microsoft.com/office/drawing/2014/main" id="{B2D6DF20-264F-449C-8E2C-D24BC698620D}"/>
                </a:ext>
              </a:extLst>
            </p:cNvPr>
            <p:cNvSpPr>
              <a:spLocks noChangeAspect="1" noChangeShapeType="1"/>
            </p:cNvSpPr>
            <p:nvPr/>
          </p:nvSpPr>
          <p:spPr bwMode="auto">
            <a:xfrm flipH="1" flipV="1">
              <a:off x="4475163" y="2891791"/>
              <a:ext cx="4762"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36" name="Line 884">
              <a:extLst>
                <a:ext uri="{FF2B5EF4-FFF2-40B4-BE49-F238E27FC236}">
                  <a16:creationId xmlns:a16="http://schemas.microsoft.com/office/drawing/2014/main" id="{05DF90B7-6737-4D6C-AA16-946D87CB6CE9}"/>
                </a:ext>
              </a:extLst>
            </p:cNvPr>
            <p:cNvSpPr>
              <a:spLocks noChangeAspect="1" noChangeShapeType="1"/>
            </p:cNvSpPr>
            <p:nvPr/>
          </p:nvSpPr>
          <p:spPr bwMode="auto">
            <a:xfrm flipH="1" flipV="1">
              <a:off x="4467225" y="2852104"/>
              <a:ext cx="7938" cy="396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37" name="Line 885">
              <a:extLst>
                <a:ext uri="{FF2B5EF4-FFF2-40B4-BE49-F238E27FC236}">
                  <a16:creationId xmlns:a16="http://schemas.microsoft.com/office/drawing/2014/main" id="{1FDCAB82-E853-459D-9059-F8D93B880E28}"/>
                </a:ext>
              </a:extLst>
            </p:cNvPr>
            <p:cNvSpPr>
              <a:spLocks noChangeAspect="1" noChangeShapeType="1"/>
            </p:cNvSpPr>
            <p:nvPr/>
          </p:nvSpPr>
          <p:spPr bwMode="auto">
            <a:xfrm flipH="1" flipV="1">
              <a:off x="4460876" y="2801304"/>
              <a:ext cx="4763"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38" name="Line 886">
              <a:extLst>
                <a:ext uri="{FF2B5EF4-FFF2-40B4-BE49-F238E27FC236}">
                  <a16:creationId xmlns:a16="http://schemas.microsoft.com/office/drawing/2014/main" id="{F1C1EFD2-0D5A-493A-852B-7031DBBC4C81}"/>
                </a:ext>
              </a:extLst>
            </p:cNvPr>
            <p:cNvSpPr>
              <a:spLocks noChangeAspect="1" noChangeShapeType="1"/>
            </p:cNvSpPr>
            <p:nvPr/>
          </p:nvSpPr>
          <p:spPr bwMode="auto">
            <a:xfrm flipH="1" flipV="1">
              <a:off x="4457701" y="2775903"/>
              <a:ext cx="3175"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39" name="Line 887">
              <a:extLst>
                <a:ext uri="{FF2B5EF4-FFF2-40B4-BE49-F238E27FC236}">
                  <a16:creationId xmlns:a16="http://schemas.microsoft.com/office/drawing/2014/main" id="{46F04B4A-1503-4149-9409-63C4AD2BEFB2}"/>
                </a:ext>
              </a:extLst>
            </p:cNvPr>
            <p:cNvSpPr>
              <a:spLocks noChangeAspect="1" noChangeShapeType="1"/>
            </p:cNvSpPr>
            <p:nvPr/>
          </p:nvSpPr>
          <p:spPr bwMode="auto">
            <a:xfrm flipH="1" flipV="1">
              <a:off x="4456114" y="2755265"/>
              <a:ext cx="1587"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40" name="Line 888">
              <a:extLst>
                <a:ext uri="{FF2B5EF4-FFF2-40B4-BE49-F238E27FC236}">
                  <a16:creationId xmlns:a16="http://schemas.microsoft.com/office/drawing/2014/main" id="{8A836910-ADB6-448E-AC72-C1916E5B1663}"/>
                </a:ext>
              </a:extLst>
            </p:cNvPr>
            <p:cNvSpPr>
              <a:spLocks noChangeAspect="1" noChangeShapeType="1"/>
            </p:cNvSpPr>
            <p:nvPr/>
          </p:nvSpPr>
          <p:spPr bwMode="auto">
            <a:xfrm flipH="1" flipV="1">
              <a:off x="4454525" y="2709229"/>
              <a:ext cx="1588"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41" name="Line 889">
              <a:extLst>
                <a:ext uri="{FF2B5EF4-FFF2-40B4-BE49-F238E27FC236}">
                  <a16:creationId xmlns:a16="http://schemas.microsoft.com/office/drawing/2014/main" id="{24D3F595-9A33-432E-A9CF-0D3B48C76CE6}"/>
                </a:ext>
              </a:extLst>
            </p:cNvPr>
            <p:cNvSpPr>
              <a:spLocks noChangeAspect="1" noChangeShapeType="1"/>
            </p:cNvSpPr>
            <p:nvPr/>
          </p:nvSpPr>
          <p:spPr bwMode="auto">
            <a:xfrm flipV="1">
              <a:off x="4454525" y="2701290"/>
              <a:ext cx="0"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42" name="Line 890">
              <a:extLst>
                <a:ext uri="{FF2B5EF4-FFF2-40B4-BE49-F238E27FC236}">
                  <a16:creationId xmlns:a16="http://schemas.microsoft.com/office/drawing/2014/main" id="{1FF6587E-90CD-4F9B-A017-5C1972794EEC}"/>
                </a:ext>
              </a:extLst>
            </p:cNvPr>
            <p:cNvSpPr>
              <a:spLocks noChangeAspect="1" noChangeShapeType="1"/>
            </p:cNvSpPr>
            <p:nvPr/>
          </p:nvSpPr>
          <p:spPr bwMode="auto">
            <a:xfrm flipV="1">
              <a:off x="4454525" y="2663191"/>
              <a:ext cx="1588" cy="238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43" name="Line 891">
              <a:extLst>
                <a:ext uri="{FF2B5EF4-FFF2-40B4-BE49-F238E27FC236}">
                  <a16:creationId xmlns:a16="http://schemas.microsoft.com/office/drawing/2014/main" id="{53BC522B-521B-442D-9084-37419F99C64C}"/>
                </a:ext>
              </a:extLst>
            </p:cNvPr>
            <p:cNvSpPr>
              <a:spLocks noChangeAspect="1" noChangeShapeType="1"/>
            </p:cNvSpPr>
            <p:nvPr/>
          </p:nvSpPr>
          <p:spPr bwMode="auto">
            <a:xfrm flipV="1">
              <a:off x="4454526" y="2626678"/>
              <a:ext cx="3175" cy="365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44" name="Line 892">
              <a:extLst>
                <a:ext uri="{FF2B5EF4-FFF2-40B4-BE49-F238E27FC236}">
                  <a16:creationId xmlns:a16="http://schemas.microsoft.com/office/drawing/2014/main" id="{2A764EAD-B213-4712-95C4-8C5F651463AB}"/>
                </a:ext>
              </a:extLst>
            </p:cNvPr>
            <p:cNvSpPr>
              <a:spLocks noChangeAspect="1" noChangeShapeType="1"/>
            </p:cNvSpPr>
            <p:nvPr/>
          </p:nvSpPr>
          <p:spPr bwMode="auto">
            <a:xfrm flipV="1">
              <a:off x="4459288" y="2572703"/>
              <a:ext cx="4762"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45" name="Line 893">
              <a:extLst>
                <a:ext uri="{FF2B5EF4-FFF2-40B4-BE49-F238E27FC236}">
                  <a16:creationId xmlns:a16="http://schemas.microsoft.com/office/drawing/2014/main" id="{1CCBD5C4-F1AD-46A6-81E4-96AA8503AA6C}"/>
                </a:ext>
              </a:extLst>
            </p:cNvPr>
            <p:cNvSpPr>
              <a:spLocks noChangeAspect="1" noChangeShapeType="1"/>
            </p:cNvSpPr>
            <p:nvPr/>
          </p:nvSpPr>
          <p:spPr bwMode="auto">
            <a:xfrm flipV="1">
              <a:off x="4464051" y="2552065"/>
              <a:ext cx="3175"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46" name="Line 894">
              <a:extLst>
                <a:ext uri="{FF2B5EF4-FFF2-40B4-BE49-F238E27FC236}">
                  <a16:creationId xmlns:a16="http://schemas.microsoft.com/office/drawing/2014/main" id="{B7358AE8-BC31-4824-9C0F-6EE1C301D538}"/>
                </a:ext>
              </a:extLst>
            </p:cNvPr>
            <p:cNvSpPr>
              <a:spLocks noChangeAspect="1" noChangeShapeType="1"/>
            </p:cNvSpPr>
            <p:nvPr/>
          </p:nvSpPr>
          <p:spPr bwMode="auto">
            <a:xfrm flipV="1">
              <a:off x="4468814" y="2526666"/>
              <a:ext cx="3175"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47" name="Line 895">
              <a:extLst>
                <a:ext uri="{FF2B5EF4-FFF2-40B4-BE49-F238E27FC236}">
                  <a16:creationId xmlns:a16="http://schemas.microsoft.com/office/drawing/2014/main" id="{51598137-9E3D-4FEE-A2E1-A75B2AFB1419}"/>
                </a:ext>
              </a:extLst>
            </p:cNvPr>
            <p:cNvSpPr>
              <a:spLocks noChangeAspect="1" noChangeShapeType="1"/>
            </p:cNvSpPr>
            <p:nvPr/>
          </p:nvSpPr>
          <p:spPr bwMode="auto">
            <a:xfrm flipV="1">
              <a:off x="4471989" y="2480629"/>
              <a:ext cx="9525"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48" name="Line 896">
              <a:extLst>
                <a:ext uri="{FF2B5EF4-FFF2-40B4-BE49-F238E27FC236}">
                  <a16:creationId xmlns:a16="http://schemas.microsoft.com/office/drawing/2014/main" id="{9D4A199F-25F6-4D95-86A0-6E37916AF972}"/>
                </a:ext>
              </a:extLst>
            </p:cNvPr>
            <p:cNvSpPr>
              <a:spLocks noChangeAspect="1" noChangeShapeType="1"/>
            </p:cNvSpPr>
            <p:nvPr/>
          </p:nvSpPr>
          <p:spPr bwMode="auto">
            <a:xfrm flipV="1">
              <a:off x="4481513" y="2479040"/>
              <a:ext cx="0"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49" name="Line 897">
              <a:extLst>
                <a:ext uri="{FF2B5EF4-FFF2-40B4-BE49-F238E27FC236}">
                  <a16:creationId xmlns:a16="http://schemas.microsoft.com/office/drawing/2014/main" id="{3FD2E685-2930-4D6F-8887-773F627F2B0B}"/>
                </a:ext>
              </a:extLst>
            </p:cNvPr>
            <p:cNvSpPr>
              <a:spLocks noChangeAspect="1" noChangeShapeType="1"/>
            </p:cNvSpPr>
            <p:nvPr/>
          </p:nvSpPr>
          <p:spPr bwMode="auto">
            <a:xfrm flipV="1">
              <a:off x="4484689" y="2434591"/>
              <a:ext cx="9525"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50" name="Line 898">
              <a:extLst>
                <a:ext uri="{FF2B5EF4-FFF2-40B4-BE49-F238E27FC236}">
                  <a16:creationId xmlns:a16="http://schemas.microsoft.com/office/drawing/2014/main" id="{0A327996-A891-4F59-A8BB-B18B3A011860}"/>
                </a:ext>
              </a:extLst>
            </p:cNvPr>
            <p:cNvSpPr>
              <a:spLocks noChangeAspect="1" noChangeShapeType="1"/>
            </p:cNvSpPr>
            <p:nvPr/>
          </p:nvSpPr>
          <p:spPr bwMode="auto">
            <a:xfrm flipV="1">
              <a:off x="4494214" y="2409190"/>
              <a:ext cx="7937"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51" name="Line 899">
              <a:extLst>
                <a:ext uri="{FF2B5EF4-FFF2-40B4-BE49-F238E27FC236}">
                  <a16:creationId xmlns:a16="http://schemas.microsoft.com/office/drawing/2014/main" id="{F4A085AD-BDC7-4669-976E-723F9D95A422}"/>
                </a:ext>
              </a:extLst>
            </p:cNvPr>
            <p:cNvSpPr>
              <a:spLocks noChangeAspect="1" noChangeShapeType="1"/>
            </p:cNvSpPr>
            <p:nvPr/>
          </p:nvSpPr>
          <p:spPr bwMode="auto">
            <a:xfrm flipV="1">
              <a:off x="4508500" y="2388553"/>
              <a:ext cx="1588"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52" name="Line 900">
              <a:extLst>
                <a:ext uri="{FF2B5EF4-FFF2-40B4-BE49-F238E27FC236}">
                  <a16:creationId xmlns:a16="http://schemas.microsoft.com/office/drawing/2014/main" id="{5C0DD438-C92C-46CD-A235-B9EA88318447}"/>
                </a:ext>
              </a:extLst>
            </p:cNvPr>
            <p:cNvSpPr>
              <a:spLocks noChangeAspect="1" noChangeShapeType="1"/>
            </p:cNvSpPr>
            <p:nvPr/>
          </p:nvSpPr>
          <p:spPr bwMode="auto">
            <a:xfrm flipV="1">
              <a:off x="4510089" y="2380615"/>
              <a:ext cx="3175"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53" name="Line 901">
              <a:extLst>
                <a:ext uri="{FF2B5EF4-FFF2-40B4-BE49-F238E27FC236}">
                  <a16:creationId xmlns:a16="http://schemas.microsoft.com/office/drawing/2014/main" id="{C0F77834-0D6A-43A4-9AEB-34ADD669FC61}"/>
                </a:ext>
              </a:extLst>
            </p:cNvPr>
            <p:cNvSpPr>
              <a:spLocks noChangeAspect="1" noChangeShapeType="1"/>
            </p:cNvSpPr>
            <p:nvPr/>
          </p:nvSpPr>
          <p:spPr bwMode="auto">
            <a:xfrm flipV="1">
              <a:off x="4513264" y="2342515"/>
              <a:ext cx="14287"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54" name="Line 902">
              <a:extLst>
                <a:ext uri="{FF2B5EF4-FFF2-40B4-BE49-F238E27FC236}">
                  <a16:creationId xmlns:a16="http://schemas.microsoft.com/office/drawing/2014/main" id="{3890DCE0-AA75-486D-BF58-56700B3E3D50}"/>
                </a:ext>
              </a:extLst>
            </p:cNvPr>
            <p:cNvSpPr>
              <a:spLocks noChangeAspect="1" noChangeShapeType="1"/>
            </p:cNvSpPr>
            <p:nvPr/>
          </p:nvSpPr>
          <p:spPr bwMode="auto">
            <a:xfrm flipV="1">
              <a:off x="4527550" y="2339341"/>
              <a:ext cx="1588"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55" name="Line 903">
              <a:extLst>
                <a:ext uri="{FF2B5EF4-FFF2-40B4-BE49-F238E27FC236}">
                  <a16:creationId xmlns:a16="http://schemas.microsoft.com/office/drawing/2014/main" id="{DB757804-621D-4CBC-BAA6-2235ABB02FD9}"/>
                </a:ext>
              </a:extLst>
            </p:cNvPr>
            <p:cNvSpPr>
              <a:spLocks noChangeAspect="1" noChangeShapeType="1"/>
            </p:cNvSpPr>
            <p:nvPr/>
          </p:nvSpPr>
          <p:spPr bwMode="auto">
            <a:xfrm flipV="1">
              <a:off x="4535489" y="2296478"/>
              <a:ext cx="15875"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56" name="Line 904">
              <a:extLst>
                <a:ext uri="{FF2B5EF4-FFF2-40B4-BE49-F238E27FC236}">
                  <a16:creationId xmlns:a16="http://schemas.microsoft.com/office/drawing/2014/main" id="{F6EC2EA4-63AB-4CF0-8422-410D847F1A29}"/>
                </a:ext>
              </a:extLst>
            </p:cNvPr>
            <p:cNvSpPr>
              <a:spLocks noChangeAspect="1" noChangeShapeType="1"/>
            </p:cNvSpPr>
            <p:nvPr/>
          </p:nvSpPr>
          <p:spPr bwMode="auto">
            <a:xfrm flipV="1">
              <a:off x="4551364" y="2282190"/>
              <a:ext cx="7937"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57" name="Line 905">
              <a:extLst>
                <a:ext uri="{FF2B5EF4-FFF2-40B4-BE49-F238E27FC236}">
                  <a16:creationId xmlns:a16="http://schemas.microsoft.com/office/drawing/2014/main" id="{B7CCDCEE-B1F3-4470-884F-D65E7DE67313}"/>
                </a:ext>
              </a:extLst>
            </p:cNvPr>
            <p:cNvSpPr>
              <a:spLocks noChangeAspect="1" noChangeShapeType="1"/>
            </p:cNvSpPr>
            <p:nvPr/>
          </p:nvSpPr>
          <p:spPr bwMode="auto">
            <a:xfrm flipV="1">
              <a:off x="4559301" y="2277428"/>
              <a:ext cx="3175"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58" name="Line 906">
              <a:extLst>
                <a:ext uri="{FF2B5EF4-FFF2-40B4-BE49-F238E27FC236}">
                  <a16:creationId xmlns:a16="http://schemas.microsoft.com/office/drawing/2014/main" id="{41199BBF-D0C6-40EB-866F-AF98A79F34C6}"/>
                </a:ext>
              </a:extLst>
            </p:cNvPr>
            <p:cNvSpPr>
              <a:spLocks noChangeAspect="1" noChangeShapeType="1"/>
            </p:cNvSpPr>
            <p:nvPr/>
          </p:nvSpPr>
          <p:spPr bwMode="auto">
            <a:xfrm flipV="1">
              <a:off x="4570413" y="2250440"/>
              <a:ext cx="6350"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59" name="Line 907">
              <a:extLst>
                <a:ext uri="{FF2B5EF4-FFF2-40B4-BE49-F238E27FC236}">
                  <a16:creationId xmlns:a16="http://schemas.microsoft.com/office/drawing/2014/main" id="{E4212A34-1212-43B9-B654-BEB1F588D867}"/>
                </a:ext>
              </a:extLst>
            </p:cNvPr>
            <p:cNvSpPr>
              <a:spLocks noChangeAspect="1" noChangeShapeType="1"/>
            </p:cNvSpPr>
            <p:nvPr/>
          </p:nvSpPr>
          <p:spPr bwMode="auto">
            <a:xfrm flipV="1">
              <a:off x="4576763" y="2217104"/>
              <a:ext cx="23812" cy="333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60" name="Line 908">
              <a:extLst>
                <a:ext uri="{FF2B5EF4-FFF2-40B4-BE49-F238E27FC236}">
                  <a16:creationId xmlns:a16="http://schemas.microsoft.com/office/drawing/2014/main" id="{54D3F665-5EBB-4507-87D1-6839810EDC2B}"/>
                </a:ext>
              </a:extLst>
            </p:cNvPr>
            <p:cNvSpPr>
              <a:spLocks noChangeAspect="1" noChangeShapeType="1"/>
            </p:cNvSpPr>
            <p:nvPr/>
          </p:nvSpPr>
          <p:spPr bwMode="auto">
            <a:xfrm flipH="1">
              <a:off x="4606925" y="2205990"/>
              <a:ext cx="15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61" name="Line 909">
              <a:extLst>
                <a:ext uri="{FF2B5EF4-FFF2-40B4-BE49-F238E27FC236}">
                  <a16:creationId xmlns:a16="http://schemas.microsoft.com/office/drawing/2014/main" id="{7BDBC36E-FF79-49BC-BCC5-AE9CDE6A1561}"/>
                </a:ext>
              </a:extLst>
            </p:cNvPr>
            <p:cNvSpPr>
              <a:spLocks noChangeAspect="1" noChangeShapeType="1"/>
            </p:cNvSpPr>
            <p:nvPr/>
          </p:nvSpPr>
          <p:spPr bwMode="auto">
            <a:xfrm flipV="1">
              <a:off x="4606926" y="2161540"/>
              <a:ext cx="36513"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62" name="Line 910">
              <a:extLst>
                <a:ext uri="{FF2B5EF4-FFF2-40B4-BE49-F238E27FC236}">
                  <a16:creationId xmlns:a16="http://schemas.microsoft.com/office/drawing/2014/main" id="{CD7C37C4-70DB-44FF-99DC-5EC4DA9BA85E}"/>
                </a:ext>
              </a:extLst>
            </p:cNvPr>
            <p:cNvSpPr>
              <a:spLocks noChangeAspect="1" noChangeShapeType="1"/>
            </p:cNvSpPr>
            <p:nvPr/>
          </p:nvSpPr>
          <p:spPr bwMode="auto">
            <a:xfrm flipV="1">
              <a:off x="4651375" y="2150429"/>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63" name="Line 911">
              <a:extLst>
                <a:ext uri="{FF2B5EF4-FFF2-40B4-BE49-F238E27FC236}">
                  <a16:creationId xmlns:a16="http://schemas.microsoft.com/office/drawing/2014/main" id="{6007764A-9265-402E-A886-C4168EA7F611}"/>
                </a:ext>
              </a:extLst>
            </p:cNvPr>
            <p:cNvSpPr>
              <a:spLocks noChangeAspect="1" noChangeShapeType="1"/>
            </p:cNvSpPr>
            <p:nvPr/>
          </p:nvSpPr>
          <p:spPr bwMode="auto">
            <a:xfrm flipV="1">
              <a:off x="4651376" y="2115504"/>
              <a:ext cx="36513"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64" name="Line 912">
              <a:extLst>
                <a:ext uri="{FF2B5EF4-FFF2-40B4-BE49-F238E27FC236}">
                  <a16:creationId xmlns:a16="http://schemas.microsoft.com/office/drawing/2014/main" id="{80730397-FCA2-4F78-A45D-2CD12590D63E}"/>
                </a:ext>
              </a:extLst>
            </p:cNvPr>
            <p:cNvSpPr>
              <a:spLocks noChangeAspect="1" noChangeShapeType="1"/>
            </p:cNvSpPr>
            <p:nvPr/>
          </p:nvSpPr>
          <p:spPr bwMode="auto">
            <a:xfrm flipV="1">
              <a:off x="4687889" y="2113915"/>
              <a:ext cx="1587"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65" name="Line 913">
              <a:extLst>
                <a:ext uri="{FF2B5EF4-FFF2-40B4-BE49-F238E27FC236}">
                  <a16:creationId xmlns:a16="http://schemas.microsoft.com/office/drawing/2014/main" id="{1CA218E4-8D72-437A-9586-DA5E8652D1A2}"/>
                </a:ext>
              </a:extLst>
            </p:cNvPr>
            <p:cNvSpPr>
              <a:spLocks noChangeAspect="1" noChangeShapeType="1"/>
            </p:cNvSpPr>
            <p:nvPr/>
          </p:nvSpPr>
          <p:spPr bwMode="auto">
            <a:xfrm flipV="1">
              <a:off x="4699001" y="2069466"/>
              <a:ext cx="41275"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66" name="Line 914">
              <a:extLst>
                <a:ext uri="{FF2B5EF4-FFF2-40B4-BE49-F238E27FC236}">
                  <a16:creationId xmlns:a16="http://schemas.microsoft.com/office/drawing/2014/main" id="{2B59B853-282D-4A8E-B780-4D9D565FF73D}"/>
                </a:ext>
              </a:extLst>
            </p:cNvPr>
            <p:cNvSpPr>
              <a:spLocks noChangeAspect="1" noChangeShapeType="1"/>
            </p:cNvSpPr>
            <p:nvPr/>
          </p:nvSpPr>
          <p:spPr bwMode="auto">
            <a:xfrm flipV="1">
              <a:off x="4751388" y="2034540"/>
              <a:ext cx="38100"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67" name="Line 915">
              <a:extLst>
                <a:ext uri="{FF2B5EF4-FFF2-40B4-BE49-F238E27FC236}">
                  <a16:creationId xmlns:a16="http://schemas.microsoft.com/office/drawing/2014/main" id="{5C61AFB6-09B2-4281-9B76-B82D41136F55}"/>
                </a:ext>
              </a:extLst>
            </p:cNvPr>
            <p:cNvSpPr>
              <a:spLocks noChangeAspect="1" noChangeShapeType="1"/>
            </p:cNvSpPr>
            <p:nvPr/>
          </p:nvSpPr>
          <p:spPr bwMode="auto">
            <a:xfrm flipV="1">
              <a:off x="4789488" y="2032954"/>
              <a:ext cx="4762"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68" name="Line 916">
              <a:extLst>
                <a:ext uri="{FF2B5EF4-FFF2-40B4-BE49-F238E27FC236}">
                  <a16:creationId xmlns:a16="http://schemas.microsoft.com/office/drawing/2014/main" id="{8A830D80-C562-4547-BA80-141FA5C094D6}"/>
                </a:ext>
              </a:extLst>
            </p:cNvPr>
            <p:cNvSpPr>
              <a:spLocks noChangeAspect="1" noChangeShapeType="1"/>
            </p:cNvSpPr>
            <p:nvPr/>
          </p:nvSpPr>
          <p:spPr bwMode="auto">
            <a:xfrm flipV="1">
              <a:off x="4805363" y="2023429"/>
              <a:ext cx="6350"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69" name="Line 917">
              <a:extLst>
                <a:ext uri="{FF2B5EF4-FFF2-40B4-BE49-F238E27FC236}">
                  <a16:creationId xmlns:a16="http://schemas.microsoft.com/office/drawing/2014/main" id="{C772EADE-981B-41F3-8211-FC63C5C00B3C}"/>
                </a:ext>
              </a:extLst>
            </p:cNvPr>
            <p:cNvSpPr>
              <a:spLocks noChangeAspect="1" noChangeShapeType="1"/>
            </p:cNvSpPr>
            <p:nvPr/>
          </p:nvSpPr>
          <p:spPr bwMode="auto">
            <a:xfrm flipV="1">
              <a:off x="4811713" y="2009140"/>
              <a:ext cx="23812"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70" name="Line 918">
              <a:extLst>
                <a:ext uri="{FF2B5EF4-FFF2-40B4-BE49-F238E27FC236}">
                  <a16:creationId xmlns:a16="http://schemas.microsoft.com/office/drawing/2014/main" id="{778E779C-A850-41A9-B442-C17BA4B8B610}"/>
                </a:ext>
              </a:extLst>
            </p:cNvPr>
            <p:cNvSpPr>
              <a:spLocks noChangeAspect="1" noChangeShapeType="1"/>
            </p:cNvSpPr>
            <p:nvPr/>
          </p:nvSpPr>
          <p:spPr bwMode="auto">
            <a:xfrm flipV="1">
              <a:off x="4835525" y="2002790"/>
              <a:ext cx="14288"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71" name="Line 919">
              <a:extLst>
                <a:ext uri="{FF2B5EF4-FFF2-40B4-BE49-F238E27FC236}">
                  <a16:creationId xmlns:a16="http://schemas.microsoft.com/office/drawing/2014/main" id="{4618464E-1502-4C8D-87CB-883E8DBD62FA}"/>
                </a:ext>
              </a:extLst>
            </p:cNvPr>
            <p:cNvSpPr>
              <a:spLocks noChangeAspect="1" noChangeShapeType="1"/>
            </p:cNvSpPr>
            <p:nvPr/>
          </p:nvSpPr>
          <p:spPr bwMode="auto">
            <a:xfrm flipV="1">
              <a:off x="4862514" y="1988504"/>
              <a:ext cx="20637"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72" name="Line 920">
              <a:extLst>
                <a:ext uri="{FF2B5EF4-FFF2-40B4-BE49-F238E27FC236}">
                  <a16:creationId xmlns:a16="http://schemas.microsoft.com/office/drawing/2014/main" id="{07631953-023E-4964-ABAA-C5308C963D53}"/>
                </a:ext>
              </a:extLst>
            </p:cNvPr>
            <p:cNvSpPr>
              <a:spLocks noChangeAspect="1" noChangeShapeType="1"/>
            </p:cNvSpPr>
            <p:nvPr/>
          </p:nvSpPr>
          <p:spPr bwMode="auto">
            <a:xfrm flipV="1">
              <a:off x="4883150" y="1980565"/>
              <a:ext cx="26988"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73" name="Line 921">
              <a:extLst>
                <a:ext uri="{FF2B5EF4-FFF2-40B4-BE49-F238E27FC236}">
                  <a16:creationId xmlns:a16="http://schemas.microsoft.com/office/drawing/2014/main" id="{DAC1ED6E-1A3D-4372-9266-8C6119C5E36D}"/>
                </a:ext>
              </a:extLst>
            </p:cNvPr>
            <p:cNvSpPr>
              <a:spLocks noChangeAspect="1" noChangeShapeType="1"/>
            </p:cNvSpPr>
            <p:nvPr/>
          </p:nvSpPr>
          <p:spPr bwMode="auto">
            <a:xfrm flipV="1">
              <a:off x="4922838" y="1975804"/>
              <a:ext cx="6350"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74" name="Line 922">
              <a:extLst>
                <a:ext uri="{FF2B5EF4-FFF2-40B4-BE49-F238E27FC236}">
                  <a16:creationId xmlns:a16="http://schemas.microsoft.com/office/drawing/2014/main" id="{9697AD5D-0CA7-40E1-B551-496FB7A7AF94}"/>
                </a:ext>
              </a:extLst>
            </p:cNvPr>
            <p:cNvSpPr>
              <a:spLocks noChangeAspect="1" noChangeShapeType="1"/>
            </p:cNvSpPr>
            <p:nvPr/>
          </p:nvSpPr>
          <p:spPr bwMode="auto">
            <a:xfrm flipV="1">
              <a:off x="4929189" y="1966279"/>
              <a:ext cx="41275"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75" name="Line 923">
              <a:extLst>
                <a:ext uri="{FF2B5EF4-FFF2-40B4-BE49-F238E27FC236}">
                  <a16:creationId xmlns:a16="http://schemas.microsoft.com/office/drawing/2014/main" id="{9C86C9B6-CB53-4D99-8C11-5E5CC85BFB32}"/>
                </a:ext>
              </a:extLst>
            </p:cNvPr>
            <p:cNvSpPr>
              <a:spLocks noChangeAspect="1" noChangeShapeType="1"/>
            </p:cNvSpPr>
            <p:nvPr/>
          </p:nvSpPr>
          <p:spPr bwMode="auto">
            <a:xfrm flipV="1">
              <a:off x="4984751" y="1959929"/>
              <a:ext cx="36513"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76" name="Line 924">
              <a:extLst>
                <a:ext uri="{FF2B5EF4-FFF2-40B4-BE49-F238E27FC236}">
                  <a16:creationId xmlns:a16="http://schemas.microsoft.com/office/drawing/2014/main" id="{477CABF7-8A1D-4D81-85AF-29F64CCF0CC6}"/>
                </a:ext>
              </a:extLst>
            </p:cNvPr>
            <p:cNvSpPr>
              <a:spLocks noChangeAspect="1" noChangeShapeType="1"/>
            </p:cNvSpPr>
            <p:nvPr/>
          </p:nvSpPr>
          <p:spPr bwMode="auto">
            <a:xfrm flipV="1">
              <a:off x="5021263" y="1959929"/>
              <a:ext cx="11112"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77" name="Line 925">
              <a:extLst>
                <a:ext uri="{FF2B5EF4-FFF2-40B4-BE49-F238E27FC236}">
                  <a16:creationId xmlns:a16="http://schemas.microsoft.com/office/drawing/2014/main" id="{429344E5-3DD5-48BF-83CC-9639EDDD26F6}"/>
                </a:ext>
              </a:extLst>
            </p:cNvPr>
            <p:cNvSpPr>
              <a:spLocks noChangeAspect="1" noChangeShapeType="1"/>
            </p:cNvSpPr>
            <p:nvPr/>
          </p:nvSpPr>
          <p:spPr bwMode="auto">
            <a:xfrm flipV="1">
              <a:off x="5045076" y="1958340"/>
              <a:ext cx="22225"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78" name="Line 926">
              <a:extLst>
                <a:ext uri="{FF2B5EF4-FFF2-40B4-BE49-F238E27FC236}">
                  <a16:creationId xmlns:a16="http://schemas.microsoft.com/office/drawing/2014/main" id="{90257B7F-6A88-456D-8F0E-F8244F488CA0}"/>
                </a:ext>
              </a:extLst>
            </p:cNvPr>
            <p:cNvSpPr>
              <a:spLocks noChangeAspect="1" noChangeShapeType="1"/>
            </p:cNvSpPr>
            <p:nvPr/>
          </p:nvSpPr>
          <p:spPr bwMode="auto">
            <a:xfrm>
              <a:off x="5067300" y="1958341"/>
              <a:ext cx="26988"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79" name="Line 927">
              <a:extLst>
                <a:ext uri="{FF2B5EF4-FFF2-40B4-BE49-F238E27FC236}">
                  <a16:creationId xmlns:a16="http://schemas.microsoft.com/office/drawing/2014/main" id="{3D23CDCA-9CB5-4239-9972-32925B855E9E}"/>
                </a:ext>
              </a:extLst>
            </p:cNvPr>
            <p:cNvSpPr>
              <a:spLocks noChangeAspect="1" noChangeShapeType="1"/>
            </p:cNvSpPr>
            <p:nvPr/>
          </p:nvSpPr>
          <p:spPr bwMode="auto">
            <a:xfrm>
              <a:off x="5106988" y="1961515"/>
              <a:ext cx="4762"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80" name="Line 928">
              <a:extLst>
                <a:ext uri="{FF2B5EF4-FFF2-40B4-BE49-F238E27FC236}">
                  <a16:creationId xmlns:a16="http://schemas.microsoft.com/office/drawing/2014/main" id="{37495ADC-3F3A-4949-AAA0-F84F43197123}"/>
                </a:ext>
              </a:extLst>
            </p:cNvPr>
            <p:cNvSpPr>
              <a:spLocks noChangeAspect="1" noChangeShapeType="1"/>
            </p:cNvSpPr>
            <p:nvPr/>
          </p:nvSpPr>
          <p:spPr bwMode="auto">
            <a:xfrm>
              <a:off x="5111750" y="1961515"/>
              <a:ext cx="46038"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81" name="Line 929">
              <a:extLst>
                <a:ext uri="{FF2B5EF4-FFF2-40B4-BE49-F238E27FC236}">
                  <a16:creationId xmlns:a16="http://schemas.microsoft.com/office/drawing/2014/main" id="{37AB53D1-90C6-4532-AF88-4B1C6AECFD90}"/>
                </a:ext>
              </a:extLst>
            </p:cNvPr>
            <p:cNvSpPr>
              <a:spLocks noChangeAspect="1" noChangeShapeType="1"/>
            </p:cNvSpPr>
            <p:nvPr/>
          </p:nvSpPr>
          <p:spPr bwMode="auto">
            <a:xfrm>
              <a:off x="5168901" y="1971040"/>
              <a:ext cx="30163"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82" name="Line 930">
              <a:extLst>
                <a:ext uri="{FF2B5EF4-FFF2-40B4-BE49-F238E27FC236}">
                  <a16:creationId xmlns:a16="http://schemas.microsoft.com/office/drawing/2014/main" id="{FFFE1958-421D-4EEB-889D-46F9205F9FAB}"/>
                </a:ext>
              </a:extLst>
            </p:cNvPr>
            <p:cNvSpPr>
              <a:spLocks noChangeAspect="1" noChangeShapeType="1"/>
            </p:cNvSpPr>
            <p:nvPr/>
          </p:nvSpPr>
          <p:spPr bwMode="auto">
            <a:xfrm>
              <a:off x="5199063" y="1977390"/>
              <a:ext cx="6350"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83" name="Line 931">
              <a:extLst>
                <a:ext uri="{FF2B5EF4-FFF2-40B4-BE49-F238E27FC236}">
                  <a16:creationId xmlns:a16="http://schemas.microsoft.com/office/drawing/2014/main" id="{AAC1DE1D-3309-42EF-88B8-DCE32ACC08B1}"/>
                </a:ext>
              </a:extLst>
            </p:cNvPr>
            <p:cNvSpPr>
              <a:spLocks noChangeAspect="1" noChangeShapeType="1"/>
            </p:cNvSpPr>
            <p:nvPr/>
          </p:nvSpPr>
          <p:spPr bwMode="auto">
            <a:xfrm>
              <a:off x="5205413" y="1978979"/>
              <a:ext cx="12700"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84" name="Line 932">
              <a:extLst>
                <a:ext uri="{FF2B5EF4-FFF2-40B4-BE49-F238E27FC236}">
                  <a16:creationId xmlns:a16="http://schemas.microsoft.com/office/drawing/2014/main" id="{87DF5F17-3FE7-4E15-87E8-CBFED583715E}"/>
                </a:ext>
              </a:extLst>
            </p:cNvPr>
            <p:cNvSpPr>
              <a:spLocks noChangeAspect="1" noChangeShapeType="1"/>
            </p:cNvSpPr>
            <p:nvPr/>
          </p:nvSpPr>
          <p:spPr bwMode="auto">
            <a:xfrm>
              <a:off x="5229226" y="1985328"/>
              <a:ext cx="22225"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85" name="Line 933">
              <a:extLst>
                <a:ext uri="{FF2B5EF4-FFF2-40B4-BE49-F238E27FC236}">
                  <a16:creationId xmlns:a16="http://schemas.microsoft.com/office/drawing/2014/main" id="{DB0D1EB4-7FC4-42BF-95DD-3FB4947C83AF}"/>
                </a:ext>
              </a:extLst>
            </p:cNvPr>
            <p:cNvSpPr>
              <a:spLocks noChangeAspect="1" noChangeShapeType="1"/>
            </p:cNvSpPr>
            <p:nvPr/>
          </p:nvSpPr>
          <p:spPr bwMode="auto">
            <a:xfrm>
              <a:off x="5251450" y="1990091"/>
              <a:ext cx="25400"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86" name="Line 934">
              <a:extLst>
                <a:ext uri="{FF2B5EF4-FFF2-40B4-BE49-F238E27FC236}">
                  <a16:creationId xmlns:a16="http://schemas.microsoft.com/office/drawing/2014/main" id="{D4ACDD81-F306-42FB-B183-7224276FB8A0}"/>
                </a:ext>
              </a:extLst>
            </p:cNvPr>
            <p:cNvSpPr>
              <a:spLocks noChangeAspect="1" noChangeShapeType="1"/>
            </p:cNvSpPr>
            <p:nvPr/>
          </p:nvSpPr>
          <p:spPr bwMode="auto">
            <a:xfrm>
              <a:off x="5289550" y="2005965"/>
              <a:ext cx="793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87" name="Line 935">
              <a:extLst>
                <a:ext uri="{FF2B5EF4-FFF2-40B4-BE49-F238E27FC236}">
                  <a16:creationId xmlns:a16="http://schemas.microsoft.com/office/drawing/2014/main" id="{928BC7FF-96E5-4684-9A5B-DE5F37336CE3}"/>
                </a:ext>
              </a:extLst>
            </p:cNvPr>
            <p:cNvSpPr>
              <a:spLocks noChangeAspect="1" noChangeShapeType="1"/>
            </p:cNvSpPr>
            <p:nvPr/>
          </p:nvSpPr>
          <p:spPr bwMode="auto">
            <a:xfrm>
              <a:off x="5297488" y="2007554"/>
              <a:ext cx="31750"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88" name="Line 936">
              <a:extLst>
                <a:ext uri="{FF2B5EF4-FFF2-40B4-BE49-F238E27FC236}">
                  <a16:creationId xmlns:a16="http://schemas.microsoft.com/office/drawing/2014/main" id="{18D92F63-3820-4ABC-9819-421EF5CB1F62}"/>
                </a:ext>
              </a:extLst>
            </p:cNvPr>
            <p:cNvSpPr>
              <a:spLocks noChangeAspect="1" noChangeShapeType="1"/>
            </p:cNvSpPr>
            <p:nvPr/>
          </p:nvSpPr>
          <p:spPr bwMode="auto">
            <a:xfrm>
              <a:off x="5329239" y="2023429"/>
              <a:ext cx="7937"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89" name="Line 937">
              <a:extLst>
                <a:ext uri="{FF2B5EF4-FFF2-40B4-BE49-F238E27FC236}">
                  <a16:creationId xmlns:a16="http://schemas.microsoft.com/office/drawing/2014/main" id="{96F4C062-BC9D-4E41-A4E9-6F1E18B39558}"/>
                </a:ext>
              </a:extLst>
            </p:cNvPr>
            <p:cNvSpPr>
              <a:spLocks noChangeAspect="1" noChangeShapeType="1"/>
            </p:cNvSpPr>
            <p:nvPr/>
          </p:nvSpPr>
          <p:spPr bwMode="auto">
            <a:xfrm>
              <a:off x="5346701" y="2031366"/>
              <a:ext cx="42863"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90" name="Line 938">
              <a:extLst>
                <a:ext uri="{FF2B5EF4-FFF2-40B4-BE49-F238E27FC236}">
                  <a16:creationId xmlns:a16="http://schemas.microsoft.com/office/drawing/2014/main" id="{A1C9F49A-1889-4DFE-8A92-77067F2B332F}"/>
                </a:ext>
              </a:extLst>
            </p:cNvPr>
            <p:cNvSpPr>
              <a:spLocks noChangeAspect="1" noChangeShapeType="1"/>
            </p:cNvSpPr>
            <p:nvPr/>
          </p:nvSpPr>
          <p:spPr bwMode="auto">
            <a:xfrm>
              <a:off x="5389564" y="2053591"/>
              <a:ext cx="31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91" name="Line 939">
              <a:extLst>
                <a:ext uri="{FF2B5EF4-FFF2-40B4-BE49-F238E27FC236}">
                  <a16:creationId xmlns:a16="http://schemas.microsoft.com/office/drawing/2014/main" id="{B6B6BA63-EE22-409B-9E39-FD1322A80B3C}"/>
                </a:ext>
              </a:extLst>
            </p:cNvPr>
            <p:cNvSpPr>
              <a:spLocks noChangeAspect="1" noChangeShapeType="1"/>
            </p:cNvSpPr>
            <p:nvPr/>
          </p:nvSpPr>
          <p:spPr bwMode="auto">
            <a:xfrm>
              <a:off x="5403850" y="2063115"/>
              <a:ext cx="7938"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92" name="Line 940">
              <a:extLst>
                <a:ext uri="{FF2B5EF4-FFF2-40B4-BE49-F238E27FC236}">
                  <a16:creationId xmlns:a16="http://schemas.microsoft.com/office/drawing/2014/main" id="{3251F8D8-9CCB-4B0A-9C0E-2C01A97CEAEC}"/>
                </a:ext>
              </a:extLst>
            </p:cNvPr>
            <p:cNvSpPr>
              <a:spLocks noChangeAspect="1" noChangeShapeType="1"/>
            </p:cNvSpPr>
            <p:nvPr/>
          </p:nvSpPr>
          <p:spPr bwMode="auto">
            <a:xfrm>
              <a:off x="5411788" y="2069465"/>
              <a:ext cx="23812"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93" name="Line 941">
              <a:extLst>
                <a:ext uri="{FF2B5EF4-FFF2-40B4-BE49-F238E27FC236}">
                  <a16:creationId xmlns:a16="http://schemas.microsoft.com/office/drawing/2014/main" id="{C002D13C-0A33-446B-9BB4-B13E6A859243}"/>
                </a:ext>
              </a:extLst>
            </p:cNvPr>
            <p:cNvSpPr>
              <a:spLocks noChangeAspect="1" noChangeShapeType="1"/>
            </p:cNvSpPr>
            <p:nvPr/>
          </p:nvSpPr>
          <p:spPr bwMode="auto">
            <a:xfrm>
              <a:off x="5435601" y="2082166"/>
              <a:ext cx="11113"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94" name="Line 942">
              <a:extLst>
                <a:ext uri="{FF2B5EF4-FFF2-40B4-BE49-F238E27FC236}">
                  <a16:creationId xmlns:a16="http://schemas.microsoft.com/office/drawing/2014/main" id="{595858E9-DB1C-4B8E-93F1-9E3D2555E742}"/>
                </a:ext>
              </a:extLst>
            </p:cNvPr>
            <p:cNvSpPr>
              <a:spLocks noChangeAspect="1" noChangeShapeType="1"/>
            </p:cNvSpPr>
            <p:nvPr/>
          </p:nvSpPr>
          <p:spPr bwMode="auto">
            <a:xfrm>
              <a:off x="5457825" y="2099629"/>
              <a:ext cx="19050"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95" name="Line 943">
              <a:extLst>
                <a:ext uri="{FF2B5EF4-FFF2-40B4-BE49-F238E27FC236}">
                  <a16:creationId xmlns:a16="http://schemas.microsoft.com/office/drawing/2014/main" id="{7E2B8256-D061-498E-977B-3C31025F4CC8}"/>
                </a:ext>
              </a:extLst>
            </p:cNvPr>
            <p:cNvSpPr>
              <a:spLocks noChangeAspect="1" noChangeShapeType="1"/>
            </p:cNvSpPr>
            <p:nvPr/>
          </p:nvSpPr>
          <p:spPr bwMode="auto">
            <a:xfrm>
              <a:off x="5476875" y="2115504"/>
              <a:ext cx="6350"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96" name="Line 944">
              <a:extLst>
                <a:ext uri="{FF2B5EF4-FFF2-40B4-BE49-F238E27FC236}">
                  <a16:creationId xmlns:a16="http://schemas.microsoft.com/office/drawing/2014/main" id="{9A23B756-74DB-4D84-887B-B0408F38D3E9}"/>
                </a:ext>
              </a:extLst>
            </p:cNvPr>
            <p:cNvSpPr>
              <a:spLocks noChangeAspect="1" noChangeShapeType="1"/>
            </p:cNvSpPr>
            <p:nvPr/>
          </p:nvSpPr>
          <p:spPr bwMode="auto">
            <a:xfrm>
              <a:off x="5483226" y="2117091"/>
              <a:ext cx="17463"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97" name="Line 945">
              <a:extLst>
                <a:ext uri="{FF2B5EF4-FFF2-40B4-BE49-F238E27FC236}">
                  <a16:creationId xmlns:a16="http://schemas.microsoft.com/office/drawing/2014/main" id="{36ACAFAE-1221-44CF-94DE-1E1A463F9039}"/>
                </a:ext>
              </a:extLst>
            </p:cNvPr>
            <p:cNvSpPr>
              <a:spLocks noChangeAspect="1" noChangeShapeType="1"/>
            </p:cNvSpPr>
            <p:nvPr/>
          </p:nvSpPr>
          <p:spPr bwMode="auto">
            <a:xfrm>
              <a:off x="5510213" y="2142491"/>
              <a:ext cx="17462"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98" name="Line 946">
              <a:extLst>
                <a:ext uri="{FF2B5EF4-FFF2-40B4-BE49-F238E27FC236}">
                  <a16:creationId xmlns:a16="http://schemas.microsoft.com/office/drawing/2014/main" id="{EC4AC355-F1CE-483E-9E1C-C7A0E3FD5608}"/>
                </a:ext>
              </a:extLst>
            </p:cNvPr>
            <p:cNvSpPr>
              <a:spLocks noChangeAspect="1" noChangeShapeType="1"/>
            </p:cNvSpPr>
            <p:nvPr/>
          </p:nvSpPr>
          <p:spPr bwMode="auto">
            <a:xfrm>
              <a:off x="5527675" y="2159953"/>
              <a:ext cx="1588"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499" name="Line 947">
              <a:extLst>
                <a:ext uri="{FF2B5EF4-FFF2-40B4-BE49-F238E27FC236}">
                  <a16:creationId xmlns:a16="http://schemas.microsoft.com/office/drawing/2014/main" id="{2B358726-DE56-49CE-9CC6-58634CF288C2}"/>
                </a:ext>
              </a:extLst>
            </p:cNvPr>
            <p:cNvSpPr>
              <a:spLocks noChangeAspect="1" noChangeShapeType="1"/>
            </p:cNvSpPr>
            <p:nvPr/>
          </p:nvSpPr>
          <p:spPr bwMode="auto">
            <a:xfrm>
              <a:off x="5529263" y="2159953"/>
              <a:ext cx="19050"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00" name="Line 948">
              <a:extLst>
                <a:ext uri="{FF2B5EF4-FFF2-40B4-BE49-F238E27FC236}">
                  <a16:creationId xmlns:a16="http://schemas.microsoft.com/office/drawing/2014/main" id="{0DBBD0C1-28C0-49BA-A41B-4C9E722236FF}"/>
                </a:ext>
              </a:extLst>
            </p:cNvPr>
            <p:cNvSpPr>
              <a:spLocks noChangeAspect="1" noChangeShapeType="1"/>
            </p:cNvSpPr>
            <p:nvPr/>
          </p:nvSpPr>
          <p:spPr bwMode="auto">
            <a:xfrm>
              <a:off x="5557839" y="2190116"/>
              <a:ext cx="14287"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01" name="Line 949">
              <a:extLst>
                <a:ext uri="{FF2B5EF4-FFF2-40B4-BE49-F238E27FC236}">
                  <a16:creationId xmlns:a16="http://schemas.microsoft.com/office/drawing/2014/main" id="{0743B61C-D20D-4C7F-968D-E218CF725BD3}"/>
                </a:ext>
              </a:extLst>
            </p:cNvPr>
            <p:cNvSpPr>
              <a:spLocks noChangeAspect="1" noChangeShapeType="1"/>
            </p:cNvSpPr>
            <p:nvPr/>
          </p:nvSpPr>
          <p:spPr bwMode="auto">
            <a:xfrm>
              <a:off x="5572125" y="2205990"/>
              <a:ext cx="15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02" name="Line 950">
              <a:extLst>
                <a:ext uri="{FF2B5EF4-FFF2-40B4-BE49-F238E27FC236}">
                  <a16:creationId xmlns:a16="http://schemas.microsoft.com/office/drawing/2014/main" id="{FC942487-F66E-46FD-875F-DACDFAF8FC7B}"/>
                </a:ext>
              </a:extLst>
            </p:cNvPr>
            <p:cNvSpPr>
              <a:spLocks noChangeAspect="1" noChangeShapeType="1"/>
            </p:cNvSpPr>
            <p:nvPr/>
          </p:nvSpPr>
          <p:spPr bwMode="auto">
            <a:xfrm>
              <a:off x="5573714" y="2205990"/>
              <a:ext cx="20637"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03" name="Line 951">
              <a:extLst>
                <a:ext uri="{FF2B5EF4-FFF2-40B4-BE49-F238E27FC236}">
                  <a16:creationId xmlns:a16="http://schemas.microsoft.com/office/drawing/2014/main" id="{AC25206B-9D6C-4C0C-BB79-F638D4A922E7}"/>
                </a:ext>
              </a:extLst>
            </p:cNvPr>
            <p:cNvSpPr>
              <a:spLocks noChangeAspect="1" noChangeShapeType="1"/>
            </p:cNvSpPr>
            <p:nvPr/>
          </p:nvSpPr>
          <p:spPr bwMode="auto">
            <a:xfrm>
              <a:off x="5602289" y="2240916"/>
              <a:ext cx="7937"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04" name="Line 952">
              <a:extLst>
                <a:ext uri="{FF2B5EF4-FFF2-40B4-BE49-F238E27FC236}">
                  <a16:creationId xmlns:a16="http://schemas.microsoft.com/office/drawing/2014/main" id="{F9868F5B-7B3B-4078-9064-58E5C68F7E50}"/>
                </a:ext>
              </a:extLst>
            </p:cNvPr>
            <p:cNvSpPr>
              <a:spLocks noChangeAspect="1" noChangeShapeType="1"/>
            </p:cNvSpPr>
            <p:nvPr/>
          </p:nvSpPr>
          <p:spPr bwMode="auto">
            <a:xfrm>
              <a:off x="5610226" y="2250440"/>
              <a:ext cx="9525"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05" name="Line 953">
              <a:extLst>
                <a:ext uri="{FF2B5EF4-FFF2-40B4-BE49-F238E27FC236}">
                  <a16:creationId xmlns:a16="http://schemas.microsoft.com/office/drawing/2014/main" id="{B334CBD7-8701-4D2A-8D02-32EF8324E632}"/>
                </a:ext>
              </a:extLst>
            </p:cNvPr>
            <p:cNvSpPr>
              <a:spLocks noChangeAspect="1" noChangeShapeType="1"/>
            </p:cNvSpPr>
            <p:nvPr/>
          </p:nvSpPr>
          <p:spPr bwMode="auto">
            <a:xfrm>
              <a:off x="5619751" y="2263141"/>
              <a:ext cx="15875" cy="238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06" name="Line 954">
              <a:extLst>
                <a:ext uri="{FF2B5EF4-FFF2-40B4-BE49-F238E27FC236}">
                  <a16:creationId xmlns:a16="http://schemas.microsoft.com/office/drawing/2014/main" id="{52FA49DF-418C-4FD9-805C-1C0D761F6724}"/>
                </a:ext>
              </a:extLst>
            </p:cNvPr>
            <p:cNvSpPr>
              <a:spLocks noChangeAspect="1" noChangeShapeType="1"/>
            </p:cNvSpPr>
            <p:nvPr/>
          </p:nvSpPr>
          <p:spPr bwMode="auto">
            <a:xfrm>
              <a:off x="5645150" y="2298066"/>
              <a:ext cx="20638"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07" name="Line 955">
              <a:extLst>
                <a:ext uri="{FF2B5EF4-FFF2-40B4-BE49-F238E27FC236}">
                  <a16:creationId xmlns:a16="http://schemas.microsoft.com/office/drawing/2014/main" id="{0B995A70-7D9E-4D52-AFD5-5CDC2532EE18}"/>
                </a:ext>
              </a:extLst>
            </p:cNvPr>
            <p:cNvSpPr>
              <a:spLocks noChangeAspect="1" noChangeShapeType="1"/>
            </p:cNvSpPr>
            <p:nvPr/>
          </p:nvSpPr>
          <p:spPr bwMode="auto">
            <a:xfrm>
              <a:off x="5665788" y="2332991"/>
              <a:ext cx="6350"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08" name="Line 956">
              <a:extLst>
                <a:ext uri="{FF2B5EF4-FFF2-40B4-BE49-F238E27FC236}">
                  <a16:creationId xmlns:a16="http://schemas.microsoft.com/office/drawing/2014/main" id="{B2DCE254-85FD-4DC3-856F-502E43C37D57}"/>
                </a:ext>
              </a:extLst>
            </p:cNvPr>
            <p:cNvSpPr>
              <a:spLocks noChangeAspect="1" noChangeShapeType="1"/>
            </p:cNvSpPr>
            <p:nvPr/>
          </p:nvSpPr>
          <p:spPr bwMode="auto">
            <a:xfrm>
              <a:off x="5672138" y="2342516"/>
              <a:ext cx="0"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09" name="Line 957">
              <a:extLst>
                <a:ext uri="{FF2B5EF4-FFF2-40B4-BE49-F238E27FC236}">
                  <a16:creationId xmlns:a16="http://schemas.microsoft.com/office/drawing/2014/main" id="{9D70EA5B-7CD1-48B7-8572-E72778515F15}"/>
                </a:ext>
              </a:extLst>
            </p:cNvPr>
            <p:cNvSpPr>
              <a:spLocks noChangeAspect="1" noChangeShapeType="1"/>
            </p:cNvSpPr>
            <p:nvPr/>
          </p:nvSpPr>
          <p:spPr bwMode="auto">
            <a:xfrm>
              <a:off x="5680076" y="2358391"/>
              <a:ext cx="17463" cy="301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10" name="Line 958">
              <a:extLst>
                <a:ext uri="{FF2B5EF4-FFF2-40B4-BE49-F238E27FC236}">
                  <a16:creationId xmlns:a16="http://schemas.microsoft.com/office/drawing/2014/main" id="{5F982BC2-589B-4763-8301-2435B17DDD13}"/>
                </a:ext>
              </a:extLst>
            </p:cNvPr>
            <p:cNvSpPr>
              <a:spLocks noChangeAspect="1" noChangeShapeType="1"/>
            </p:cNvSpPr>
            <p:nvPr/>
          </p:nvSpPr>
          <p:spPr bwMode="auto">
            <a:xfrm>
              <a:off x="5697539" y="2388554"/>
              <a:ext cx="9525"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11" name="Line 959">
              <a:extLst>
                <a:ext uri="{FF2B5EF4-FFF2-40B4-BE49-F238E27FC236}">
                  <a16:creationId xmlns:a16="http://schemas.microsoft.com/office/drawing/2014/main" id="{F11C7860-51D9-491A-90CA-D9C30A9DF793}"/>
                </a:ext>
              </a:extLst>
            </p:cNvPr>
            <p:cNvSpPr>
              <a:spLocks noChangeAspect="1" noChangeShapeType="1"/>
            </p:cNvSpPr>
            <p:nvPr/>
          </p:nvSpPr>
          <p:spPr bwMode="auto">
            <a:xfrm>
              <a:off x="5711825" y="2423479"/>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12" name="Line 960">
              <a:extLst>
                <a:ext uri="{FF2B5EF4-FFF2-40B4-BE49-F238E27FC236}">
                  <a16:creationId xmlns:a16="http://schemas.microsoft.com/office/drawing/2014/main" id="{D92357DE-1C82-4D25-8ED0-010120178ECD}"/>
                </a:ext>
              </a:extLst>
            </p:cNvPr>
            <p:cNvSpPr>
              <a:spLocks noChangeAspect="1" noChangeShapeType="1"/>
            </p:cNvSpPr>
            <p:nvPr/>
          </p:nvSpPr>
          <p:spPr bwMode="auto">
            <a:xfrm>
              <a:off x="5711826" y="2425066"/>
              <a:ext cx="4763"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13" name="Line 961">
              <a:extLst>
                <a:ext uri="{FF2B5EF4-FFF2-40B4-BE49-F238E27FC236}">
                  <a16:creationId xmlns:a16="http://schemas.microsoft.com/office/drawing/2014/main" id="{3E2A9E02-C7EF-4A76-BDA3-79190D05369A}"/>
                </a:ext>
              </a:extLst>
            </p:cNvPr>
            <p:cNvSpPr>
              <a:spLocks noChangeAspect="1" noChangeShapeType="1"/>
            </p:cNvSpPr>
            <p:nvPr/>
          </p:nvSpPr>
          <p:spPr bwMode="auto">
            <a:xfrm>
              <a:off x="5716588" y="2434591"/>
              <a:ext cx="17462" cy="428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14" name="Line 962">
              <a:extLst>
                <a:ext uri="{FF2B5EF4-FFF2-40B4-BE49-F238E27FC236}">
                  <a16:creationId xmlns:a16="http://schemas.microsoft.com/office/drawing/2014/main" id="{1C1EDB6A-B84A-4EB7-9F00-1CEBAAA6C748}"/>
                </a:ext>
              </a:extLst>
            </p:cNvPr>
            <p:cNvSpPr>
              <a:spLocks noChangeAspect="1" noChangeShapeType="1"/>
            </p:cNvSpPr>
            <p:nvPr/>
          </p:nvSpPr>
          <p:spPr bwMode="auto">
            <a:xfrm>
              <a:off x="5737226" y="2491741"/>
              <a:ext cx="9525"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15" name="Line 963">
              <a:extLst>
                <a:ext uri="{FF2B5EF4-FFF2-40B4-BE49-F238E27FC236}">
                  <a16:creationId xmlns:a16="http://schemas.microsoft.com/office/drawing/2014/main" id="{A1F5E37C-2731-4FD8-B463-D65A7FDA87AB}"/>
                </a:ext>
              </a:extLst>
            </p:cNvPr>
            <p:cNvSpPr>
              <a:spLocks noChangeAspect="1" noChangeShapeType="1"/>
            </p:cNvSpPr>
            <p:nvPr/>
          </p:nvSpPr>
          <p:spPr bwMode="auto">
            <a:xfrm>
              <a:off x="5746750" y="2526666"/>
              <a:ext cx="6350"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16" name="Line 964">
              <a:extLst>
                <a:ext uri="{FF2B5EF4-FFF2-40B4-BE49-F238E27FC236}">
                  <a16:creationId xmlns:a16="http://schemas.microsoft.com/office/drawing/2014/main" id="{1525354A-C12E-4368-A072-87E4C22ABD60}"/>
                </a:ext>
              </a:extLst>
            </p:cNvPr>
            <p:cNvSpPr>
              <a:spLocks noChangeAspect="1" noChangeShapeType="1"/>
            </p:cNvSpPr>
            <p:nvPr/>
          </p:nvSpPr>
          <p:spPr bwMode="auto">
            <a:xfrm>
              <a:off x="5754689" y="2564765"/>
              <a:ext cx="1587"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17" name="Line 965">
              <a:extLst>
                <a:ext uri="{FF2B5EF4-FFF2-40B4-BE49-F238E27FC236}">
                  <a16:creationId xmlns:a16="http://schemas.microsoft.com/office/drawing/2014/main" id="{9D92F1F6-72F1-4883-9526-40A160AC55B9}"/>
                </a:ext>
              </a:extLst>
            </p:cNvPr>
            <p:cNvSpPr>
              <a:spLocks noChangeAspect="1" noChangeShapeType="1"/>
            </p:cNvSpPr>
            <p:nvPr/>
          </p:nvSpPr>
          <p:spPr bwMode="auto">
            <a:xfrm>
              <a:off x="5756276" y="2572703"/>
              <a:ext cx="3175"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18" name="Line 966">
              <a:extLst>
                <a:ext uri="{FF2B5EF4-FFF2-40B4-BE49-F238E27FC236}">
                  <a16:creationId xmlns:a16="http://schemas.microsoft.com/office/drawing/2014/main" id="{80DF0FCD-143A-420B-9B0C-BDEBDFB39E80}"/>
                </a:ext>
              </a:extLst>
            </p:cNvPr>
            <p:cNvSpPr>
              <a:spLocks noChangeAspect="1" noChangeShapeType="1"/>
            </p:cNvSpPr>
            <p:nvPr/>
          </p:nvSpPr>
          <p:spPr bwMode="auto">
            <a:xfrm>
              <a:off x="5759451" y="2583816"/>
              <a:ext cx="3175"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19" name="Line 967">
              <a:extLst>
                <a:ext uri="{FF2B5EF4-FFF2-40B4-BE49-F238E27FC236}">
                  <a16:creationId xmlns:a16="http://schemas.microsoft.com/office/drawing/2014/main" id="{8D95B81A-DAB3-4336-B8A7-FD8F0D49C5CE}"/>
                </a:ext>
              </a:extLst>
            </p:cNvPr>
            <p:cNvSpPr>
              <a:spLocks noChangeAspect="1" noChangeShapeType="1"/>
            </p:cNvSpPr>
            <p:nvPr/>
          </p:nvSpPr>
          <p:spPr bwMode="auto">
            <a:xfrm>
              <a:off x="5762625" y="2618741"/>
              <a:ext cx="1588"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20" name="Line 968">
              <a:extLst>
                <a:ext uri="{FF2B5EF4-FFF2-40B4-BE49-F238E27FC236}">
                  <a16:creationId xmlns:a16="http://schemas.microsoft.com/office/drawing/2014/main" id="{C0AC95F7-B057-4051-BE66-89EED5D514B8}"/>
                </a:ext>
              </a:extLst>
            </p:cNvPr>
            <p:cNvSpPr>
              <a:spLocks noChangeAspect="1" noChangeShapeType="1"/>
            </p:cNvSpPr>
            <p:nvPr/>
          </p:nvSpPr>
          <p:spPr bwMode="auto">
            <a:xfrm>
              <a:off x="5764214" y="2639378"/>
              <a:ext cx="1587"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21" name="Line 969">
              <a:extLst>
                <a:ext uri="{FF2B5EF4-FFF2-40B4-BE49-F238E27FC236}">
                  <a16:creationId xmlns:a16="http://schemas.microsoft.com/office/drawing/2014/main" id="{09ED88F7-56CE-46EA-95A6-0E79FC75B81E}"/>
                </a:ext>
              </a:extLst>
            </p:cNvPr>
            <p:cNvSpPr>
              <a:spLocks noChangeAspect="1" noChangeShapeType="1"/>
            </p:cNvSpPr>
            <p:nvPr/>
          </p:nvSpPr>
          <p:spPr bwMode="auto">
            <a:xfrm flipH="1">
              <a:off x="5765800" y="2664779"/>
              <a:ext cx="1588"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22" name="Line 970">
              <a:extLst>
                <a:ext uri="{FF2B5EF4-FFF2-40B4-BE49-F238E27FC236}">
                  <a16:creationId xmlns:a16="http://schemas.microsoft.com/office/drawing/2014/main" id="{7C19646E-4296-4542-89A7-3F4B8883B492}"/>
                </a:ext>
              </a:extLst>
            </p:cNvPr>
            <p:cNvSpPr>
              <a:spLocks noChangeAspect="1" noChangeShapeType="1"/>
            </p:cNvSpPr>
            <p:nvPr/>
          </p:nvSpPr>
          <p:spPr bwMode="auto">
            <a:xfrm flipH="1">
              <a:off x="5761039" y="2713991"/>
              <a:ext cx="3175" cy="412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23" name="Line 971">
              <a:extLst>
                <a:ext uri="{FF2B5EF4-FFF2-40B4-BE49-F238E27FC236}">
                  <a16:creationId xmlns:a16="http://schemas.microsoft.com/office/drawing/2014/main" id="{9F837E1B-4AEB-4CEE-96EB-F7629F041BF7}"/>
                </a:ext>
              </a:extLst>
            </p:cNvPr>
            <p:cNvSpPr>
              <a:spLocks noChangeAspect="1" noChangeShapeType="1"/>
            </p:cNvSpPr>
            <p:nvPr/>
          </p:nvSpPr>
          <p:spPr bwMode="auto">
            <a:xfrm flipH="1">
              <a:off x="5759450" y="2755265"/>
              <a:ext cx="1588"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24" name="Line 972">
              <a:extLst>
                <a:ext uri="{FF2B5EF4-FFF2-40B4-BE49-F238E27FC236}">
                  <a16:creationId xmlns:a16="http://schemas.microsoft.com/office/drawing/2014/main" id="{AEF3B0D1-7633-4A31-9D05-98180E963B46}"/>
                </a:ext>
              </a:extLst>
            </p:cNvPr>
            <p:cNvSpPr>
              <a:spLocks noChangeAspect="1" noChangeShapeType="1"/>
            </p:cNvSpPr>
            <p:nvPr/>
          </p:nvSpPr>
          <p:spPr bwMode="auto">
            <a:xfrm flipH="1">
              <a:off x="5757864" y="2767965"/>
              <a:ext cx="1587"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25" name="Line 973">
              <a:extLst>
                <a:ext uri="{FF2B5EF4-FFF2-40B4-BE49-F238E27FC236}">
                  <a16:creationId xmlns:a16="http://schemas.microsoft.com/office/drawing/2014/main" id="{8ABB340E-8B28-49E5-85AC-AA412CEA14B6}"/>
                </a:ext>
              </a:extLst>
            </p:cNvPr>
            <p:cNvSpPr>
              <a:spLocks noChangeAspect="1" noChangeShapeType="1"/>
            </p:cNvSpPr>
            <p:nvPr/>
          </p:nvSpPr>
          <p:spPr bwMode="auto">
            <a:xfrm flipH="1">
              <a:off x="5753100" y="2788603"/>
              <a:ext cx="1588"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26" name="Line 974">
              <a:extLst>
                <a:ext uri="{FF2B5EF4-FFF2-40B4-BE49-F238E27FC236}">
                  <a16:creationId xmlns:a16="http://schemas.microsoft.com/office/drawing/2014/main" id="{1ABB142B-FB6F-4F2B-8F94-F6A5CD5233EE}"/>
                </a:ext>
              </a:extLst>
            </p:cNvPr>
            <p:cNvSpPr>
              <a:spLocks noChangeAspect="1" noChangeShapeType="1"/>
            </p:cNvSpPr>
            <p:nvPr/>
          </p:nvSpPr>
          <p:spPr bwMode="auto">
            <a:xfrm flipH="1">
              <a:off x="5743576" y="2801303"/>
              <a:ext cx="9525"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27" name="Line 975">
              <a:extLst>
                <a:ext uri="{FF2B5EF4-FFF2-40B4-BE49-F238E27FC236}">
                  <a16:creationId xmlns:a16="http://schemas.microsoft.com/office/drawing/2014/main" id="{511E5A24-9307-428F-B5FD-1C37ECE96F05}"/>
                </a:ext>
              </a:extLst>
            </p:cNvPr>
            <p:cNvSpPr>
              <a:spLocks noChangeAspect="1" noChangeShapeType="1"/>
            </p:cNvSpPr>
            <p:nvPr/>
          </p:nvSpPr>
          <p:spPr bwMode="auto">
            <a:xfrm flipH="1">
              <a:off x="5727701" y="2860040"/>
              <a:ext cx="11113"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28" name="Line 976">
              <a:extLst>
                <a:ext uri="{FF2B5EF4-FFF2-40B4-BE49-F238E27FC236}">
                  <a16:creationId xmlns:a16="http://schemas.microsoft.com/office/drawing/2014/main" id="{512F737E-585E-4F89-BDC3-A4B11945F606}"/>
                </a:ext>
              </a:extLst>
            </p:cNvPr>
            <p:cNvSpPr>
              <a:spLocks noChangeAspect="1" noChangeShapeType="1"/>
            </p:cNvSpPr>
            <p:nvPr/>
          </p:nvSpPr>
          <p:spPr bwMode="auto">
            <a:xfrm flipH="1">
              <a:off x="5718176" y="2891791"/>
              <a:ext cx="9525" cy="238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29" name="Line 977">
              <a:extLst>
                <a:ext uri="{FF2B5EF4-FFF2-40B4-BE49-F238E27FC236}">
                  <a16:creationId xmlns:a16="http://schemas.microsoft.com/office/drawing/2014/main" id="{53E2A4AF-E8FB-41E8-BF47-1BF54A1BA73F}"/>
                </a:ext>
              </a:extLst>
            </p:cNvPr>
            <p:cNvSpPr>
              <a:spLocks noChangeAspect="1" noChangeShapeType="1"/>
            </p:cNvSpPr>
            <p:nvPr/>
          </p:nvSpPr>
          <p:spPr bwMode="auto">
            <a:xfrm flipH="1">
              <a:off x="5711825" y="2928304"/>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30" name="Line 978">
              <a:extLst>
                <a:ext uri="{FF2B5EF4-FFF2-40B4-BE49-F238E27FC236}">
                  <a16:creationId xmlns:a16="http://schemas.microsoft.com/office/drawing/2014/main" id="{D8C0C566-A562-43B8-9AC3-8B4B752A398D}"/>
                </a:ext>
              </a:extLst>
            </p:cNvPr>
            <p:cNvSpPr>
              <a:spLocks noChangeAspect="1" noChangeShapeType="1"/>
            </p:cNvSpPr>
            <p:nvPr/>
          </p:nvSpPr>
          <p:spPr bwMode="auto">
            <a:xfrm flipH="1">
              <a:off x="5708651" y="2929890"/>
              <a:ext cx="3175"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31" name="Line 979">
              <a:extLst>
                <a:ext uri="{FF2B5EF4-FFF2-40B4-BE49-F238E27FC236}">
                  <a16:creationId xmlns:a16="http://schemas.microsoft.com/office/drawing/2014/main" id="{C3F5B55A-412D-43E2-B5C0-5C58AE5F4C3C}"/>
                </a:ext>
              </a:extLst>
            </p:cNvPr>
            <p:cNvSpPr>
              <a:spLocks noChangeAspect="1" noChangeShapeType="1"/>
            </p:cNvSpPr>
            <p:nvPr/>
          </p:nvSpPr>
          <p:spPr bwMode="auto">
            <a:xfrm flipH="1">
              <a:off x="5689600" y="2937828"/>
              <a:ext cx="19050"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32" name="Line 980">
              <a:extLst>
                <a:ext uri="{FF2B5EF4-FFF2-40B4-BE49-F238E27FC236}">
                  <a16:creationId xmlns:a16="http://schemas.microsoft.com/office/drawing/2014/main" id="{B9ABC4DB-A286-4859-93BC-3774CAA41B54}"/>
                </a:ext>
              </a:extLst>
            </p:cNvPr>
            <p:cNvSpPr>
              <a:spLocks noChangeAspect="1" noChangeShapeType="1"/>
            </p:cNvSpPr>
            <p:nvPr/>
          </p:nvSpPr>
          <p:spPr bwMode="auto">
            <a:xfrm flipH="1">
              <a:off x="5665789" y="2993390"/>
              <a:ext cx="15875"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33" name="Line 981">
              <a:extLst>
                <a:ext uri="{FF2B5EF4-FFF2-40B4-BE49-F238E27FC236}">
                  <a16:creationId xmlns:a16="http://schemas.microsoft.com/office/drawing/2014/main" id="{55AB2F93-C5FC-4363-87AD-4A60DDAA7256}"/>
                </a:ext>
              </a:extLst>
            </p:cNvPr>
            <p:cNvSpPr>
              <a:spLocks noChangeAspect="1" noChangeShapeType="1"/>
            </p:cNvSpPr>
            <p:nvPr/>
          </p:nvSpPr>
          <p:spPr bwMode="auto">
            <a:xfrm flipH="1">
              <a:off x="5661026" y="3020379"/>
              <a:ext cx="4763"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34" name="Line 982">
              <a:extLst>
                <a:ext uri="{FF2B5EF4-FFF2-40B4-BE49-F238E27FC236}">
                  <a16:creationId xmlns:a16="http://schemas.microsoft.com/office/drawing/2014/main" id="{CDF65B2F-FEA0-4575-9934-0F558C24F1A3}"/>
                </a:ext>
              </a:extLst>
            </p:cNvPr>
            <p:cNvSpPr>
              <a:spLocks noChangeAspect="1" noChangeShapeType="1"/>
            </p:cNvSpPr>
            <p:nvPr/>
          </p:nvSpPr>
          <p:spPr bwMode="auto">
            <a:xfrm flipH="1">
              <a:off x="5653089" y="3029903"/>
              <a:ext cx="7937"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35" name="Line 983">
              <a:extLst>
                <a:ext uri="{FF2B5EF4-FFF2-40B4-BE49-F238E27FC236}">
                  <a16:creationId xmlns:a16="http://schemas.microsoft.com/office/drawing/2014/main" id="{AF0CE25F-EAB8-4876-8289-FCACBCC9D8C6}"/>
                </a:ext>
              </a:extLst>
            </p:cNvPr>
            <p:cNvSpPr>
              <a:spLocks noChangeAspect="1" noChangeShapeType="1"/>
            </p:cNvSpPr>
            <p:nvPr/>
          </p:nvSpPr>
          <p:spPr bwMode="auto">
            <a:xfrm flipH="1">
              <a:off x="5630864" y="3053716"/>
              <a:ext cx="14287"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36" name="Line 984">
              <a:extLst>
                <a:ext uri="{FF2B5EF4-FFF2-40B4-BE49-F238E27FC236}">
                  <a16:creationId xmlns:a16="http://schemas.microsoft.com/office/drawing/2014/main" id="{3C1161FB-14DF-4929-AC0C-2E90FB0F9B52}"/>
                </a:ext>
              </a:extLst>
            </p:cNvPr>
            <p:cNvSpPr>
              <a:spLocks noChangeAspect="1" noChangeShapeType="1"/>
            </p:cNvSpPr>
            <p:nvPr/>
          </p:nvSpPr>
          <p:spPr bwMode="auto">
            <a:xfrm flipH="1">
              <a:off x="5619751" y="3075940"/>
              <a:ext cx="11113"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37" name="Line 985">
              <a:extLst>
                <a:ext uri="{FF2B5EF4-FFF2-40B4-BE49-F238E27FC236}">
                  <a16:creationId xmlns:a16="http://schemas.microsoft.com/office/drawing/2014/main" id="{C43519C4-5F29-480A-8660-EC7FED5FB8CD}"/>
                </a:ext>
              </a:extLst>
            </p:cNvPr>
            <p:cNvSpPr>
              <a:spLocks noChangeAspect="1" noChangeShapeType="1"/>
            </p:cNvSpPr>
            <p:nvPr/>
          </p:nvSpPr>
          <p:spPr bwMode="auto">
            <a:xfrm flipH="1">
              <a:off x="5611814" y="3090229"/>
              <a:ext cx="7937"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38" name="Line 986">
              <a:extLst>
                <a:ext uri="{FF2B5EF4-FFF2-40B4-BE49-F238E27FC236}">
                  <a16:creationId xmlns:a16="http://schemas.microsoft.com/office/drawing/2014/main" id="{677E5B03-5E3D-4B42-9D89-DBB14A572F9A}"/>
                </a:ext>
              </a:extLst>
            </p:cNvPr>
            <p:cNvSpPr>
              <a:spLocks noChangeAspect="1" noChangeShapeType="1"/>
            </p:cNvSpPr>
            <p:nvPr/>
          </p:nvSpPr>
          <p:spPr bwMode="auto">
            <a:xfrm flipH="1">
              <a:off x="5595939" y="3110866"/>
              <a:ext cx="7937"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39" name="Line 987">
              <a:extLst>
                <a:ext uri="{FF2B5EF4-FFF2-40B4-BE49-F238E27FC236}">
                  <a16:creationId xmlns:a16="http://schemas.microsoft.com/office/drawing/2014/main" id="{99479966-2081-472D-8C6C-83588F328B75}"/>
                </a:ext>
              </a:extLst>
            </p:cNvPr>
            <p:cNvSpPr>
              <a:spLocks noChangeAspect="1" noChangeShapeType="1"/>
            </p:cNvSpPr>
            <p:nvPr/>
          </p:nvSpPr>
          <p:spPr bwMode="auto">
            <a:xfrm flipH="1">
              <a:off x="5573714" y="3121978"/>
              <a:ext cx="22225"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40" name="Line 988">
              <a:extLst>
                <a:ext uri="{FF2B5EF4-FFF2-40B4-BE49-F238E27FC236}">
                  <a16:creationId xmlns:a16="http://schemas.microsoft.com/office/drawing/2014/main" id="{14F6CE4E-6513-47DD-A23D-EED0C3BD92E1}"/>
                </a:ext>
              </a:extLst>
            </p:cNvPr>
            <p:cNvSpPr>
              <a:spLocks noChangeAspect="1" noChangeShapeType="1"/>
            </p:cNvSpPr>
            <p:nvPr/>
          </p:nvSpPr>
          <p:spPr bwMode="auto">
            <a:xfrm flipH="1">
              <a:off x="5568951" y="3147378"/>
              <a:ext cx="4763"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41" name="Line 989">
              <a:extLst>
                <a:ext uri="{FF2B5EF4-FFF2-40B4-BE49-F238E27FC236}">
                  <a16:creationId xmlns:a16="http://schemas.microsoft.com/office/drawing/2014/main" id="{DC9960D8-9E6C-49DE-8C11-C639B00B2E0C}"/>
                </a:ext>
              </a:extLst>
            </p:cNvPr>
            <p:cNvSpPr>
              <a:spLocks noChangeAspect="1" noChangeShapeType="1"/>
            </p:cNvSpPr>
            <p:nvPr/>
          </p:nvSpPr>
          <p:spPr bwMode="auto">
            <a:xfrm flipH="1">
              <a:off x="5556251" y="3163253"/>
              <a:ext cx="3175"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42" name="Line 990">
              <a:extLst>
                <a:ext uri="{FF2B5EF4-FFF2-40B4-BE49-F238E27FC236}">
                  <a16:creationId xmlns:a16="http://schemas.microsoft.com/office/drawing/2014/main" id="{6AFC02F3-3BDF-4926-8553-65B563C5FFB6}"/>
                </a:ext>
              </a:extLst>
            </p:cNvPr>
            <p:cNvSpPr>
              <a:spLocks noChangeAspect="1" noChangeShapeType="1"/>
            </p:cNvSpPr>
            <p:nvPr/>
          </p:nvSpPr>
          <p:spPr bwMode="auto">
            <a:xfrm flipH="1">
              <a:off x="5527676" y="3168016"/>
              <a:ext cx="28575" cy="301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43" name="Line 991">
              <a:extLst>
                <a:ext uri="{FF2B5EF4-FFF2-40B4-BE49-F238E27FC236}">
                  <a16:creationId xmlns:a16="http://schemas.microsoft.com/office/drawing/2014/main" id="{1C16F475-E674-4108-851C-73272DE943A2}"/>
                </a:ext>
              </a:extLst>
            </p:cNvPr>
            <p:cNvSpPr>
              <a:spLocks noChangeAspect="1" noChangeShapeType="1"/>
            </p:cNvSpPr>
            <p:nvPr/>
          </p:nvSpPr>
          <p:spPr bwMode="auto">
            <a:xfrm flipH="1">
              <a:off x="5522913" y="3198178"/>
              <a:ext cx="4762"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44" name="Line 992">
              <a:extLst>
                <a:ext uri="{FF2B5EF4-FFF2-40B4-BE49-F238E27FC236}">
                  <a16:creationId xmlns:a16="http://schemas.microsoft.com/office/drawing/2014/main" id="{8654BB2E-BF99-4423-8B2E-ABBED88D1232}"/>
                </a:ext>
              </a:extLst>
            </p:cNvPr>
            <p:cNvSpPr>
              <a:spLocks noChangeAspect="1" noChangeShapeType="1"/>
            </p:cNvSpPr>
            <p:nvPr/>
          </p:nvSpPr>
          <p:spPr bwMode="auto">
            <a:xfrm flipH="1">
              <a:off x="5511800" y="3212465"/>
              <a:ext cx="15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45" name="Line 993">
              <a:extLst>
                <a:ext uri="{FF2B5EF4-FFF2-40B4-BE49-F238E27FC236}">
                  <a16:creationId xmlns:a16="http://schemas.microsoft.com/office/drawing/2014/main" id="{6336D20E-B72E-4BB8-ABC6-654D8E023F07}"/>
                </a:ext>
              </a:extLst>
            </p:cNvPr>
            <p:cNvSpPr>
              <a:spLocks noChangeAspect="1" noChangeShapeType="1"/>
            </p:cNvSpPr>
            <p:nvPr/>
          </p:nvSpPr>
          <p:spPr bwMode="auto">
            <a:xfrm flipH="1">
              <a:off x="5483226" y="3214054"/>
              <a:ext cx="28575"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46" name="Line 994">
              <a:extLst>
                <a:ext uri="{FF2B5EF4-FFF2-40B4-BE49-F238E27FC236}">
                  <a16:creationId xmlns:a16="http://schemas.microsoft.com/office/drawing/2014/main" id="{00E9D5A9-CD9F-4C31-9E54-9E002C29751F}"/>
                </a:ext>
              </a:extLst>
            </p:cNvPr>
            <p:cNvSpPr>
              <a:spLocks noChangeAspect="1" noChangeShapeType="1"/>
            </p:cNvSpPr>
            <p:nvPr/>
          </p:nvSpPr>
          <p:spPr bwMode="auto">
            <a:xfrm flipH="1">
              <a:off x="5473701" y="3242628"/>
              <a:ext cx="9525"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47" name="Line 995">
              <a:extLst>
                <a:ext uri="{FF2B5EF4-FFF2-40B4-BE49-F238E27FC236}">
                  <a16:creationId xmlns:a16="http://schemas.microsoft.com/office/drawing/2014/main" id="{211F027A-4209-458A-8B83-3833BB1F1BBF}"/>
                </a:ext>
              </a:extLst>
            </p:cNvPr>
            <p:cNvSpPr>
              <a:spLocks noChangeAspect="1" noChangeShapeType="1"/>
            </p:cNvSpPr>
            <p:nvPr/>
          </p:nvSpPr>
          <p:spPr bwMode="auto">
            <a:xfrm flipH="1">
              <a:off x="5461001" y="3256916"/>
              <a:ext cx="31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48" name="Line 996">
              <a:extLst>
                <a:ext uri="{FF2B5EF4-FFF2-40B4-BE49-F238E27FC236}">
                  <a16:creationId xmlns:a16="http://schemas.microsoft.com/office/drawing/2014/main" id="{EB9A7972-5305-4919-AEF5-8F9398665512}"/>
                </a:ext>
              </a:extLst>
            </p:cNvPr>
            <p:cNvSpPr>
              <a:spLocks noChangeAspect="1" noChangeShapeType="1"/>
            </p:cNvSpPr>
            <p:nvPr/>
          </p:nvSpPr>
          <p:spPr bwMode="auto">
            <a:xfrm flipH="1">
              <a:off x="5435600" y="3260090"/>
              <a:ext cx="25400"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49" name="Line 997">
              <a:extLst>
                <a:ext uri="{FF2B5EF4-FFF2-40B4-BE49-F238E27FC236}">
                  <a16:creationId xmlns:a16="http://schemas.microsoft.com/office/drawing/2014/main" id="{BF19F8BF-7C63-4440-84AF-B4BA484DAE46}"/>
                </a:ext>
              </a:extLst>
            </p:cNvPr>
            <p:cNvSpPr>
              <a:spLocks noChangeAspect="1" noChangeShapeType="1"/>
            </p:cNvSpPr>
            <p:nvPr/>
          </p:nvSpPr>
          <p:spPr bwMode="auto">
            <a:xfrm flipH="1">
              <a:off x="5421314" y="3280729"/>
              <a:ext cx="14287"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50" name="Line 998">
              <a:extLst>
                <a:ext uri="{FF2B5EF4-FFF2-40B4-BE49-F238E27FC236}">
                  <a16:creationId xmlns:a16="http://schemas.microsoft.com/office/drawing/2014/main" id="{11061360-97F9-4E46-A28D-1BD86B0334D8}"/>
                </a:ext>
              </a:extLst>
            </p:cNvPr>
            <p:cNvSpPr>
              <a:spLocks noChangeAspect="1" noChangeShapeType="1"/>
            </p:cNvSpPr>
            <p:nvPr/>
          </p:nvSpPr>
          <p:spPr bwMode="auto">
            <a:xfrm flipH="1">
              <a:off x="5403850" y="3298190"/>
              <a:ext cx="6350"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51" name="Line 999">
              <a:extLst>
                <a:ext uri="{FF2B5EF4-FFF2-40B4-BE49-F238E27FC236}">
                  <a16:creationId xmlns:a16="http://schemas.microsoft.com/office/drawing/2014/main" id="{681AEE1A-3F98-462A-858D-77E86B7A57FE}"/>
                </a:ext>
              </a:extLst>
            </p:cNvPr>
            <p:cNvSpPr>
              <a:spLocks noChangeAspect="1" noChangeShapeType="1"/>
            </p:cNvSpPr>
            <p:nvPr/>
          </p:nvSpPr>
          <p:spPr bwMode="auto">
            <a:xfrm flipH="1">
              <a:off x="5389564" y="3306129"/>
              <a:ext cx="14287"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52" name="Line 1000">
              <a:extLst>
                <a:ext uri="{FF2B5EF4-FFF2-40B4-BE49-F238E27FC236}">
                  <a16:creationId xmlns:a16="http://schemas.microsoft.com/office/drawing/2014/main" id="{CA5B1E0B-3D3B-4CB0-A6F2-216D3EF5190F}"/>
                </a:ext>
              </a:extLst>
            </p:cNvPr>
            <p:cNvSpPr>
              <a:spLocks noChangeAspect="1" noChangeShapeType="1"/>
            </p:cNvSpPr>
            <p:nvPr/>
          </p:nvSpPr>
          <p:spPr bwMode="auto">
            <a:xfrm flipH="1">
              <a:off x="5368925" y="3315654"/>
              <a:ext cx="20638"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53" name="Line 1001">
              <a:extLst>
                <a:ext uri="{FF2B5EF4-FFF2-40B4-BE49-F238E27FC236}">
                  <a16:creationId xmlns:a16="http://schemas.microsoft.com/office/drawing/2014/main" id="{B17C2CD0-7066-4E96-8AFF-2C121324C9E0}"/>
                </a:ext>
              </a:extLst>
            </p:cNvPr>
            <p:cNvSpPr>
              <a:spLocks noChangeAspect="1" noChangeShapeType="1"/>
            </p:cNvSpPr>
            <p:nvPr/>
          </p:nvSpPr>
          <p:spPr bwMode="auto">
            <a:xfrm flipH="1">
              <a:off x="5343525" y="3337879"/>
              <a:ext cx="14288"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54" name="Line 1002">
              <a:extLst>
                <a:ext uri="{FF2B5EF4-FFF2-40B4-BE49-F238E27FC236}">
                  <a16:creationId xmlns:a16="http://schemas.microsoft.com/office/drawing/2014/main" id="{B4052EE1-ABFF-46DD-B5C0-D2099EEAFB30}"/>
                </a:ext>
              </a:extLst>
            </p:cNvPr>
            <p:cNvSpPr>
              <a:spLocks noChangeAspect="1" noChangeShapeType="1"/>
            </p:cNvSpPr>
            <p:nvPr/>
          </p:nvSpPr>
          <p:spPr bwMode="auto">
            <a:xfrm flipH="1">
              <a:off x="5338763" y="3347404"/>
              <a:ext cx="4762"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55" name="Line 1003">
              <a:extLst>
                <a:ext uri="{FF2B5EF4-FFF2-40B4-BE49-F238E27FC236}">
                  <a16:creationId xmlns:a16="http://schemas.microsoft.com/office/drawing/2014/main" id="{D455DE8C-1067-47DD-8766-6B1C5DA92939}"/>
                </a:ext>
              </a:extLst>
            </p:cNvPr>
            <p:cNvSpPr>
              <a:spLocks noChangeAspect="1" noChangeShapeType="1"/>
            </p:cNvSpPr>
            <p:nvPr/>
          </p:nvSpPr>
          <p:spPr bwMode="auto">
            <a:xfrm flipH="1">
              <a:off x="5313363" y="3350579"/>
              <a:ext cx="25400"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56" name="Line 1004">
              <a:extLst>
                <a:ext uri="{FF2B5EF4-FFF2-40B4-BE49-F238E27FC236}">
                  <a16:creationId xmlns:a16="http://schemas.microsoft.com/office/drawing/2014/main" id="{1DA9DDBE-879B-49D4-9E80-2D51D944444D}"/>
                </a:ext>
              </a:extLst>
            </p:cNvPr>
            <p:cNvSpPr>
              <a:spLocks noChangeAspect="1" noChangeShapeType="1"/>
            </p:cNvSpPr>
            <p:nvPr/>
          </p:nvSpPr>
          <p:spPr bwMode="auto">
            <a:xfrm flipH="1">
              <a:off x="5297488" y="3371216"/>
              <a:ext cx="4762"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57" name="Line 1005">
              <a:extLst>
                <a:ext uri="{FF2B5EF4-FFF2-40B4-BE49-F238E27FC236}">
                  <a16:creationId xmlns:a16="http://schemas.microsoft.com/office/drawing/2014/main" id="{DCE24A41-0220-45F0-886E-9BCA63337D61}"/>
                </a:ext>
              </a:extLst>
            </p:cNvPr>
            <p:cNvSpPr>
              <a:spLocks noChangeAspect="1" noChangeShapeType="1"/>
            </p:cNvSpPr>
            <p:nvPr/>
          </p:nvSpPr>
          <p:spPr bwMode="auto">
            <a:xfrm flipH="1">
              <a:off x="5256214" y="3374390"/>
              <a:ext cx="41275"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58" name="Line 1006">
              <a:extLst>
                <a:ext uri="{FF2B5EF4-FFF2-40B4-BE49-F238E27FC236}">
                  <a16:creationId xmlns:a16="http://schemas.microsoft.com/office/drawing/2014/main" id="{F7D94803-602E-473D-9470-62A19EFFE99A}"/>
                </a:ext>
              </a:extLst>
            </p:cNvPr>
            <p:cNvSpPr>
              <a:spLocks noChangeAspect="1" noChangeShapeType="1"/>
            </p:cNvSpPr>
            <p:nvPr/>
          </p:nvSpPr>
          <p:spPr bwMode="auto">
            <a:xfrm flipH="1">
              <a:off x="5205414" y="3399791"/>
              <a:ext cx="39687"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59" name="Line 1007">
              <a:extLst>
                <a:ext uri="{FF2B5EF4-FFF2-40B4-BE49-F238E27FC236}">
                  <a16:creationId xmlns:a16="http://schemas.microsoft.com/office/drawing/2014/main" id="{2F88BFDE-97CF-4A89-9997-19E3182D27F3}"/>
                </a:ext>
              </a:extLst>
            </p:cNvPr>
            <p:cNvSpPr>
              <a:spLocks noChangeAspect="1" noChangeShapeType="1"/>
            </p:cNvSpPr>
            <p:nvPr/>
          </p:nvSpPr>
          <p:spPr bwMode="auto">
            <a:xfrm flipH="1">
              <a:off x="5197475" y="3415666"/>
              <a:ext cx="7938"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60" name="Line 1008">
              <a:extLst>
                <a:ext uri="{FF2B5EF4-FFF2-40B4-BE49-F238E27FC236}">
                  <a16:creationId xmlns:a16="http://schemas.microsoft.com/office/drawing/2014/main" id="{181BF97A-45BA-4D50-BE68-5A37BBE8E195}"/>
                </a:ext>
              </a:extLst>
            </p:cNvPr>
            <p:cNvSpPr>
              <a:spLocks noChangeAspect="1" noChangeShapeType="1"/>
            </p:cNvSpPr>
            <p:nvPr/>
          </p:nvSpPr>
          <p:spPr bwMode="auto">
            <a:xfrm flipH="1">
              <a:off x="5159375" y="3423604"/>
              <a:ext cx="25400"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61" name="Line 1009">
              <a:extLst>
                <a:ext uri="{FF2B5EF4-FFF2-40B4-BE49-F238E27FC236}">
                  <a16:creationId xmlns:a16="http://schemas.microsoft.com/office/drawing/2014/main" id="{2FE93C1C-005C-4C04-ADAD-9F5F1E6BBA35}"/>
                </a:ext>
              </a:extLst>
            </p:cNvPr>
            <p:cNvSpPr>
              <a:spLocks noChangeAspect="1" noChangeShapeType="1"/>
            </p:cNvSpPr>
            <p:nvPr/>
          </p:nvSpPr>
          <p:spPr bwMode="auto">
            <a:xfrm flipH="1">
              <a:off x="5137151" y="3431541"/>
              <a:ext cx="2222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62" name="Line 1010">
              <a:extLst>
                <a:ext uri="{FF2B5EF4-FFF2-40B4-BE49-F238E27FC236}">
                  <a16:creationId xmlns:a16="http://schemas.microsoft.com/office/drawing/2014/main" id="{E17FC4AE-64DC-423F-A67F-12CC6BB2EC02}"/>
                </a:ext>
              </a:extLst>
            </p:cNvPr>
            <p:cNvSpPr>
              <a:spLocks noChangeAspect="1" noChangeShapeType="1"/>
            </p:cNvSpPr>
            <p:nvPr/>
          </p:nvSpPr>
          <p:spPr bwMode="auto">
            <a:xfrm flipH="1">
              <a:off x="5111750" y="3437891"/>
              <a:ext cx="12700"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63" name="Line 1011">
              <a:extLst>
                <a:ext uri="{FF2B5EF4-FFF2-40B4-BE49-F238E27FC236}">
                  <a16:creationId xmlns:a16="http://schemas.microsoft.com/office/drawing/2014/main" id="{65A7EC80-1426-4904-B061-BC31A8BBABC1}"/>
                </a:ext>
              </a:extLst>
            </p:cNvPr>
            <p:cNvSpPr>
              <a:spLocks noChangeAspect="1" noChangeShapeType="1"/>
            </p:cNvSpPr>
            <p:nvPr/>
          </p:nvSpPr>
          <p:spPr bwMode="auto">
            <a:xfrm flipH="1">
              <a:off x="5094288" y="3441065"/>
              <a:ext cx="17462"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64" name="Line 1012">
              <a:extLst>
                <a:ext uri="{FF2B5EF4-FFF2-40B4-BE49-F238E27FC236}">
                  <a16:creationId xmlns:a16="http://schemas.microsoft.com/office/drawing/2014/main" id="{8BF15ACA-69EA-4D82-9F90-D4CAF138D472}"/>
                </a:ext>
              </a:extLst>
            </p:cNvPr>
            <p:cNvSpPr>
              <a:spLocks noChangeAspect="1" noChangeShapeType="1"/>
            </p:cNvSpPr>
            <p:nvPr/>
          </p:nvSpPr>
          <p:spPr bwMode="auto">
            <a:xfrm flipH="1">
              <a:off x="5076826" y="3442654"/>
              <a:ext cx="17463"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65" name="Line 1013">
              <a:extLst>
                <a:ext uri="{FF2B5EF4-FFF2-40B4-BE49-F238E27FC236}">
                  <a16:creationId xmlns:a16="http://schemas.microsoft.com/office/drawing/2014/main" id="{C9ABF16A-8C83-41DB-A6F8-6F5AF3EC0B48}"/>
                </a:ext>
              </a:extLst>
            </p:cNvPr>
            <p:cNvSpPr>
              <a:spLocks noChangeAspect="1" noChangeShapeType="1"/>
            </p:cNvSpPr>
            <p:nvPr/>
          </p:nvSpPr>
          <p:spPr bwMode="auto">
            <a:xfrm flipH="1">
              <a:off x="5021263" y="3445829"/>
              <a:ext cx="42862"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66" name="Line 1014">
              <a:extLst>
                <a:ext uri="{FF2B5EF4-FFF2-40B4-BE49-F238E27FC236}">
                  <a16:creationId xmlns:a16="http://schemas.microsoft.com/office/drawing/2014/main" id="{1CA162FA-58CB-4B4A-9C52-6552A58D4A87}"/>
                </a:ext>
              </a:extLst>
            </p:cNvPr>
            <p:cNvSpPr>
              <a:spLocks noChangeAspect="1" noChangeShapeType="1"/>
            </p:cNvSpPr>
            <p:nvPr/>
          </p:nvSpPr>
          <p:spPr bwMode="auto">
            <a:xfrm>
              <a:off x="6303963" y="4312604"/>
              <a:ext cx="1960562"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67" name="Line 1015">
              <a:extLst>
                <a:ext uri="{FF2B5EF4-FFF2-40B4-BE49-F238E27FC236}">
                  <a16:creationId xmlns:a16="http://schemas.microsoft.com/office/drawing/2014/main" id="{5E76C731-467E-4D3F-9438-0EB47058A909}"/>
                </a:ext>
              </a:extLst>
            </p:cNvPr>
            <p:cNvSpPr>
              <a:spLocks noChangeAspect="1" noChangeShapeType="1"/>
            </p:cNvSpPr>
            <p:nvPr/>
          </p:nvSpPr>
          <p:spPr bwMode="auto">
            <a:xfrm flipV="1">
              <a:off x="6419850" y="4247515"/>
              <a:ext cx="1588" cy="650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68" name="Rectangle 1016">
              <a:extLst>
                <a:ext uri="{FF2B5EF4-FFF2-40B4-BE49-F238E27FC236}">
                  <a16:creationId xmlns:a16="http://schemas.microsoft.com/office/drawing/2014/main" id="{96C0422A-A8D6-4B8E-8D83-4C90E43AAE15}"/>
                </a:ext>
              </a:extLst>
            </p:cNvPr>
            <p:cNvSpPr>
              <a:spLocks noChangeAspect="1" noChangeArrowheads="1"/>
            </p:cNvSpPr>
            <p:nvPr/>
          </p:nvSpPr>
          <p:spPr bwMode="auto">
            <a:xfrm>
              <a:off x="6329363" y="4330065"/>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1.0</a:t>
              </a:r>
              <a:endParaRPr lang="en-GB" altLang="en-DE" b="1"/>
            </a:p>
          </p:txBody>
        </p:sp>
        <p:sp>
          <p:nvSpPr>
            <p:cNvPr id="408569" name="Line 1017">
              <a:extLst>
                <a:ext uri="{FF2B5EF4-FFF2-40B4-BE49-F238E27FC236}">
                  <a16:creationId xmlns:a16="http://schemas.microsoft.com/office/drawing/2014/main" id="{44C06134-6EBB-4177-B35C-AF9620FD2180}"/>
                </a:ext>
              </a:extLst>
            </p:cNvPr>
            <p:cNvSpPr>
              <a:spLocks noChangeAspect="1" noChangeShapeType="1"/>
            </p:cNvSpPr>
            <p:nvPr/>
          </p:nvSpPr>
          <p:spPr bwMode="auto">
            <a:xfrm flipV="1">
              <a:off x="6996114" y="4247515"/>
              <a:ext cx="1587" cy="650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70" name="Rectangle 1018">
              <a:extLst>
                <a:ext uri="{FF2B5EF4-FFF2-40B4-BE49-F238E27FC236}">
                  <a16:creationId xmlns:a16="http://schemas.microsoft.com/office/drawing/2014/main" id="{931EE294-F28C-43B3-9930-8FC79E2DF159}"/>
                </a:ext>
              </a:extLst>
            </p:cNvPr>
            <p:cNvSpPr>
              <a:spLocks noChangeAspect="1" noChangeArrowheads="1"/>
            </p:cNvSpPr>
            <p:nvPr/>
          </p:nvSpPr>
          <p:spPr bwMode="auto">
            <a:xfrm>
              <a:off x="6905625" y="4330065"/>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1.5</a:t>
              </a:r>
              <a:endParaRPr lang="en-GB" altLang="en-DE" b="1"/>
            </a:p>
          </p:txBody>
        </p:sp>
        <p:sp>
          <p:nvSpPr>
            <p:cNvPr id="408571" name="Line 1019">
              <a:extLst>
                <a:ext uri="{FF2B5EF4-FFF2-40B4-BE49-F238E27FC236}">
                  <a16:creationId xmlns:a16="http://schemas.microsoft.com/office/drawing/2014/main" id="{916BAE26-E773-4485-AC74-80B25BD42AF6}"/>
                </a:ext>
              </a:extLst>
            </p:cNvPr>
            <p:cNvSpPr>
              <a:spLocks noChangeAspect="1" noChangeShapeType="1"/>
            </p:cNvSpPr>
            <p:nvPr/>
          </p:nvSpPr>
          <p:spPr bwMode="auto">
            <a:xfrm flipV="1">
              <a:off x="7572375" y="4247515"/>
              <a:ext cx="1588" cy="650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72" name="Rectangle 1020">
              <a:extLst>
                <a:ext uri="{FF2B5EF4-FFF2-40B4-BE49-F238E27FC236}">
                  <a16:creationId xmlns:a16="http://schemas.microsoft.com/office/drawing/2014/main" id="{001660EE-6C09-4E23-8AE0-4E10BDF08257}"/>
                </a:ext>
              </a:extLst>
            </p:cNvPr>
            <p:cNvSpPr>
              <a:spLocks noChangeAspect="1" noChangeArrowheads="1"/>
            </p:cNvSpPr>
            <p:nvPr/>
          </p:nvSpPr>
          <p:spPr bwMode="auto">
            <a:xfrm>
              <a:off x="7481888" y="4330065"/>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2.0</a:t>
              </a:r>
              <a:endParaRPr lang="en-GB" altLang="en-DE" b="1"/>
            </a:p>
          </p:txBody>
        </p:sp>
        <p:sp>
          <p:nvSpPr>
            <p:cNvPr id="408573" name="Line 1021">
              <a:extLst>
                <a:ext uri="{FF2B5EF4-FFF2-40B4-BE49-F238E27FC236}">
                  <a16:creationId xmlns:a16="http://schemas.microsoft.com/office/drawing/2014/main" id="{3973475A-308E-4D89-92C5-060C701177F0}"/>
                </a:ext>
              </a:extLst>
            </p:cNvPr>
            <p:cNvSpPr>
              <a:spLocks noChangeAspect="1" noChangeShapeType="1"/>
            </p:cNvSpPr>
            <p:nvPr/>
          </p:nvSpPr>
          <p:spPr bwMode="auto">
            <a:xfrm flipV="1">
              <a:off x="8150225" y="4247515"/>
              <a:ext cx="0" cy="650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74" name="Rectangle 1022">
              <a:extLst>
                <a:ext uri="{FF2B5EF4-FFF2-40B4-BE49-F238E27FC236}">
                  <a16:creationId xmlns:a16="http://schemas.microsoft.com/office/drawing/2014/main" id="{31A2291F-92C0-4D1F-9381-213F3721FB61}"/>
                </a:ext>
              </a:extLst>
            </p:cNvPr>
            <p:cNvSpPr>
              <a:spLocks noChangeAspect="1" noChangeArrowheads="1"/>
            </p:cNvSpPr>
            <p:nvPr/>
          </p:nvSpPr>
          <p:spPr bwMode="auto">
            <a:xfrm>
              <a:off x="8059738" y="4330065"/>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2.5</a:t>
              </a:r>
              <a:endParaRPr lang="en-GB" altLang="en-DE" b="1"/>
            </a:p>
          </p:txBody>
        </p:sp>
        <p:sp>
          <p:nvSpPr>
            <p:cNvPr id="408575" name="Line 1023">
              <a:extLst>
                <a:ext uri="{FF2B5EF4-FFF2-40B4-BE49-F238E27FC236}">
                  <a16:creationId xmlns:a16="http://schemas.microsoft.com/office/drawing/2014/main" id="{37A1BA9C-F424-4CFE-A549-019E71A07FC1}"/>
                </a:ext>
              </a:extLst>
            </p:cNvPr>
            <p:cNvSpPr>
              <a:spLocks noChangeAspect="1" noChangeShapeType="1"/>
            </p:cNvSpPr>
            <p:nvPr/>
          </p:nvSpPr>
          <p:spPr bwMode="auto">
            <a:xfrm flipV="1">
              <a:off x="6303964" y="4280853"/>
              <a:ext cx="1587"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76" name="Line 1024">
              <a:extLst>
                <a:ext uri="{FF2B5EF4-FFF2-40B4-BE49-F238E27FC236}">
                  <a16:creationId xmlns:a16="http://schemas.microsoft.com/office/drawing/2014/main" id="{C05A4FA6-7DF3-4BB6-A803-B4FE64259DE2}"/>
                </a:ext>
              </a:extLst>
            </p:cNvPr>
            <p:cNvSpPr>
              <a:spLocks noChangeAspect="1" noChangeShapeType="1"/>
            </p:cNvSpPr>
            <p:nvPr/>
          </p:nvSpPr>
          <p:spPr bwMode="auto">
            <a:xfrm flipV="1">
              <a:off x="6534150"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77" name="Line 1025">
              <a:extLst>
                <a:ext uri="{FF2B5EF4-FFF2-40B4-BE49-F238E27FC236}">
                  <a16:creationId xmlns:a16="http://schemas.microsoft.com/office/drawing/2014/main" id="{7F240E41-29A7-45A9-BCFB-8F74A7BA9BB4}"/>
                </a:ext>
              </a:extLst>
            </p:cNvPr>
            <p:cNvSpPr>
              <a:spLocks noChangeAspect="1" noChangeShapeType="1"/>
            </p:cNvSpPr>
            <p:nvPr/>
          </p:nvSpPr>
          <p:spPr bwMode="auto">
            <a:xfrm flipV="1">
              <a:off x="6651625" y="4280853"/>
              <a:ext cx="0"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78" name="Line 1026">
              <a:extLst>
                <a:ext uri="{FF2B5EF4-FFF2-40B4-BE49-F238E27FC236}">
                  <a16:creationId xmlns:a16="http://schemas.microsoft.com/office/drawing/2014/main" id="{079A84B0-878A-4FB2-BB33-D28803E77362}"/>
                </a:ext>
              </a:extLst>
            </p:cNvPr>
            <p:cNvSpPr>
              <a:spLocks noChangeAspect="1" noChangeShapeType="1"/>
            </p:cNvSpPr>
            <p:nvPr/>
          </p:nvSpPr>
          <p:spPr bwMode="auto">
            <a:xfrm flipV="1">
              <a:off x="6765925"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79" name="Line 1027">
              <a:extLst>
                <a:ext uri="{FF2B5EF4-FFF2-40B4-BE49-F238E27FC236}">
                  <a16:creationId xmlns:a16="http://schemas.microsoft.com/office/drawing/2014/main" id="{491045C1-BA4C-4303-AF43-95B6CD700600}"/>
                </a:ext>
              </a:extLst>
            </p:cNvPr>
            <p:cNvSpPr>
              <a:spLocks noChangeAspect="1" noChangeShapeType="1"/>
            </p:cNvSpPr>
            <p:nvPr/>
          </p:nvSpPr>
          <p:spPr bwMode="auto">
            <a:xfrm flipV="1">
              <a:off x="6880225"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80" name="Line 1028">
              <a:extLst>
                <a:ext uri="{FF2B5EF4-FFF2-40B4-BE49-F238E27FC236}">
                  <a16:creationId xmlns:a16="http://schemas.microsoft.com/office/drawing/2014/main" id="{EE9E85CA-8C3E-4143-B9C2-592559B49BD9}"/>
                </a:ext>
              </a:extLst>
            </p:cNvPr>
            <p:cNvSpPr>
              <a:spLocks noChangeAspect="1" noChangeShapeType="1"/>
            </p:cNvSpPr>
            <p:nvPr/>
          </p:nvSpPr>
          <p:spPr bwMode="auto">
            <a:xfrm flipV="1">
              <a:off x="7112000" y="4280853"/>
              <a:ext cx="0"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81" name="Line 1029">
              <a:extLst>
                <a:ext uri="{FF2B5EF4-FFF2-40B4-BE49-F238E27FC236}">
                  <a16:creationId xmlns:a16="http://schemas.microsoft.com/office/drawing/2014/main" id="{04AE5C65-4BAE-484D-B254-A351BC9321A2}"/>
                </a:ext>
              </a:extLst>
            </p:cNvPr>
            <p:cNvSpPr>
              <a:spLocks noChangeAspect="1" noChangeShapeType="1"/>
            </p:cNvSpPr>
            <p:nvPr/>
          </p:nvSpPr>
          <p:spPr bwMode="auto">
            <a:xfrm flipV="1">
              <a:off x="7227889" y="4280853"/>
              <a:ext cx="1587"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82" name="Line 1030">
              <a:extLst>
                <a:ext uri="{FF2B5EF4-FFF2-40B4-BE49-F238E27FC236}">
                  <a16:creationId xmlns:a16="http://schemas.microsoft.com/office/drawing/2014/main" id="{1DF4111F-8465-4CA2-8589-C7BA0A47B8B8}"/>
                </a:ext>
              </a:extLst>
            </p:cNvPr>
            <p:cNvSpPr>
              <a:spLocks noChangeAspect="1" noChangeShapeType="1"/>
            </p:cNvSpPr>
            <p:nvPr/>
          </p:nvSpPr>
          <p:spPr bwMode="auto">
            <a:xfrm flipV="1">
              <a:off x="7342189" y="4280853"/>
              <a:ext cx="1587"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83" name="Line 1031">
              <a:extLst>
                <a:ext uri="{FF2B5EF4-FFF2-40B4-BE49-F238E27FC236}">
                  <a16:creationId xmlns:a16="http://schemas.microsoft.com/office/drawing/2014/main" id="{98DB2BB2-4807-411A-A2D0-61563A82C1BB}"/>
                </a:ext>
              </a:extLst>
            </p:cNvPr>
            <p:cNvSpPr>
              <a:spLocks noChangeAspect="1" noChangeShapeType="1"/>
            </p:cNvSpPr>
            <p:nvPr/>
          </p:nvSpPr>
          <p:spPr bwMode="auto">
            <a:xfrm flipV="1">
              <a:off x="7456489" y="4280853"/>
              <a:ext cx="1587"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84" name="Line 1032">
              <a:extLst>
                <a:ext uri="{FF2B5EF4-FFF2-40B4-BE49-F238E27FC236}">
                  <a16:creationId xmlns:a16="http://schemas.microsoft.com/office/drawing/2014/main" id="{FCA461A6-BE3D-451B-AF49-586CB3A0D3CF}"/>
                </a:ext>
              </a:extLst>
            </p:cNvPr>
            <p:cNvSpPr>
              <a:spLocks noChangeAspect="1" noChangeShapeType="1"/>
            </p:cNvSpPr>
            <p:nvPr/>
          </p:nvSpPr>
          <p:spPr bwMode="auto">
            <a:xfrm flipV="1">
              <a:off x="7688264" y="4280853"/>
              <a:ext cx="1587"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85" name="Line 1033">
              <a:extLst>
                <a:ext uri="{FF2B5EF4-FFF2-40B4-BE49-F238E27FC236}">
                  <a16:creationId xmlns:a16="http://schemas.microsoft.com/office/drawing/2014/main" id="{D0D87521-94FD-4BC8-8124-4A524DC3A9D8}"/>
                </a:ext>
              </a:extLst>
            </p:cNvPr>
            <p:cNvSpPr>
              <a:spLocks noChangeAspect="1" noChangeShapeType="1"/>
            </p:cNvSpPr>
            <p:nvPr/>
          </p:nvSpPr>
          <p:spPr bwMode="auto">
            <a:xfrm flipV="1">
              <a:off x="7804150"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86" name="Line 1034">
              <a:extLst>
                <a:ext uri="{FF2B5EF4-FFF2-40B4-BE49-F238E27FC236}">
                  <a16:creationId xmlns:a16="http://schemas.microsoft.com/office/drawing/2014/main" id="{A2FFAACD-53EE-4771-812C-E3F96776528C}"/>
                </a:ext>
              </a:extLst>
            </p:cNvPr>
            <p:cNvSpPr>
              <a:spLocks noChangeAspect="1" noChangeShapeType="1"/>
            </p:cNvSpPr>
            <p:nvPr/>
          </p:nvSpPr>
          <p:spPr bwMode="auto">
            <a:xfrm flipV="1">
              <a:off x="7918450"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87" name="Line 1035">
              <a:extLst>
                <a:ext uri="{FF2B5EF4-FFF2-40B4-BE49-F238E27FC236}">
                  <a16:creationId xmlns:a16="http://schemas.microsoft.com/office/drawing/2014/main" id="{1484E449-C5B9-447A-AB32-16D7250AE1A0}"/>
                </a:ext>
              </a:extLst>
            </p:cNvPr>
            <p:cNvSpPr>
              <a:spLocks noChangeAspect="1" noChangeShapeType="1"/>
            </p:cNvSpPr>
            <p:nvPr/>
          </p:nvSpPr>
          <p:spPr bwMode="auto">
            <a:xfrm flipV="1">
              <a:off x="8032750"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88" name="Line 1036">
              <a:extLst>
                <a:ext uri="{FF2B5EF4-FFF2-40B4-BE49-F238E27FC236}">
                  <a16:creationId xmlns:a16="http://schemas.microsoft.com/office/drawing/2014/main" id="{CA215FBB-EC19-4FE1-A529-701EEADABC2F}"/>
                </a:ext>
              </a:extLst>
            </p:cNvPr>
            <p:cNvSpPr>
              <a:spLocks noChangeAspect="1" noChangeShapeType="1"/>
            </p:cNvSpPr>
            <p:nvPr/>
          </p:nvSpPr>
          <p:spPr bwMode="auto">
            <a:xfrm flipV="1">
              <a:off x="8264525"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89" name="Rectangle 1037">
              <a:extLst>
                <a:ext uri="{FF2B5EF4-FFF2-40B4-BE49-F238E27FC236}">
                  <a16:creationId xmlns:a16="http://schemas.microsoft.com/office/drawing/2014/main" id="{C39E5878-F7C7-4A9D-8604-7D765CF12C41}"/>
                </a:ext>
              </a:extLst>
            </p:cNvPr>
            <p:cNvSpPr>
              <a:spLocks noChangeAspect="1" noChangeArrowheads="1"/>
            </p:cNvSpPr>
            <p:nvPr/>
          </p:nvSpPr>
          <p:spPr bwMode="auto">
            <a:xfrm>
              <a:off x="7153276" y="4438015"/>
              <a:ext cx="34945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R(m)</a:t>
              </a:r>
              <a:endParaRPr lang="en-GB" altLang="en-DE" b="1"/>
            </a:p>
          </p:txBody>
        </p:sp>
        <p:sp>
          <p:nvSpPr>
            <p:cNvPr id="408590" name="Line 1038">
              <a:extLst>
                <a:ext uri="{FF2B5EF4-FFF2-40B4-BE49-F238E27FC236}">
                  <a16:creationId xmlns:a16="http://schemas.microsoft.com/office/drawing/2014/main" id="{A267BB15-4E46-4260-ACC2-F6E94F214D6A}"/>
                </a:ext>
              </a:extLst>
            </p:cNvPr>
            <p:cNvSpPr>
              <a:spLocks noChangeAspect="1" noChangeShapeType="1"/>
            </p:cNvSpPr>
            <p:nvPr/>
          </p:nvSpPr>
          <p:spPr bwMode="auto">
            <a:xfrm>
              <a:off x="6303963" y="1105854"/>
              <a:ext cx="1960562"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91" name="Line 1039">
              <a:extLst>
                <a:ext uri="{FF2B5EF4-FFF2-40B4-BE49-F238E27FC236}">
                  <a16:creationId xmlns:a16="http://schemas.microsoft.com/office/drawing/2014/main" id="{DC064893-4F2B-45BD-8EF0-305DDAB5CF52}"/>
                </a:ext>
              </a:extLst>
            </p:cNvPr>
            <p:cNvSpPr>
              <a:spLocks noChangeAspect="1" noChangeShapeType="1"/>
            </p:cNvSpPr>
            <p:nvPr/>
          </p:nvSpPr>
          <p:spPr bwMode="auto">
            <a:xfrm>
              <a:off x="6419850" y="1105854"/>
              <a:ext cx="1588" cy="650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92" name="Line 1040">
              <a:extLst>
                <a:ext uri="{FF2B5EF4-FFF2-40B4-BE49-F238E27FC236}">
                  <a16:creationId xmlns:a16="http://schemas.microsoft.com/office/drawing/2014/main" id="{5C46DC56-61AD-4EF4-B58A-F710188E982B}"/>
                </a:ext>
              </a:extLst>
            </p:cNvPr>
            <p:cNvSpPr>
              <a:spLocks noChangeAspect="1" noChangeShapeType="1"/>
            </p:cNvSpPr>
            <p:nvPr/>
          </p:nvSpPr>
          <p:spPr bwMode="auto">
            <a:xfrm>
              <a:off x="6996114" y="1105854"/>
              <a:ext cx="1587" cy="650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93" name="Line 1041">
              <a:extLst>
                <a:ext uri="{FF2B5EF4-FFF2-40B4-BE49-F238E27FC236}">
                  <a16:creationId xmlns:a16="http://schemas.microsoft.com/office/drawing/2014/main" id="{9F67B542-F17E-47FD-ACA4-91681D74DCEA}"/>
                </a:ext>
              </a:extLst>
            </p:cNvPr>
            <p:cNvSpPr>
              <a:spLocks noChangeAspect="1" noChangeShapeType="1"/>
            </p:cNvSpPr>
            <p:nvPr/>
          </p:nvSpPr>
          <p:spPr bwMode="auto">
            <a:xfrm>
              <a:off x="7572375" y="1105854"/>
              <a:ext cx="1588" cy="650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94" name="Line 1042">
              <a:extLst>
                <a:ext uri="{FF2B5EF4-FFF2-40B4-BE49-F238E27FC236}">
                  <a16:creationId xmlns:a16="http://schemas.microsoft.com/office/drawing/2014/main" id="{DBFE6101-B1E5-42D1-B993-4E4B511CA9F4}"/>
                </a:ext>
              </a:extLst>
            </p:cNvPr>
            <p:cNvSpPr>
              <a:spLocks noChangeAspect="1" noChangeShapeType="1"/>
            </p:cNvSpPr>
            <p:nvPr/>
          </p:nvSpPr>
          <p:spPr bwMode="auto">
            <a:xfrm>
              <a:off x="8150225" y="1105854"/>
              <a:ext cx="0" cy="650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95" name="Line 1043">
              <a:extLst>
                <a:ext uri="{FF2B5EF4-FFF2-40B4-BE49-F238E27FC236}">
                  <a16:creationId xmlns:a16="http://schemas.microsoft.com/office/drawing/2014/main" id="{88F8746C-420E-4031-BF3F-1FFE4687C629}"/>
                </a:ext>
              </a:extLst>
            </p:cNvPr>
            <p:cNvSpPr>
              <a:spLocks noChangeAspect="1" noChangeShapeType="1"/>
            </p:cNvSpPr>
            <p:nvPr/>
          </p:nvSpPr>
          <p:spPr bwMode="auto">
            <a:xfrm>
              <a:off x="6303964"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96" name="Line 1044">
              <a:extLst>
                <a:ext uri="{FF2B5EF4-FFF2-40B4-BE49-F238E27FC236}">
                  <a16:creationId xmlns:a16="http://schemas.microsoft.com/office/drawing/2014/main" id="{002F3F8F-ADBD-4175-B90D-AF67D0ABC345}"/>
                </a:ext>
              </a:extLst>
            </p:cNvPr>
            <p:cNvSpPr>
              <a:spLocks noChangeAspect="1" noChangeShapeType="1"/>
            </p:cNvSpPr>
            <p:nvPr/>
          </p:nvSpPr>
          <p:spPr bwMode="auto">
            <a:xfrm>
              <a:off x="6534150"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97" name="Line 1045">
              <a:extLst>
                <a:ext uri="{FF2B5EF4-FFF2-40B4-BE49-F238E27FC236}">
                  <a16:creationId xmlns:a16="http://schemas.microsoft.com/office/drawing/2014/main" id="{787C1CBA-4825-41FF-B424-C6041EE44FEC}"/>
                </a:ext>
              </a:extLst>
            </p:cNvPr>
            <p:cNvSpPr>
              <a:spLocks noChangeAspect="1" noChangeShapeType="1"/>
            </p:cNvSpPr>
            <p:nvPr/>
          </p:nvSpPr>
          <p:spPr bwMode="auto">
            <a:xfrm>
              <a:off x="6651625" y="1105854"/>
              <a:ext cx="0"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98" name="Line 1046">
              <a:extLst>
                <a:ext uri="{FF2B5EF4-FFF2-40B4-BE49-F238E27FC236}">
                  <a16:creationId xmlns:a16="http://schemas.microsoft.com/office/drawing/2014/main" id="{9E99327A-4106-4A16-81DB-403FAC4F3965}"/>
                </a:ext>
              </a:extLst>
            </p:cNvPr>
            <p:cNvSpPr>
              <a:spLocks noChangeAspect="1" noChangeShapeType="1"/>
            </p:cNvSpPr>
            <p:nvPr/>
          </p:nvSpPr>
          <p:spPr bwMode="auto">
            <a:xfrm>
              <a:off x="6765925"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599" name="Line 1047">
              <a:extLst>
                <a:ext uri="{FF2B5EF4-FFF2-40B4-BE49-F238E27FC236}">
                  <a16:creationId xmlns:a16="http://schemas.microsoft.com/office/drawing/2014/main" id="{8ECE5C82-596C-4614-87F4-5D4D0074A40A}"/>
                </a:ext>
              </a:extLst>
            </p:cNvPr>
            <p:cNvSpPr>
              <a:spLocks noChangeAspect="1" noChangeShapeType="1"/>
            </p:cNvSpPr>
            <p:nvPr/>
          </p:nvSpPr>
          <p:spPr bwMode="auto">
            <a:xfrm>
              <a:off x="6880225"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00" name="Line 1048">
              <a:extLst>
                <a:ext uri="{FF2B5EF4-FFF2-40B4-BE49-F238E27FC236}">
                  <a16:creationId xmlns:a16="http://schemas.microsoft.com/office/drawing/2014/main" id="{B4B8BDDA-0F6B-4489-BB88-99B5221BC678}"/>
                </a:ext>
              </a:extLst>
            </p:cNvPr>
            <p:cNvSpPr>
              <a:spLocks noChangeAspect="1" noChangeShapeType="1"/>
            </p:cNvSpPr>
            <p:nvPr/>
          </p:nvSpPr>
          <p:spPr bwMode="auto">
            <a:xfrm>
              <a:off x="7112000" y="1105854"/>
              <a:ext cx="0"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01" name="Line 1049">
              <a:extLst>
                <a:ext uri="{FF2B5EF4-FFF2-40B4-BE49-F238E27FC236}">
                  <a16:creationId xmlns:a16="http://schemas.microsoft.com/office/drawing/2014/main" id="{D2C949FC-C413-4A44-8DE0-A80424435AEE}"/>
                </a:ext>
              </a:extLst>
            </p:cNvPr>
            <p:cNvSpPr>
              <a:spLocks noChangeAspect="1" noChangeShapeType="1"/>
            </p:cNvSpPr>
            <p:nvPr/>
          </p:nvSpPr>
          <p:spPr bwMode="auto">
            <a:xfrm>
              <a:off x="7227889"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02" name="Line 1050">
              <a:extLst>
                <a:ext uri="{FF2B5EF4-FFF2-40B4-BE49-F238E27FC236}">
                  <a16:creationId xmlns:a16="http://schemas.microsoft.com/office/drawing/2014/main" id="{C6C3EF54-D57A-4853-9628-1C20788BE0FA}"/>
                </a:ext>
              </a:extLst>
            </p:cNvPr>
            <p:cNvSpPr>
              <a:spLocks noChangeAspect="1" noChangeShapeType="1"/>
            </p:cNvSpPr>
            <p:nvPr/>
          </p:nvSpPr>
          <p:spPr bwMode="auto">
            <a:xfrm>
              <a:off x="7342189"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03" name="Line 1051">
              <a:extLst>
                <a:ext uri="{FF2B5EF4-FFF2-40B4-BE49-F238E27FC236}">
                  <a16:creationId xmlns:a16="http://schemas.microsoft.com/office/drawing/2014/main" id="{F2631DBB-A561-46AE-A284-B72512808E5D}"/>
                </a:ext>
              </a:extLst>
            </p:cNvPr>
            <p:cNvSpPr>
              <a:spLocks noChangeAspect="1" noChangeShapeType="1"/>
            </p:cNvSpPr>
            <p:nvPr/>
          </p:nvSpPr>
          <p:spPr bwMode="auto">
            <a:xfrm>
              <a:off x="7456489"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04" name="Line 1052">
              <a:extLst>
                <a:ext uri="{FF2B5EF4-FFF2-40B4-BE49-F238E27FC236}">
                  <a16:creationId xmlns:a16="http://schemas.microsoft.com/office/drawing/2014/main" id="{1AFCCDBE-44B5-4A5A-9AA1-4786D8DC1B44}"/>
                </a:ext>
              </a:extLst>
            </p:cNvPr>
            <p:cNvSpPr>
              <a:spLocks noChangeAspect="1" noChangeShapeType="1"/>
            </p:cNvSpPr>
            <p:nvPr/>
          </p:nvSpPr>
          <p:spPr bwMode="auto">
            <a:xfrm>
              <a:off x="7688264"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05" name="Line 1053">
              <a:extLst>
                <a:ext uri="{FF2B5EF4-FFF2-40B4-BE49-F238E27FC236}">
                  <a16:creationId xmlns:a16="http://schemas.microsoft.com/office/drawing/2014/main" id="{AAEA02E3-41E6-44D7-8739-A8E293F3B291}"/>
                </a:ext>
              </a:extLst>
            </p:cNvPr>
            <p:cNvSpPr>
              <a:spLocks noChangeAspect="1" noChangeShapeType="1"/>
            </p:cNvSpPr>
            <p:nvPr/>
          </p:nvSpPr>
          <p:spPr bwMode="auto">
            <a:xfrm>
              <a:off x="7804150"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06" name="Line 1054">
              <a:extLst>
                <a:ext uri="{FF2B5EF4-FFF2-40B4-BE49-F238E27FC236}">
                  <a16:creationId xmlns:a16="http://schemas.microsoft.com/office/drawing/2014/main" id="{606EBED4-C876-4C2F-B7D8-161E5DF40AAC}"/>
                </a:ext>
              </a:extLst>
            </p:cNvPr>
            <p:cNvSpPr>
              <a:spLocks noChangeAspect="1" noChangeShapeType="1"/>
            </p:cNvSpPr>
            <p:nvPr/>
          </p:nvSpPr>
          <p:spPr bwMode="auto">
            <a:xfrm>
              <a:off x="7918450"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07" name="Line 1055">
              <a:extLst>
                <a:ext uri="{FF2B5EF4-FFF2-40B4-BE49-F238E27FC236}">
                  <a16:creationId xmlns:a16="http://schemas.microsoft.com/office/drawing/2014/main" id="{8F059665-BCBC-4691-A6DD-D21CABCFD943}"/>
                </a:ext>
              </a:extLst>
            </p:cNvPr>
            <p:cNvSpPr>
              <a:spLocks noChangeAspect="1" noChangeShapeType="1"/>
            </p:cNvSpPr>
            <p:nvPr/>
          </p:nvSpPr>
          <p:spPr bwMode="auto">
            <a:xfrm>
              <a:off x="8032750"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08" name="Line 1056">
              <a:extLst>
                <a:ext uri="{FF2B5EF4-FFF2-40B4-BE49-F238E27FC236}">
                  <a16:creationId xmlns:a16="http://schemas.microsoft.com/office/drawing/2014/main" id="{C24A2B52-981F-47E6-A301-B346AA6BA14F}"/>
                </a:ext>
              </a:extLst>
            </p:cNvPr>
            <p:cNvSpPr>
              <a:spLocks noChangeAspect="1" noChangeShapeType="1"/>
            </p:cNvSpPr>
            <p:nvPr/>
          </p:nvSpPr>
          <p:spPr bwMode="auto">
            <a:xfrm>
              <a:off x="8264525"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09" name="Line 1057">
              <a:extLst>
                <a:ext uri="{FF2B5EF4-FFF2-40B4-BE49-F238E27FC236}">
                  <a16:creationId xmlns:a16="http://schemas.microsoft.com/office/drawing/2014/main" id="{7F5B3291-5558-4EA2-A15C-813BD9652741}"/>
                </a:ext>
              </a:extLst>
            </p:cNvPr>
            <p:cNvSpPr>
              <a:spLocks noChangeAspect="1" noChangeShapeType="1"/>
            </p:cNvSpPr>
            <p:nvPr/>
          </p:nvSpPr>
          <p:spPr bwMode="auto">
            <a:xfrm flipV="1">
              <a:off x="6303964" y="1105853"/>
              <a:ext cx="1587" cy="3206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10" name="Line 1058">
              <a:extLst>
                <a:ext uri="{FF2B5EF4-FFF2-40B4-BE49-F238E27FC236}">
                  <a16:creationId xmlns:a16="http://schemas.microsoft.com/office/drawing/2014/main" id="{AEAC2544-3586-4A00-AD2D-7FFCA077B7BD}"/>
                </a:ext>
              </a:extLst>
            </p:cNvPr>
            <p:cNvSpPr>
              <a:spLocks noChangeAspect="1" noChangeShapeType="1"/>
            </p:cNvSpPr>
            <p:nvPr/>
          </p:nvSpPr>
          <p:spPr bwMode="auto">
            <a:xfrm>
              <a:off x="6303964" y="3853815"/>
              <a:ext cx="3968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11" name="Line 1059">
              <a:extLst>
                <a:ext uri="{FF2B5EF4-FFF2-40B4-BE49-F238E27FC236}">
                  <a16:creationId xmlns:a16="http://schemas.microsoft.com/office/drawing/2014/main" id="{AB7C8A7C-C1F1-4139-BC62-6D0399C9BEA7}"/>
                </a:ext>
              </a:extLst>
            </p:cNvPr>
            <p:cNvSpPr>
              <a:spLocks noChangeAspect="1" noChangeShapeType="1"/>
            </p:cNvSpPr>
            <p:nvPr/>
          </p:nvSpPr>
          <p:spPr bwMode="auto">
            <a:xfrm>
              <a:off x="6303964" y="3282315"/>
              <a:ext cx="3968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12" name="Line 1060">
              <a:extLst>
                <a:ext uri="{FF2B5EF4-FFF2-40B4-BE49-F238E27FC236}">
                  <a16:creationId xmlns:a16="http://schemas.microsoft.com/office/drawing/2014/main" id="{1252011B-07E2-46C9-A6B1-7DE4BCC8F360}"/>
                </a:ext>
              </a:extLst>
            </p:cNvPr>
            <p:cNvSpPr>
              <a:spLocks noChangeAspect="1" noChangeShapeType="1"/>
            </p:cNvSpPr>
            <p:nvPr/>
          </p:nvSpPr>
          <p:spPr bwMode="auto">
            <a:xfrm>
              <a:off x="6303964" y="2710815"/>
              <a:ext cx="3968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13" name="Line 1061">
              <a:extLst>
                <a:ext uri="{FF2B5EF4-FFF2-40B4-BE49-F238E27FC236}">
                  <a16:creationId xmlns:a16="http://schemas.microsoft.com/office/drawing/2014/main" id="{D9EDC517-D683-4DFB-9CC7-4FCD6F88FDB5}"/>
                </a:ext>
              </a:extLst>
            </p:cNvPr>
            <p:cNvSpPr>
              <a:spLocks noChangeAspect="1" noChangeShapeType="1"/>
            </p:cNvSpPr>
            <p:nvPr/>
          </p:nvSpPr>
          <p:spPr bwMode="auto">
            <a:xfrm>
              <a:off x="6303964" y="2137729"/>
              <a:ext cx="3968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14" name="Line 1062">
              <a:extLst>
                <a:ext uri="{FF2B5EF4-FFF2-40B4-BE49-F238E27FC236}">
                  <a16:creationId xmlns:a16="http://schemas.microsoft.com/office/drawing/2014/main" id="{846C565E-F5B4-433D-87A0-BE903CE02389}"/>
                </a:ext>
              </a:extLst>
            </p:cNvPr>
            <p:cNvSpPr>
              <a:spLocks noChangeAspect="1" noChangeShapeType="1"/>
            </p:cNvSpPr>
            <p:nvPr/>
          </p:nvSpPr>
          <p:spPr bwMode="auto">
            <a:xfrm>
              <a:off x="6303964" y="1564640"/>
              <a:ext cx="3968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15" name="Line 1063">
              <a:extLst>
                <a:ext uri="{FF2B5EF4-FFF2-40B4-BE49-F238E27FC236}">
                  <a16:creationId xmlns:a16="http://schemas.microsoft.com/office/drawing/2014/main" id="{6F63D889-7B3E-47D6-8525-5663D5D84958}"/>
                </a:ext>
              </a:extLst>
            </p:cNvPr>
            <p:cNvSpPr>
              <a:spLocks noChangeAspect="1" noChangeShapeType="1"/>
            </p:cNvSpPr>
            <p:nvPr/>
          </p:nvSpPr>
          <p:spPr bwMode="auto">
            <a:xfrm>
              <a:off x="6303964" y="4312604"/>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16" name="Line 1064">
              <a:extLst>
                <a:ext uri="{FF2B5EF4-FFF2-40B4-BE49-F238E27FC236}">
                  <a16:creationId xmlns:a16="http://schemas.microsoft.com/office/drawing/2014/main" id="{636101A0-6EB5-4248-BC14-266E959ABCF0}"/>
                </a:ext>
              </a:extLst>
            </p:cNvPr>
            <p:cNvSpPr>
              <a:spLocks noChangeAspect="1" noChangeShapeType="1"/>
            </p:cNvSpPr>
            <p:nvPr/>
          </p:nvSpPr>
          <p:spPr bwMode="auto">
            <a:xfrm>
              <a:off x="6303964" y="4198304"/>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17" name="Line 1065">
              <a:extLst>
                <a:ext uri="{FF2B5EF4-FFF2-40B4-BE49-F238E27FC236}">
                  <a16:creationId xmlns:a16="http://schemas.microsoft.com/office/drawing/2014/main" id="{B7CD61B1-7D6A-4F77-9FB8-7793C81C0060}"/>
                </a:ext>
              </a:extLst>
            </p:cNvPr>
            <p:cNvSpPr>
              <a:spLocks noChangeAspect="1" noChangeShapeType="1"/>
            </p:cNvSpPr>
            <p:nvPr/>
          </p:nvSpPr>
          <p:spPr bwMode="auto">
            <a:xfrm>
              <a:off x="6303964" y="4084003"/>
              <a:ext cx="2063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18" name="Line 1066">
              <a:extLst>
                <a:ext uri="{FF2B5EF4-FFF2-40B4-BE49-F238E27FC236}">
                  <a16:creationId xmlns:a16="http://schemas.microsoft.com/office/drawing/2014/main" id="{BA79C677-6422-42BE-88D9-C5C815C59F0D}"/>
                </a:ext>
              </a:extLst>
            </p:cNvPr>
            <p:cNvSpPr>
              <a:spLocks noChangeAspect="1" noChangeShapeType="1"/>
            </p:cNvSpPr>
            <p:nvPr/>
          </p:nvSpPr>
          <p:spPr bwMode="auto">
            <a:xfrm>
              <a:off x="6303964" y="3968115"/>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19" name="Line 1067">
              <a:extLst>
                <a:ext uri="{FF2B5EF4-FFF2-40B4-BE49-F238E27FC236}">
                  <a16:creationId xmlns:a16="http://schemas.microsoft.com/office/drawing/2014/main" id="{9ECE1D8D-2163-4CBC-A781-B61F34202EEE}"/>
                </a:ext>
              </a:extLst>
            </p:cNvPr>
            <p:cNvSpPr>
              <a:spLocks noChangeAspect="1" noChangeShapeType="1"/>
            </p:cNvSpPr>
            <p:nvPr/>
          </p:nvSpPr>
          <p:spPr bwMode="auto">
            <a:xfrm>
              <a:off x="6303964" y="3739515"/>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20" name="Line 1068">
              <a:extLst>
                <a:ext uri="{FF2B5EF4-FFF2-40B4-BE49-F238E27FC236}">
                  <a16:creationId xmlns:a16="http://schemas.microsoft.com/office/drawing/2014/main" id="{58C2C3E8-71A2-4DD7-9219-213A670BF12B}"/>
                </a:ext>
              </a:extLst>
            </p:cNvPr>
            <p:cNvSpPr>
              <a:spLocks noChangeAspect="1" noChangeShapeType="1"/>
            </p:cNvSpPr>
            <p:nvPr/>
          </p:nvSpPr>
          <p:spPr bwMode="auto">
            <a:xfrm>
              <a:off x="6303964" y="3625215"/>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21" name="Line 1069">
              <a:extLst>
                <a:ext uri="{FF2B5EF4-FFF2-40B4-BE49-F238E27FC236}">
                  <a16:creationId xmlns:a16="http://schemas.microsoft.com/office/drawing/2014/main" id="{27152774-16C7-4C1B-A008-E5147F20D0E9}"/>
                </a:ext>
              </a:extLst>
            </p:cNvPr>
            <p:cNvSpPr>
              <a:spLocks noChangeAspect="1" noChangeShapeType="1"/>
            </p:cNvSpPr>
            <p:nvPr/>
          </p:nvSpPr>
          <p:spPr bwMode="auto">
            <a:xfrm>
              <a:off x="6303964" y="3510915"/>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22" name="Line 1070">
              <a:extLst>
                <a:ext uri="{FF2B5EF4-FFF2-40B4-BE49-F238E27FC236}">
                  <a16:creationId xmlns:a16="http://schemas.microsoft.com/office/drawing/2014/main" id="{BC782F40-44EC-4B50-A7A1-E5052215EA1C}"/>
                </a:ext>
              </a:extLst>
            </p:cNvPr>
            <p:cNvSpPr>
              <a:spLocks noChangeAspect="1" noChangeShapeType="1"/>
            </p:cNvSpPr>
            <p:nvPr/>
          </p:nvSpPr>
          <p:spPr bwMode="auto">
            <a:xfrm>
              <a:off x="6303964" y="3396615"/>
              <a:ext cx="2063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23" name="Line 1071">
              <a:extLst>
                <a:ext uri="{FF2B5EF4-FFF2-40B4-BE49-F238E27FC236}">
                  <a16:creationId xmlns:a16="http://schemas.microsoft.com/office/drawing/2014/main" id="{245FF723-CFE3-4D1D-A928-95954F009378}"/>
                </a:ext>
              </a:extLst>
            </p:cNvPr>
            <p:cNvSpPr>
              <a:spLocks noChangeAspect="1" noChangeShapeType="1"/>
            </p:cNvSpPr>
            <p:nvPr/>
          </p:nvSpPr>
          <p:spPr bwMode="auto">
            <a:xfrm>
              <a:off x="6303964" y="3168015"/>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24" name="Line 1072">
              <a:extLst>
                <a:ext uri="{FF2B5EF4-FFF2-40B4-BE49-F238E27FC236}">
                  <a16:creationId xmlns:a16="http://schemas.microsoft.com/office/drawing/2014/main" id="{A2338DF0-B496-4AC6-9053-3287C4771E8C}"/>
                </a:ext>
              </a:extLst>
            </p:cNvPr>
            <p:cNvSpPr>
              <a:spLocks noChangeAspect="1" noChangeShapeType="1"/>
            </p:cNvSpPr>
            <p:nvPr/>
          </p:nvSpPr>
          <p:spPr bwMode="auto">
            <a:xfrm>
              <a:off x="6303964" y="3053715"/>
              <a:ext cx="2063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25" name="Line 1073">
              <a:extLst>
                <a:ext uri="{FF2B5EF4-FFF2-40B4-BE49-F238E27FC236}">
                  <a16:creationId xmlns:a16="http://schemas.microsoft.com/office/drawing/2014/main" id="{7081302C-2EAF-4B68-B279-268443F2B329}"/>
                </a:ext>
              </a:extLst>
            </p:cNvPr>
            <p:cNvSpPr>
              <a:spLocks noChangeAspect="1" noChangeShapeType="1"/>
            </p:cNvSpPr>
            <p:nvPr/>
          </p:nvSpPr>
          <p:spPr bwMode="auto">
            <a:xfrm>
              <a:off x="6303964" y="2937829"/>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26" name="Line 1074">
              <a:extLst>
                <a:ext uri="{FF2B5EF4-FFF2-40B4-BE49-F238E27FC236}">
                  <a16:creationId xmlns:a16="http://schemas.microsoft.com/office/drawing/2014/main" id="{4CD8871A-2E76-4670-9E6D-768E4E0D61C8}"/>
                </a:ext>
              </a:extLst>
            </p:cNvPr>
            <p:cNvSpPr>
              <a:spLocks noChangeAspect="1" noChangeShapeType="1"/>
            </p:cNvSpPr>
            <p:nvPr/>
          </p:nvSpPr>
          <p:spPr bwMode="auto">
            <a:xfrm>
              <a:off x="6303964" y="2823529"/>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27" name="Line 1075">
              <a:extLst>
                <a:ext uri="{FF2B5EF4-FFF2-40B4-BE49-F238E27FC236}">
                  <a16:creationId xmlns:a16="http://schemas.microsoft.com/office/drawing/2014/main" id="{3CB72D46-C23A-4E1A-9406-6D7329FF6170}"/>
                </a:ext>
              </a:extLst>
            </p:cNvPr>
            <p:cNvSpPr>
              <a:spLocks noChangeAspect="1" noChangeShapeType="1"/>
            </p:cNvSpPr>
            <p:nvPr/>
          </p:nvSpPr>
          <p:spPr bwMode="auto">
            <a:xfrm>
              <a:off x="6303964" y="2594929"/>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28" name="Line 1076">
              <a:extLst>
                <a:ext uri="{FF2B5EF4-FFF2-40B4-BE49-F238E27FC236}">
                  <a16:creationId xmlns:a16="http://schemas.microsoft.com/office/drawing/2014/main" id="{834BED30-2BB8-4F1A-AE9D-146C713F8C73}"/>
                </a:ext>
              </a:extLst>
            </p:cNvPr>
            <p:cNvSpPr>
              <a:spLocks noChangeAspect="1" noChangeShapeType="1"/>
            </p:cNvSpPr>
            <p:nvPr/>
          </p:nvSpPr>
          <p:spPr bwMode="auto">
            <a:xfrm>
              <a:off x="6303964" y="2480629"/>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29" name="Line 1077">
              <a:extLst>
                <a:ext uri="{FF2B5EF4-FFF2-40B4-BE49-F238E27FC236}">
                  <a16:creationId xmlns:a16="http://schemas.microsoft.com/office/drawing/2014/main" id="{0DBF75D1-60F6-4FF8-8645-9301ECE00AA5}"/>
                </a:ext>
              </a:extLst>
            </p:cNvPr>
            <p:cNvSpPr>
              <a:spLocks noChangeAspect="1" noChangeShapeType="1"/>
            </p:cNvSpPr>
            <p:nvPr/>
          </p:nvSpPr>
          <p:spPr bwMode="auto">
            <a:xfrm>
              <a:off x="6303964" y="2366329"/>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30" name="Line 1078">
              <a:extLst>
                <a:ext uri="{FF2B5EF4-FFF2-40B4-BE49-F238E27FC236}">
                  <a16:creationId xmlns:a16="http://schemas.microsoft.com/office/drawing/2014/main" id="{7C04D2C4-CF51-42A8-A5AF-E61284EA41AE}"/>
                </a:ext>
              </a:extLst>
            </p:cNvPr>
            <p:cNvSpPr>
              <a:spLocks noChangeAspect="1" noChangeShapeType="1"/>
            </p:cNvSpPr>
            <p:nvPr/>
          </p:nvSpPr>
          <p:spPr bwMode="auto">
            <a:xfrm>
              <a:off x="6303964" y="2250440"/>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31" name="Line 1079">
              <a:extLst>
                <a:ext uri="{FF2B5EF4-FFF2-40B4-BE49-F238E27FC236}">
                  <a16:creationId xmlns:a16="http://schemas.microsoft.com/office/drawing/2014/main" id="{119AAEFA-559D-4F9A-8D25-610305AA7634}"/>
                </a:ext>
              </a:extLst>
            </p:cNvPr>
            <p:cNvSpPr>
              <a:spLocks noChangeAspect="1" noChangeShapeType="1"/>
            </p:cNvSpPr>
            <p:nvPr/>
          </p:nvSpPr>
          <p:spPr bwMode="auto">
            <a:xfrm>
              <a:off x="6303964" y="2023429"/>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32" name="Line 1080">
              <a:extLst>
                <a:ext uri="{FF2B5EF4-FFF2-40B4-BE49-F238E27FC236}">
                  <a16:creationId xmlns:a16="http://schemas.microsoft.com/office/drawing/2014/main" id="{0918B1E2-A5A2-4CEC-8956-F7E77CC35BA8}"/>
                </a:ext>
              </a:extLst>
            </p:cNvPr>
            <p:cNvSpPr>
              <a:spLocks noChangeAspect="1" noChangeShapeType="1"/>
            </p:cNvSpPr>
            <p:nvPr/>
          </p:nvSpPr>
          <p:spPr bwMode="auto">
            <a:xfrm>
              <a:off x="6303964" y="1907540"/>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33" name="Line 1081">
              <a:extLst>
                <a:ext uri="{FF2B5EF4-FFF2-40B4-BE49-F238E27FC236}">
                  <a16:creationId xmlns:a16="http://schemas.microsoft.com/office/drawing/2014/main" id="{5A63F8D9-31E7-4477-976F-43D8352B8C92}"/>
                </a:ext>
              </a:extLst>
            </p:cNvPr>
            <p:cNvSpPr>
              <a:spLocks noChangeAspect="1" noChangeShapeType="1"/>
            </p:cNvSpPr>
            <p:nvPr/>
          </p:nvSpPr>
          <p:spPr bwMode="auto">
            <a:xfrm>
              <a:off x="6303964" y="1793240"/>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34" name="Line 1082">
              <a:extLst>
                <a:ext uri="{FF2B5EF4-FFF2-40B4-BE49-F238E27FC236}">
                  <a16:creationId xmlns:a16="http://schemas.microsoft.com/office/drawing/2014/main" id="{1D727DE7-8823-41B2-852E-A6879242E250}"/>
                </a:ext>
              </a:extLst>
            </p:cNvPr>
            <p:cNvSpPr>
              <a:spLocks noChangeAspect="1" noChangeShapeType="1"/>
            </p:cNvSpPr>
            <p:nvPr/>
          </p:nvSpPr>
          <p:spPr bwMode="auto">
            <a:xfrm>
              <a:off x="6303964" y="1678940"/>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35" name="Line 1083">
              <a:extLst>
                <a:ext uri="{FF2B5EF4-FFF2-40B4-BE49-F238E27FC236}">
                  <a16:creationId xmlns:a16="http://schemas.microsoft.com/office/drawing/2014/main" id="{DDC5475C-B8A1-4EB6-84FC-4883193094F3}"/>
                </a:ext>
              </a:extLst>
            </p:cNvPr>
            <p:cNvSpPr>
              <a:spLocks noChangeAspect="1" noChangeShapeType="1"/>
            </p:cNvSpPr>
            <p:nvPr/>
          </p:nvSpPr>
          <p:spPr bwMode="auto">
            <a:xfrm>
              <a:off x="6303964" y="1450340"/>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36" name="Line 1084">
              <a:extLst>
                <a:ext uri="{FF2B5EF4-FFF2-40B4-BE49-F238E27FC236}">
                  <a16:creationId xmlns:a16="http://schemas.microsoft.com/office/drawing/2014/main" id="{32554DF0-EF63-4A4B-B022-CE17BC627C52}"/>
                </a:ext>
              </a:extLst>
            </p:cNvPr>
            <p:cNvSpPr>
              <a:spLocks noChangeAspect="1" noChangeShapeType="1"/>
            </p:cNvSpPr>
            <p:nvPr/>
          </p:nvSpPr>
          <p:spPr bwMode="auto">
            <a:xfrm>
              <a:off x="6303964" y="1336040"/>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37" name="Line 1085">
              <a:extLst>
                <a:ext uri="{FF2B5EF4-FFF2-40B4-BE49-F238E27FC236}">
                  <a16:creationId xmlns:a16="http://schemas.microsoft.com/office/drawing/2014/main" id="{CB7730B1-F0B8-4E7F-BBBC-ECF9A35B9C3C}"/>
                </a:ext>
              </a:extLst>
            </p:cNvPr>
            <p:cNvSpPr>
              <a:spLocks noChangeAspect="1" noChangeShapeType="1"/>
            </p:cNvSpPr>
            <p:nvPr/>
          </p:nvSpPr>
          <p:spPr bwMode="auto">
            <a:xfrm>
              <a:off x="6303964" y="1221740"/>
              <a:ext cx="2063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38" name="Line 1086">
              <a:extLst>
                <a:ext uri="{FF2B5EF4-FFF2-40B4-BE49-F238E27FC236}">
                  <a16:creationId xmlns:a16="http://schemas.microsoft.com/office/drawing/2014/main" id="{1724460D-99ED-4EA9-B025-453FEC59D63F}"/>
                </a:ext>
              </a:extLst>
            </p:cNvPr>
            <p:cNvSpPr>
              <a:spLocks noChangeAspect="1" noChangeShapeType="1"/>
            </p:cNvSpPr>
            <p:nvPr/>
          </p:nvSpPr>
          <p:spPr bwMode="auto">
            <a:xfrm>
              <a:off x="6303964" y="1105854"/>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39" name="Line 1087">
              <a:extLst>
                <a:ext uri="{FF2B5EF4-FFF2-40B4-BE49-F238E27FC236}">
                  <a16:creationId xmlns:a16="http://schemas.microsoft.com/office/drawing/2014/main" id="{1C4920B2-54A2-4732-A9DD-F22B49426C3C}"/>
                </a:ext>
              </a:extLst>
            </p:cNvPr>
            <p:cNvSpPr>
              <a:spLocks noChangeAspect="1" noChangeShapeType="1"/>
            </p:cNvSpPr>
            <p:nvPr/>
          </p:nvSpPr>
          <p:spPr bwMode="auto">
            <a:xfrm flipV="1">
              <a:off x="8264525" y="1105853"/>
              <a:ext cx="1588" cy="3206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40" name="Line 1088">
              <a:extLst>
                <a:ext uri="{FF2B5EF4-FFF2-40B4-BE49-F238E27FC236}">
                  <a16:creationId xmlns:a16="http://schemas.microsoft.com/office/drawing/2014/main" id="{CA71FB06-D7A0-42F1-98E2-AF17FA14FD9D}"/>
                </a:ext>
              </a:extLst>
            </p:cNvPr>
            <p:cNvSpPr>
              <a:spLocks noChangeAspect="1" noChangeShapeType="1"/>
            </p:cNvSpPr>
            <p:nvPr/>
          </p:nvSpPr>
          <p:spPr bwMode="auto">
            <a:xfrm flipH="1">
              <a:off x="8224839" y="3853815"/>
              <a:ext cx="3968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41" name="Line 1089">
              <a:extLst>
                <a:ext uri="{FF2B5EF4-FFF2-40B4-BE49-F238E27FC236}">
                  <a16:creationId xmlns:a16="http://schemas.microsoft.com/office/drawing/2014/main" id="{72DD9ED5-FE60-4891-A00E-9FF45EF1DACD}"/>
                </a:ext>
              </a:extLst>
            </p:cNvPr>
            <p:cNvSpPr>
              <a:spLocks noChangeAspect="1" noChangeShapeType="1"/>
            </p:cNvSpPr>
            <p:nvPr/>
          </p:nvSpPr>
          <p:spPr bwMode="auto">
            <a:xfrm flipH="1">
              <a:off x="8224839" y="3282315"/>
              <a:ext cx="3968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42" name="Line 1090">
              <a:extLst>
                <a:ext uri="{FF2B5EF4-FFF2-40B4-BE49-F238E27FC236}">
                  <a16:creationId xmlns:a16="http://schemas.microsoft.com/office/drawing/2014/main" id="{6F596E8C-470B-4144-B965-5B6BE5440D78}"/>
                </a:ext>
              </a:extLst>
            </p:cNvPr>
            <p:cNvSpPr>
              <a:spLocks noChangeAspect="1" noChangeShapeType="1"/>
            </p:cNvSpPr>
            <p:nvPr/>
          </p:nvSpPr>
          <p:spPr bwMode="auto">
            <a:xfrm flipH="1">
              <a:off x="8224839" y="2710815"/>
              <a:ext cx="3968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43" name="Line 1091">
              <a:extLst>
                <a:ext uri="{FF2B5EF4-FFF2-40B4-BE49-F238E27FC236}">
                  <a16:creationId xmlns:a16="http://schemas.microsoft.com/office/drawing/2014/main" id="{CFA7A57C-DF54-468B-B22F-1B43C2C22F48}"/>
                </a:ext>
              </a:extLst>
            </p:cNvPr>
            <p:cNvSpPr>
              <a:spLocks noChangeAspect="1" noChangeShapeType="1"/>
            </p:cNvSpPr>
            <p:nvPr/>
          </p:nvSpPr>
          <p:spPr bwMode="auto">
            <a:xfrm flipH="1">
              <a:off x="8224839" y="2137729"/>
              <a:ext cx="3968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44" name="Line 1092">
              <a:extLst>
                <a:ext uri="{FF2B5EF4-FFF2-40B4-BE49-F238E27FC236}">
                  <a16:creationId xmlns:a16="http://schemas.microsoft.com/office/drawing/2014/main" id="{3391F0A6-1D22-497F-BE70-9B4FCD59A718}"/>
                </a:ext>
              </a:extLst>
            </p:cNvPr>
            <p:cNvSpPr>
              <a:spLocks noChangeAspect="1" noChangeShapeType="1"/>
            </p:cNvSpPr>
            <p:nvPr/>
          </p:nvSpPr>
          <p:spPr bwMode="auto">
            <a:xfrm flipH="1">
              <a:off x="8224839" y="1564640"/>
              <a:ext cx="3968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45" name="Line 1093">
              <a:extLst>
                <a:ext uri="{FF2B5EF4-FFF2-40B4-BE49-F238E27FC236}">
                  <a16:creationId xmlns:a16="http://schemas.microsoft.com/office/drawing/2014/main" id="{200503AD-65AF-4502-A47C-827388444B9C}"/>
                </a:ext>
              </a:extLst>
            </p:cNvPr>
            <p:cNvSpPr>
              <a:spLocks noChangeAspect="1" noChangeShapeType="1"/>
            </p:cNvSpPr>
            <p:nvPr/>
          </p:nvSpPr>
          <p:spPr bwMode="auto">
            <a:xfrm flipH="1">
              <a:off x="8245475" y="4312604"/>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46" name="Line 1094">
              <a:extLst>
                <a:ext uri="{FF2B5EF4-FFF2-40B4-BE49-F238E27FC236}">
                  <a16:creationId xmlns:a16="http://schemas.microsoft.com/office/drawing/2014/main" id="{AF615AA7-0236-4723-885C-0D3ED57118B5}"/>
                </a:ext>
              </a:extLst>
            </p:cNvPr>
            <p:cNvSpPr>
              <a:spLocks noChangeAspect="1" noChangeShapeType="1"/>
            </p:cNvSpPr>
            <p:nvPr/>
          </p:nvSpPr>
          <p:spPr bwMode="auto">
            <a:xfrm flipH="1">
              <a:off x="8245475" y="4198304"/>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47" name="Line 1095">
              <a:extLst>
                <a:ext uri="{FF2B5EF4-FFF2-40B4-BE49-F238E27FC236}">
                  <a16:creationId xmlns:a16="http://schemas.microsoft.com/office/drawing/2014/main" id="{8BC07785-401B-4026-9E0E-CEDD03432285}"/>
                </a:ext>
              </a:extLst>
            </p:cNvPr>
            <p:cNvSpPr>
              <a:spLocks noChangeAspect="1" noChangeShapeType="1"/>
            </p:cNvSpPr>
            <p:nvPr/>
          </p:nvSpPr>
          <p:spPr bwMode="auto">
            <a:xfrm flipH="1">
              <a:off x="8245475" y="4084003"/>
              <a:ext cx="19050"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48" name="Line 1096">
              <a:extLst>
                <a:ext uri="{FF2B5EF4-FFF2-40B4-BE49-F238E27FC236}">
                  <a16:creationId xmlns:a16="http://schemas.microsoft.com/office/drawing/2014/main" id="{EC571565-9A56-4745-A686-E7E1E7E75D7E}"/>
                </a:ext>
              </a:extLst>
            </p:cNvPr>
            <p:cNvSpPr>
              <a:spLocks noChangeAspect="1" noChangeShapeType="1"/>
            </p:cNvSpPr>
            <p:nvPr/>
          </p:nvSpPr>
          <p:spPr bwMode="auto">
            <a:xfrm flipH="1">
              <a:off x="8245475" y="3968115"/>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49" name="Line 1097">
              <a:extLst>
                <a:ext uri="{FF2B5EF4-FFF2-40B4-BE49-F238E27FC236}">
                  <a16:creationId xmlns:a16="http://schemas.microsoft.com/office/drawing/2014/main" id="{644DB9D3-A9E6-4701-BC8D-FBAFA7D1DE6B}"/>
                </a:ext>
              </a:extLst>
            </p:cNvPr>
            <p:cNvSpPr>
              <a:spLocks noChangeAspect="1" noChangeShapeType="1"/>
            </p:cNvSpPr>
            <p:nvPr/>
          </p:nvSpPr>
          <p:spPr bwMode="auto">
            <a:xfrm flipH="1">
              <a:off x="8245475" y="3739515"/>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50" name="Line 1098">
              <a:extLst>
                <a:ext uri="{FF2B5EF4-FFF2-40B4-BE49-F238E27FC236}">
                  <a16:creationId xmlns:a16="http://schemas.microsoft.com/office/drawing/2014/main" id="{97371D8A-7ED7-4B1C-98E0-9E335B53EFCA}"/>
                </a:ext>
              </a:extLst>
            </p:cNvPr>
            <p:cNvSpPr>
              <a:spLocks noChangeAspect="1" noChangeShapeType="1"/>
            </p:cNvSpPr>
            <p:nvPr/>
          </p:nvSpPr>
          <p:spPr bwMode="auto">
            <a:xfrm flipH="1">
              <a:off x="8245475" y="3625215"/>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51" name="Line 1099">
              <a:extLst>
                <a:ext uri="{FF2B5EF4-FFF2-40B4-BE49-F238E27FC236}">
                  <a16:creationId xmlns:a16="http://schemas.microsoft.com/office/drawing/2014/main" id="{581CD401-2C2A-4B45-8CC0-DCFC9601E7F0}"/>
                </a:ext>
              </a:extLst>
            </p:cNvPr>
            <p:cNvSpPr>
              <a:spLocks noChangeAspect="1" noChangeShapeType="1"/>
            </p:cNvSpPr>
            <p:nvPr/>
          </p:nvSpPr>
          <p:spPr bwMode="auto">
            <a:xfrm flipH="1">
              <a:off x="8245475" y="3510915"/>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52" name="Line 1100">
              <a:extLst>
                <a:ext uri="{FF2B5EF4-FFF2-40B4-BE49-F238E27FC236}">
                  <a16:creationId xmlns:a16="http://schemas.microsoft.com/office/drawing/2014/main" id="{A41D137E-F73F-43D6-9ED1-E2FE2E0A20FD}"/>
                </a:ext>
              </a:extLst>
            </p:cNvPr>
            <p:cNvSpPr>
              <a:spLocks noChangeAspect="1" noChangeShapeType="1"/>
            </p:cNvSpPr>
            <p:nvPr/>
          </p:nvSpPr>
          <p:spPr bwMode="auto">
            <a:xfrm flipH="1">
              <a:off x="8245475" y="3396615"/>
              <a:ext cx="19050"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53" name="Line 1101">
              <a:extLst>
                <a:ext uri="{FF2B5EF4-FFF2-40B4-BE49-F238E27FC236}">
                  <a16:creationId xmlns:a16="http://schemas.microsoft.com/office/drawing/2014/main" id="{1BF29CF0-6A3E-47FB-AB4D-5FCD34F1DD6D}"/>
                </a:ext>
              </a:extLst>
            </p:cNvPr>
            <p:cNvSpPr>
              <a:spLocks noChangeAspect="1" noChangeShapeType="1"/>
            </p:cNvSpPr>
            <p:nvPr/>
          </p:nvSpPr>
          <p:spPr bwMode="auto">
            <a:xfrm flipH="1">
              <a:off x="8245475" y="3168015"/>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54" name="Line 1102">
              <a:extLst>
                <a:ext uri="{FF2B5EF4-FFF2-40B4-BE49-F238E27FC236}">
                  <a16:creationId xmlns:a16="http://schemas.microsoft.com/office/drawing/2014/main" id="{43F1A5B9-BE42-4514-AA55-B4E01DA2644E}"/>
                </a:ext>
              </a:extLst>
            </p:cNvPr>
            <p:cNvSpPr>
              <a:spLocks noChangeAspect="1" noChangeShapeType="1"/>
            </p:cNvSpPr>
            <p:nvPr/>
          </p:nvSpPr>
          <p:spPr bwMode="auto">
            <a:xfrm flipH="1">
              <a:off x="8245475" y="3053715"/>
              <a:ext cx="19050"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55" name="Line 1103">
              <a:extLst>
                <a:ext uri="{FF2B5EF4-FFF2-40B4-BE49-F238E27FC236}">
                  <a16:creationId xmlns:a16="http://schemas.microsoft.com/office/drawing/2014/main" id="{0B76E84D-6781-4E26-934B-59599A902C73}"/>
                </a:ext>
              </a:extLst>
            </p:cNvPr>
            <p:cNvSpPr>
              <a:spLocks noChangeAspect="1" noChangeShapeType="1"/>
            </p:cNvSpPr>
            <p:nvPr/>
          </p:nvSpPr>
          <p:spPr bwMode="auto">
            <a:xfrm flipH="1">
              <a:off x="8245475" y="29378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56" name="Line 1104">
              <a:extLst>
                <a:ext uri="{FF2B5EF4-FFF2-40B4-BE49-F238E27FC236}">
                  <a16:creationId xmlns:a16="http://schemas.microsoft.com/office/drawing/2014/main" id="{2715A033-EA9E-490D-9FE7-337B9D1F1780}"/>
                </a:ext>
              </a:extLst>
            </p:cNvPr>
            <p:cNvSpPr>
              <a:spLocks noChangeAspect="1" noChangeShapeType="1"/>
            </p:cNvSpPr>
            <p:nvPr/>
          </p:nvSpPr>
          <p:spPr bwMode="auto">
            <a:xfrm flipH="1">
              <a:off x="8245475" y="28235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57" name="Line 1105">
              <a:extLst>
                <a:ext uri="{FF2B5EF4-FFF2-40B4-BE49-F238E27FC236}">
                  <a16:creationId xmlns:a16="http://schemas.microsoft.com/office/drawing/2014/main" id="{CEA51C49-114E-485B-AFAE-A5DDFA198E77}"/>
                </a:ext>
              </a:extLst>
            </p:cNvPr>
            <p:cNvSpPr>
              <a:spLocks noChangeAspect="1" noChangeShapeType="1"/>
            </p:cNvSpPr>
            <p:nvPr/>
          </p:nvSpPr>
          <p:spPr bwMode="auto">
            <a:xfrm flipH="1">
              <a:off x="8245475" y="25949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58" name="Line 1106">
              <a:extLst>
                <a:ext uri="{FF2B5EF4-FFF2-40B4-BE49-F238E27FC236}">
                  <a16:creationId xmlns:a16="http://schemas.microsoft.com/office/drawing/2014/main" id="{3B452DDE-5943-4D78-99C6-7C50F332E28A}"/>
                </a:ext>
              </a:extLst>
            </p:cNvPr>
            <p:cNvSpPr>
              <a:spLocks noChangeAspect="1" noChangeShapeType="1"/>
            </p:cNvSpPr>
            <p:nvPr/>
          </p:nvSpPr>
          <p:spPr bwMode="auto">
            <a:xfrm flipH="1">
              <a:off x="8245475" y="24806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59" name="Line 1107">
              <a:extLst>
                <a:ext uri="{FF2B5EF4-FFF2-40B4-BE49-F238E27FC236}">
                  <a16:creationId xmlns:a16="http://schemas.microsoft.com/office/drawing/2014/main" id="{BEEDCC7C-D78E-4210-9689-A4AA0D61A741}"/>
                </a:ext>
              </a:extLst>
            </p:cNvPr>
            <p:cNvSpPr>
              <a:spLocks noChangeAspect="1" noChangeShapeType="1"/>
            </p:cNvSpPr>
            <p:nvPr/>
          </p:nvSpPr>
          <p:spPr bwMode="auto">
            <a:xfrm flipH="1">
              <a:off x="8245475" y="23663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60" name="Line 1108">
              <a:extLst>
                <a:ext uri="{FF2B5EF4-FFF2-40B4-BE49-F238E27FC236}">
                  <a16:creationId xmlns:a16="http://schemas.microsoft.com/office/drawing/2014/main" id="{5D1C0DD6-E780-4B6F-9849-398FC1E3964A}"/>
                </a:ext>
              </a:extLst>
            </p:cNvPr>
            <p:cNvSpPr>
              <a:spLocks noChangeAspect="1" noChangeShapeType="1"/>
            </p:cNvSpPr>
            <p:nvPr/>
          </p:nvSpPr>
          <p:spPr bwMode="auto">
            <a:xfrm flipH="1">
              <a:off x="8245475" y="22504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61" name="Line 1109">
              <a:extLst>
                <a:ext uri="{FF2B5EF4-FFF2-40B4-BE49-F238E27FC236}">
                  <a16:creationId xmlns:a16="http://schemas.microsoft.com/office/drawing/2014/main" id="{AD8284B4-A434-413B-B02B-8ED25CCD54F2}"/>
                </a:ext>
              </a:extLst>
            </p:cNvPr>
            <p:cNvSpPr>
              <a:spLocks noChangeAspect="1" noChangeShapeType="1"/>
            </p:cNvSpPr>
            <p:nvPr/>
          </p:nvSpPr>
          <p:spPr bwMode="auto">
            <a:xfrm flipH="1">
              <a:off x="8245475" y="20234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62" name="Line 1110">
              <a:extLst>
                <a:ext uri="{FF2B5EF4-FFF2-40B4-BE49-F238E27FC236}">
                  <a16:creationId xmlns:a16="http://schemas.microsoft.com/office/drawing/2014/main" id="{A08C3900-7CCB-47C8-A58F-17533A0C54B1}"/>
                </a:ext>
              </a:extLst>
            </p:cNvPr>
            <p:cNvSpPr>
              <a:spLocks noChangeAspect="1" noChangeShapeType="1"/>
            </p:cNvSpPr>
            <p:nvPr/>
          </p:nvSpPr>
          <p:spPr bwMode="auto">
            <a:xfrm flipH="1">
              <a:off x="8245475" y="19075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63" name="Line 1111">
              <a:extLst>
                <a:ext uri="{FF2B5EF4-FFF2-40B4-BE49-F238E27FC236}">
                  <a16:creationId xmlns:a16="http://schemas.microsoft.com/office/drawing/2014/main" id="{2CA6AEC8-C60A-450F-91BC-4EC09F823D9E}"/>
                </a:ext>
              </a:extLst>
            </p:cNvPr>
            <p:cNvSpPr>
              <a:spLocks noChangeAspect="1" noChangeShapeType="1"/>
            </p:cNvSpPr>
            <p:nvPr/>
          </p:nvSpPr>
          <p:spPr bwMode="auto">
            <a:xfrm flipH="1">
              <a:off x="8245475" y="17932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64" name="Line 1112">
              <a:extLst>
                <a:ext uri="{FF2B5EF4-FFF2-40B4-BE49-F238E27FC236}">
                  <a16:creationId xmlns:a16="http://schemas.microsoft.com/office/drawing/2014/main" id="{303C6C7E-30E7-4BF5-9421-B956B5E6DFBC}"/>
                </a:ext>
              </a:extLst>
            </p:cNvPr>
            <p:cNvSpPr>
              <a:spLocks noChangeAspect="1" noChangeShapeType="1"/>
            </p:cNvSpPr>
            <p:nvPr/>
          </p:nvSpPr>
          <p:spPr bwMode="auto">
            <a:xfrm flipH="1">
              <a:off x="8245475" y="16789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65" name="Line 1113">
              <a:extLst>
                <a:ext uri="{FF2B5EF4-FFF2-40B4-BE49-F238E27FC236}">
                  <a16:creationId xmlns:a16="http://schemas.microsoft.com/office/drawing/2014/main" id="{098D4AF7-56D6-44F6-B82A-3D4B89A319E7}"/>
                </a:ext>
              </a:extLst>
            </p:cNvPr>
            <p:cNvSpPr>
              <a:spLocks noChangeAspect="1" noChangeShapeType="1"/>
            </p:cNvSpPr>
            <p:nvPr/>
          </p:nvSpPr>
          <p:spPr bwMode="auto">
            <a:xfrm flipH="1">
              <a:off x="8245475" y="14503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66" name="Line 1114">
              <a:extLst>
                <a:ext uri="{FF2B5EF4-FFF2-40B4-BE49-F238E27FC236}">
                  <a16:creationId xmlns:a16="http://schemas.microsoft.com/office/drawing/2014/main" id="{50DCEE83-5657-4264-88D5-6F1BF43DF3DA}"/>
                </a:ext>
              </a:extLst>
            </p:cNvPr>
            <p:cNvSpPr>
              <a:spLocks noChangeAspect="1" noChangeShapeType="1"/>
            </p:cNvSpPr>
            <p:nvPr/>
          </p:nvSpPr>
          <p:spPr bwMode="auto">
            <a:xfrm flipH="1">
              <a:off x="8245475" y="13360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67" name="Line 1115">
              <a:extLst>
                <a:ext uri="{FF2B5EF4-FFF2-40B4-BE49-F238E27FC236}">
                  <a16:creationId xmlns:a16="http://schemas.microsoft.com/office/drawing/2014/main" id="{01B3334A-4439-4E3B-AB01-FCD9F9111ABF}"/>
                </a:ext>
              </a:extLst>
            </p:cNvPr>
            <p:cNvSpPr>
              <a:spLocks noChangeAspect="1" noChangeShapeType="1"/>
            </p:cNvSpPr>
            <p:nvPr/>
          </p:nvSpPr>
          <p:spPr bwMode="auto">
            <a:xfrm flipH="1">
              <a:off x="8245475" y="1221740"/>
              <a:ext cx="19050"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68" name="Line 1116">
              <a:extLst>
                <a:ext uri="{FF2B5EF4-FFF2-40B4-BE49-F238E27FC236}">
                  <a16:creationId xmlns:a16="http://schemas.microsoft.com/office/drawing/2014/main" id="{C4E82E50-647B-4958-A118-09ED9C31E55D}"/>
                </a:ext>
              </a:extLst>
            </p:cNvPr>
            <p:cNvSpPr>
              <a:spLocks noChangeAspect="1" noChangeShapeType="1"/>
            </p:cNvSpPr>
            <p:nvPr/>
          </p:nvSpPr>
          <p:spPr bwMode="auto">
            <a:xfrm flipH="1">
              <a:off x="8245475" y="1105854"/>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669" name="Freeform 1117">
              <a:extLst>
                <a:ext uri="{FF2B5EF4-FFF2-40B4-BE49-F238E27FC236}">
                  <a16:creationId xmlns:a16="http://schemas.microsoft.com/office/drawing/2014/main" id="{B4F818E1-3C2D-4C5D-9288-342B4DB60EA0}"/>
                </a:ext>
              </a:extLst>
            </p:cNvPr>
            <p:cNvSpPr>
              <a:spLocks noChangeAspect="1"/>
            </p:cNvSpPr>
            <p:nvPr/>
          </p:nvSpPr>
          <p:spPr bwMode="auto">
            <a:xfrm>
              <a:off x="7502525" y="1709104"/>
              <a:ext cx="338138" cy="376237"/>
            </a:xfrm>
            <a:custGeom>
              <a:avLst/>
              <a:gdLst>
                <a:gd name="T0" fmla="*/ 1321 w 2002"/>
                <a:gd name="T1" fmla="*/ 1668 h 1668"/>
                <a:gd name="T2" fmla="*/ 0 w 2002"/>
                <a:gd name="T3" fmla="*/ 0 h 1668"/>
                <a:gd name="T4" fmla="*/ 782 w 2002"/>
                <a:gd name="T5" fmla="*/ 0 h 1668"/>
                <a:gd name="T6" fmla="*/ 2002 w 2002"/>
                <a:gd name="T7" fmla="*/ 1485 h 1668"/>
                <a:gd name="T8" fmla="*/ 2002 w 2002"/>
                <a:gd name="T9" fmla="*/ 1668 h 1668"/>
                <a:gd name="T10" fmla="*/ 1321 w 2002"/>
                <a:gd name="T11" fmla="*/ 1668 h 1668"/>
              </a:gdLst>
              <a:ahLst/>
              <a:cxnLst>
                <a:cxn ang="0">
                  <a:pos x="T0" y="T1"/>
                </a:cxn>
                <a:cxn ang="0">
                  <a:pos x="T2" y="T3"/>
                </a:cxn>
                <a:cxn ang="0">
                  <a:pos x="T4" y="T5"/>
                </a:cxn>
                <a:cxn ang="0">
                  <a:pos x="T6" y="T7"/>
                </a:cxn>
                <a:cxn ang="0">
                  <a:pos x="T8" y="T9"/>
                </a:cxn>
                <a:cxn ang="0">
                  <a:pos x="T10" y="T11"/>
                </a:cxn>
              </a:cxnLst>
              <a:rect l="0" t="0" r="r" b="b"/>
              <a:pathLst>
                <a:path w="2002" h="1668">
                  <a:moveTo>
                    <a:pt x="1321" y="1668"/>
                  </a:moveTo>
                  <a:lnTo>
                    <a:pt x="0" y="0"/>
                  </a:lnTo>
                  <a:lnTo>
                    <a:pt x="782" y="0"/>
                  </a:lnTo>
                  <a:lnTo>
                    <a:pt x="2002" y="1485"/>
                  </a:lnTo>
                  <a:lnTo>
                    <a:pt x="2002" y="1668"/>
                  </a:lnTo>
                  <a:lnTo>
                    <a:pt x="1321" y="1668"/>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670" name="Freeform 1118">
              <a:extLst>
                <a:ext uri="{FF2B5EF4-FFF2-40B4-BE49-F238E27FC236}">
                  <a16:creationId xmlns:a16="http://schemas.microsoft.com/office/drawing/2014/main" id="{AC18EF70-215C-4B24-9466-915AF0FB06E2}"/>
                </a:ext>
              </a:extLst>
            </p:cNvPr>
            <p:cNvSpPr>
              <a:spLocks noChangeAspect="1"/>
            </p:cNvSpPr>
            <p:nvPr/>
          </p:nvSpPr>
          <p:spPr bwMode="auto">
            <a:xfrm>
              <a:off x="7502525" y="1709104"/>
              <a:ext cx="338138" cy="376237"/>
            </a:xfrm>
            <a:custGeom>
              <a:avLst/>
              <a:gdLst>
                <a:gd name="T0" fmla="*/ 1321 w 2002"/>
                <a:gd name="T1" fmla="*/ 1668 h 1668"/>
                <a:gd name="T2" fmla="*/ 0 w 2002"/>
                <a:gd name="T3" fmla="*/ 0 h 1668"/>
                <a:gd name="T4" fmla="*/ 782 w 2002"/>
                <a:gd name="T5" fmla="*/ 0 h 1668"/>
                <a:gd name="T6" fmla="*/ 2002 w 2002"/>
                <a:gd name="T7" fmla="*/ 1485 h 1668"/>
                <a:gd name="T8" fmla="*/ 2002 w 2002"/>
                <a:gd name="T9" fmla="*/ 1668 h 1668"/>
                <a:gd name="T10" fmla="*/ 1321 w 2002"/>
                <a:gd name="T11" fmla="*/ 1668 h 1668"/>
              </a:gdLst>
              <a:ahLst/>
              <a:cxnLst>
                <a:cxn ang="0">
                  <a:pos x="T0" y="T1"/>
                </a:cxn>
                <a:cxn ang="0">
                  <a:pos x="T2" y="T3"/>
                </a:cxn>
                <a:cxn ang="0">
                  <a:pos x="T4" y="T5"/>
                </a:cxn>
                <a:cxn ang="0">
                  <a:pos x="T6" y="T7"/>
                </a:cxn>
                <a:cxn ang="0">
                  <a:pos x="T8" y="T9"/>
                </a:cxn>
                <a:cxn ang="0">
                  <a:pos x="T10" y="T11"/>
                </a:cxn>
              </a:cxnLst>
              <a:rect l="0" t="0" r="r" b="b"/>
              <a:pathLst>
                <a:path w="2002" h="1668">
                  <a:moveTo>
                    <a:pt x="1321" y="1668"/>
                  </a:moveTo>
                  <a:lnTo>
                    <a:pt x="0" y="0"/>
                  </a:lnTo>
                  <a:lnTo>
                    <a:pt x="782" y="0"/>
                  </a:lnTo>
                  <a:lnTo>
                    <a:pt x="2002" y="1485"/>
                  </a:lnTo>
                  <a:lnTo>
                    <a:pt x="2002" y="1668"/>
                  </a:lnTo>
                  <a:lnTo>
                    <a:pt x="1321" y="1668"/>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671" name="Freeform 1119">
              <a:extLst>
                <a:ext uri="{FF2B5EF4-FFF2-40B4-BE49-F238E27FC236}">
                  <a16:creationId xmlns:a16="http://schemas.microsoft.com/office/drawing/2014/main" id="{F1A62DE9-3A4C-45E7-8FBB-960B98ECF9DB}"/>
                </a:ext>
              </a:extLst>
            </p:cNvPr>
            <p:cNvSpPr>
              <a:spLocks noChangeAspect="1"/>
            </p:cNvSpPr>
            <p:nvPr/>
          </p:nvSpPr>
          <p:spPr bwMode="auto">
            <a:xfrm>
              <a:off x="7404100" y="3339466"/>
              <a:ext cx="363538" cy="371475"/>
            </a:xfrm>
            <a:custGeom>
              <a:avLst/>
              <a:gdLst>
                <a:gd name="T0" fmla="*/ 0 w 2145"/>
                <a:gd name="T1" fmla="*/ 1649 h 1649"/>
                <a:gd name="T2" fmla="*/ 761 w 2145"/>
                <a:gd name="T3" fmla="*/ 1649 h 1649"/>
                <a:gd name="T4" fmla="*/ 2145 w 2145"/>
                <a:gd name="T5" fmla="*/ 77 h 1649"/>
                <a:gd name="T6" fmla="*/ 2145 w 2145"/>
                <a:gd name="T7" fmla="*/ 0 h 1649"/>
                <a:gd name="T8" fmla="*/ 1453 w 2145"/>
                <a:gd name="T9" fmla="*/ 0 h 1649"/>
                <a:gd name="T10" fmla="*/ 0 w 2145"/>
                <a:gd name="T11" fmla="*/ 1649 h 1649"/>
              </a:gdLst>
              <a:ahLst/>
              <a:cxnLst>
                <a:cxn ang="0">
                  <a:pos x="T0" y="T1"/>
                </a:cxn>
                <a:cxn ang="0">
                  <a:pos x="T2" y="T3"/>
                </a:cxn>
                <a:cxn ang="0">
                  <a:pos x="T4" y="T5"/>
                </a:cxn>
                <a:cxn ang="0">
                  <a:pos x="T6" y="T7"/>
                </a:cxn>
                <a:cxn ang="0">
                  <a:pos x="T8" y="T9"/>
                </a:cxn>
                <a:cxn ang="0">
                  <a:pos x="T10" y="T11"/>
                </a:cxn>
              </a:cxnLst>
              <a:rect l="0" t="0" r="r" b="b"/>
              <a:pathLst>
                <a:path w="2145" h="1649">
                  <a:moveTo>
                    <a:pt x="0" y="1649"/>
                  </a:moveTo>
                  <a:lnTo>
                    <a:pt x="761" y="1649"/>
                  </a:lnTo>
                  <a:lnTo>
                    <a:pt x="2145" y="77"/>
                  </a:lnTo>
                  <a:lnTo>
                    <a:pt x="2145" y="0"/>
                  </a:lnTo>
                  <a:lnTo>
                    <a:pt x="1453" y="0"/>
                  </a:lnTo>
                  <a:lnTo>
                    <a:pt x="0" y="1649"/>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672" name="Freeform 1120">
              <a:extLst>
                <a:ext uri="{FF2B5EF4-FFF2-40B4-BE49-F238E27FC236}">
                  <a16:creationId xmlns:a16="http://schemas.microsoft.com/office/drawing/2014/main" id="{C13F6A0B-E491-4944-8B48-7BE95D0B9413}"/>
                </a:ext>
              </a:extLst>
            </p:cNvPr>
            <p:cNvSpPr>
              <a:spLocks noChangeAspect="1"/>
            </p:cNvSpPr>
            <p:nvPr/>
          </p:nvSpPr>
          <p:spPr bwMode="auto">
            <a:xfrm>
              <a:off x="7404100" y="3339466"/>
              <a:ext cx="363538" cy="371475"/>
            </a:xfrm>
            <a:custGeom>
              <a:avLst/>
              <a:gdLst>
                <a:gd name="T0" fmla="*/ 0 w 2145"/>
                <a:gd name="T1" fmla="*/ 1649 h 1649"/>
                <a:gd name="T2" fmla="*/ 761 w 2145"/>
                <a:gd name="T3" fmla="*/ 1649 h 1649"/>
                <a:gd name="T4" fmla="*/ 2145 w 2145"/>
                <a:gd name="T5" fmla="*/ 77 h 1649"/>
                <a:gd name="T6" fmla="*/ 2145 w 2145"/>
                <a:gd name="T7" fmla="*/ 0 h 1649"/>
                <a:gd name="T8" fmla="*/ 1453 w 2145"/>
                <a:gd name="T9" fmla="*/ 0 h 1649"/>
                <a:gd name="T10" fmla="*/ 0 w 2145"/>
                <a:gd name="T11" fmla="*/ 1649 h 1649"/>
              </a:gdLst>
              <a:ahLst/>
              <a:cxnLst>
                <a:cxn ang="0">
                  <a:pos x="T0" y="T1"/>
                </a:cxn>
                <a:cxn ang="0">
                  <a:pos x="T2" y="T3"/>
                </a:cxn>
                <a:cxn ang="0">
                  <a:pos x="T4" y="T5"/>
                </a:cxn>
                <a:cxn ang="0">
                  <a:pos x="T6" y="T7"/>
                </a:cxn>
                <a:cxn ang="0">
                  <a:pos x="T8" y="T9"/>
                </a:cxn>
                <a:cxn ang="0">
                  <a:pos x="T10" y="T11"/>
                </a:cxn>
              </a:cxnLst>
              <a:rect l="0" t="0" r="r" b="b"/>
              <a:pathLst>
                <a:path w="2145" h="1649">
                  <a:moveTo>
                    <a:pt x="0" y="1649"/>
                  </a:moveTo>
                  <a:lnTo>
                    <a:pt x="761" y="1649"/>
                  </a:lnTo>
                  <a:lnTo>
                    <a:pt x="2145" y="77"/>
                  </a:lnTo>
                  <a:lnTo>
                    <a:pt x="2145" y="0"/>
                  </a:lnTo>
                  <a:lnTo>
                    <a:pt x="1453" y="0"/>
                  </a:lnTo>
                  <a:lnTo>
                    <a:pt x="0" y="164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673" name="Freeform 1121">
              <a:extLst>
                <a:ext uri="{FF2B5EF4-FFF2-40B4-BE49-F238E27FC236}">
                  <a16:creationId xmlns:a16="http://schemas.microsoft.com/office/drawing/2014/main" id="{77A35C25-2DC5-48C3-A979-AF0C3B7413A1}"/>
                </a:ext>
              </a:extLst>
            </p:cNvPr>
            <p:cNvSpPr>
              <a:spLocks noChangeAspect="1"/>
            </p:cNvSpPr>
            <p:nvPr/>
          </p:nvSpPr>
          <p:spPr bwMode="auto">
            <a:xfrm>
              <a:off x="6419850" y="3487104"/>
              <a:ext cx="109538" cy="92075"/>
            </a:xfrm>
            <a:custGeom>
              <a:avLst/>
              <a:gdLst>
                <a:gd name="T0" fmla="*/ 646 w 646"/>
                <a:gd name="T1" fmla="*/ 407 h 407"/>
                <a:gd name="T2" fmla="*/ 646 w 646"/>
                <a:gd name="T3" fmla="*/ 0 h 407"/>
                <a:gd name="T4" fmla="*/ 496 w 646"/>
                <a:gd name="T5" fmla="*/ 0 h 407"/>
                <a:gd name="T6" fmla="*/ 496 w 646"/>
                <a:gd name="T7" fmla="*/ 126 h 407"/>
                <a:gd name="T8" fmla="*/ 0 w 646"/>
                <a:gd name="T9" fmla="*/ 126 h 407"/>
                <a:gd name="T10" fmla="*/ 0 w 646"/>
                <a:gd name="T11" fmla="*/ 229 h 407"/>
                <a:gd name="T12" fmla="*/ 496 w 646"/>
                <a:gd name="T13" fmla="*/ 229 h 407"/>
                <a:gd name="T14" fmla="*/ 496 w 646"/>
                <a:gd name="T15" fmla="*/ 407 h 407"/>
                <a:gd name="T16" fmla="*/ 646 w 646"/>
                <a:gd name="T17" fmla="*/ 40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07">
                  <a:moveTo>
                    <a:pt x="646" y="407"/>
                  </a:moveTo>
                  <a:lnTo>
                    <a:pt x="646" y="0"/>
                  </a:lnTo>
                  <a:lnTo>
                    <a:pt x="496" y="0"/>
                  </a:lnTo>
                  <a:lnTo>
                    <a:pt x="496" y="126"/>
                  </a:lnTo>
                  <a:lnTo>
                    <a:pt x="0" y="126"/>
                  </a:lnTo>
                  <a:lnTo>
                    <a:pt x="0" y="229"/>
                  </a:lnTo>
                  <a:lnTo>
                    <a:pt x="496" y="229"/>
                  </a:lnTo>
                  <a:lnTo>
                    <a:pt x="496" y="407"/>
                  </a:lnTo>
                  <a:lnTo>
                    <a:pt x="646" y="407"/>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674" name="Freeform 1122">
              <a:extLst>
                <a:ext uri="{FF2B5EF4-FFF2-40B4-BE49-F238E27FC236}">
                  <a16:creationId xmlns:a16="http://schemas.microsoft.com/office/drawing/2014/main" id="{3F9757F9-3930-4A3D-B65C-9432A0AE9350}"/>
                </a:ext>
              </a:extLst>
            </p:cNvPr>
            <p:cNvSpPr>
              <a:spLocks noChangeAspect="1"/>
            </p:cNvSpPr>
            <p:nvPr/>
          </p:nvSpPr>
          <p:spPr bwMode="auto">
            <a:xfrm>
              <a:off x="6419850" y="3487104"/>
              <a:ext cx="109538" cy="92075"/>
            </a:xfrm>
            <a:custGeom>
              <a:avLst/>
              <a:gdLst>
                <a:gd name="T0" fmla="*/ 646 w 646"/>
                <a:gd name="T1" fmla="*/ 407 h 407"/>
                <a:gd name="T2" fmla="*/ 646 w 646"/>
                <a:gd name="T3" fmla="*/ 0 h 407"/>
                <a:gd name="T4" fmla="*/ 496 w 646"/>
                <a:gd name="T5" fmla="*/ 0 h 407"/>
                <a:gd name="T6" fmla="*/ 496 w 646"/>
                <a:gd name="T7" fmla="*/ 126 h 407"/>
                <a:gd name="T8" fmla="*/ 0 w 646"/>
                <a:gd name="T9" fmla="*/ 126 h 407"/>
                <a:gd name="T10" fmla="*/ 0 w 646"/>
                <a:gd name="T11" fmla="*/ 229 h 407"/>
                <a:gd name="T12" fmla="*/ 496 w 646"/>
                <a:gd name="T13" fmla="*/ 229 h 407"/>
                <a:gd name="T14" fmla="*/ 496 w 646"/>
                <a:gd name="T15" fmla="*/ 407 h 407"/>
                <a:gd name="T16" fmla="*/ 646 w 646"/>
                <a:gd name="T17" fmla="*/ 40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07">
                  <a:moveTo>
                    <a:pt x="646" y="407"/>
                  </a:moveTo>
                  <a:lnTo>
                    <a:pt x="646" y="0"/>
                  </a:lnTo>
                  <a:lnTo>
                    <a:pt x="496" y="0"/>
                  </a:lnTo>
                  <a:lnTo>
                    <a:pt x="496" y="126"/>
                  </a:lnTo>
                  <a:lnTo>
                    <a:pt x="0" y="126"/>
                  </a:lnTo>
                  <a:lnTo>
                    <a:pt x="0" y="229"/>
                  </a:lnTo>
                  <a:lnTo>
                    <a:pt x="496" y="229"/>
                  </a:lnTo>
                  <a:lnTo>
                    <a:pt x="496" y="407"/>
                  </a:lnTo>
                  <a:lnTo>
                    <a:pt x="646" y="407"/>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675" name="Freeform 1123">
              <a:extLst>
                <a:ext uri="{FF2B5EF4-FFF2-40B4-BE49-F238E27FC236}">
                  <a16:creationId xmlns:a16="http://schemas.microsoft.com/office/drawing/2014/main" id="{4920E09A-205F-44E7-A72E-D7074D0CB128}"/>
                </a:ext>
              </a:extLst>
            </p:cNvPr>
            <p:cNvSpPr>
              <a:spLocks noChangeAspect="1"/>
            </p:cNvSpPr>
            <p:nvPr/>
          </p:nvSpPr>
          <p:spPr bwMode="auto">
            <a:xfrm>
              <a:off x="6454775" y="1826579"/>
              <a:ext cx="153988" cy="1552575"/>
            </a:xfrm>
            <a:custGeom>
              <a:avLst/>
              <a:gdLst>
                <a:gd name="T0" fmla="*/ 472 w 911"/>
                <a:gd name="T1" fmla="*/ 6904 h 6904"/>
                <a:gd name="T2" fmla="*/ 368 w 911"/>
                <a:gd name="T3" fmla="*/ 6563 h 6904"/>
                <a:gd name="T4" fmla="*/ 277 w 911"/>
                <a:gd name="T5" fmla="*/ 6219 h 6904"/>
                <a:gd name="T6" fmla="*/ 200 w 911"/>
                <a:gd name="T7" fmla="*/ 5875 h 6904"/>
                <a:gd name="T8" fmla="*/ 134 w 911"/>
                <a:gd name="T9" fmla="*/ 5528 h 6904"/>
                <a:gd name="T10" fmla="*/ 81 w 911"/>
                <a:gd name="T11" fmla="*/ 5180 h 6904"/>
                <a:gd name="T12" fmla="*/ 42 w 911"/>
                <a:gd name="T13" fmla="*/ 4832 h 6904"/>
                <a:gd name="T14" fmla="*/ 15 w 911"/>
                <a:gd name="T15" fmla="*/ 4482 h 6904"/>
                <a:gd name="T16" fmla="*/ 2 w 911"/>
                <a:gd name="T17" fmla="*/ 4133 h 6904"/>
                <a:gd name="T18" fmla="*/ 0 w 911"/>
                <a:gd name="T19" fmla="*/ 3783 h 6904"/>
                <a:gd name="T20" fmla="*/ 13 w 911"/>
                <a:gd name="T21" fmla="*/ 3433 h 6904"/>
                <a:gd name="T22" fmla="*/ 38 w 911"/>
                <a:gd name="T23" fmla="*/ 3084 h 6904"/>
                <a:gd name="T24" fmla="*/ 75 w 911"/>
                <a:gd name="T25" fmla="*/ 2735 h 6904"/>
                <a:gd name="T26" fmla="*/ 125 w 911"/>
                <a:gd name="T27" fmla="*/ 2388 h 6904"/>
                <a:gd name="T28" fmla="*/ 188 w 911"/>
                <a:gd name="T29" fmla="*/ 2041 h 6904"/>
                <a:gd name="T30" fmla="*/ 265 w 911"/>
                <a:gd name="T31" fmla="*/ 1696 h 6904"/>
                <a:gd name="T32" fmla="*/ 354 w 911"/>
                <a:gd name="T33" fmla="*/ 1352 h 6904"/>
                <a:gd name="T34" fmla="*/ 455 w 911"/>
                <a:gd name="T35" fmla="*/ 1011 h 6904"/>
                <a:gd name="T36" fmla="*/ 569 w 911"/>
                <a:gd name="T37" fmla="*/ 671 h 6904"/>
                <a:gd name="T38" fmla="*/ 695 w 911"/>
                <a:gd name="T39" fmla="*/ 335 h 6904"/>
                <a:gd name="T40" fmla="*/ 833 w 911"/>
                <a:gd name="T41" fmla="*/ 0 h 6904"/>
                <a:gd name="T42" fmla="*/ 911 w 911"/>
                <a:gd name="T43" fmla="*/ 19 h 6904"/>
                <a:gd name="T44" fmla="*/ 773 w 911"/>
                <a:gd name="T45" fmla="*/ 351 h 6904"/>
                <a:gd name="T46" fmla="*/ 647 w 911"/>
                <a:gd name="T47" fmla="*/ 687 h 6904"/>
                <a:gd name="T48" fmla="*/ 534 w 911"/>
                <a:gd name="T49" fmla="*/ 1024 h 6904"/>
                <a:gd name="T50" fmla="*/ 434 w 911"/>
                <a:gd name="T51" fmla="*/ 1365 h 6904"/>
                <a:gd name="T52" fmla="*/ 345 w 911"/>
                <a:gd name="T53" fmla="*/ 1706 h 6904"/>
                <a:gd name="T54" fmla="*/ 269 w 911"/>
                <a:gd name="T55" fmla="*/ 2050 h 6904"/>
                <a:gd name="T56" fmla="*/ 206 w 911"/>
                <a:gd name="T57" fmla="*/ 2395 h 6904"/>
                <a:gd name="T58" fmla="*/ 157 w 911"/>
                <a:gd name="T59" fmla="*/ 2742 h 6904"/>
                <a:gd name="T60" fmla="*/ 120 w 911"/>
                <a:gd name="T61" fmla="*/ 3088 h 6904"/>
                <a:gd name="T62" fmla="*/ 95 w 911"/>
                <a:gd name="T63" fmla="*/ 3436 h 6904"/>
                <a:gd name="T64" fmla="*/ 83 w 911"/>
                <a:gd name="T65" fmla="*/ 3784 h 6904"/>
                <a:gd name="T66" fmla="*/ 84 w 911"/>
                <a:gd name="T67" fmla="*/ 4132 h 6904"/>
                <a:gd name="T68" fmla="*/ 97 w 911"/>
                <a:gd name="T69" fmla="*/ 4480 h 6904"/>
                <a:gd name="T70" fmla="*/ 124 w 911"/>
                <a:gd name="T71" fmla="*/ 4827 h 6904"/>
                <a:gd name="T72" fmla="*/ 164 w 911"/>
                <a:gd name="T73" fmla="*/ 5174 h 6904"/>
                <a:gd name="T74" fmla="*/ 215 w 911"/>
                <a:gd name="T75" fmla="*/ 5521 h 6904"/>
                <a:gd name="T76" fmla="*/ 281 w 911"/>
                <a:gd name="T77" fmla="*/ 5865 h 6904"/>
                <a:gd name="T78" fmla="*/ 358 w 911"/>
                <a:gd name="T79" fmla="*/ 6208 h 6904"/>
                <a:gd name="T80" fmla="*/ 448 w 911"/>
                <a:gd name="T81" fmla="*/ 6550 h 6904"/>
                <a:gd name="T82" fmla="*/ 551 w 911"/>
                <a:gd name="T83" fmla="*/ 6889 h 6904"/>
                <a:gd name="T84" fmla="*/ 472 w 911"/>
                <a:gd name="T85" fmla="*/ 6904 h 6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1" h="6904">
                  <a:moveTo>
                    <a:pt x="472" y="6904"/>
                  </a:moveTo>
                  <a:lnTo>
                    <a:pt x="368" y="6563"/>
                  </a:lnTo>
                  <a:lnTo>
                    <a:pt x="277" y="6219"/>
                  </a:lnTo>
                  <a:lnTo>
                    <a:pt x="200" y="5875"/>
                  </a:lnTo>
                  <a:lnTo>
                    <a:pt x="134" y="5528"/>
                  </a:lnTo>
                  <a:lnTo>
                    <a:pt x="81" y="5180"/>
                  </a:lnTo>
                  <a:lnTo>
                    <a:pt x="42" y="4832"/>
                  </a:lnTo>
                  <a:lnTo>
                    <a:pt x="15" y="4482"/>
                  </a:lnTo>
                  <a:lnTo>
                    <a:pt x="2" y="4133"/>
                  </a:lnTo>
                  <a:lnTo>
                    <a:pt x="0" y="3783"/>
                  </a:lnTo>
                  <a:lnTo>
                    <a:pt x="13" y="3433"/>
                  </a:lnTo>
                  <a:lnTo>
                    <a:pt x="38" y="3084"/>
                  </a:lnTo>
                  <a:lnTo>
                    <a:pt x="75" y="2735"/>
                  </a:lnTo>
                  <a:lnTo>
                    <a:pt x="125" y="2388"/>
                  </a:lnTo>
                  <a:lnTo>
                    <a:pt x="188" y="2041"/>
                  </a:lnTo>
                  <a:lnTo>
                    <a:pt x="265" y="1696"/>
                  </a:lnTo>
                  <a:lnTo>
                    <a:pt x="354" y="1352"/>
                  </a:lnTo>
                  <a:lnTo>
                    <a:pt x="455" y="1011"/>
                  </a:lnTo>
                  <a:lnTo>
                    <a:pt x="569" y="671"/>
                  </a:lnTo>
                  <a:lnTo>
                    <a:pt x="695" y="335"/>
                  </a:lnTo>
                  <a:lnTo>
                    <a:pt x="833" y="0"/>
                  </a:lnTo>
                  <a:lnTo>
                    <a:pt x="911" y="19"/>
                  </a:lnTo>
                  <a:lnTo>
                    <a:pt x="773" y="351"/>
                  </a:lnTo>
                  <a:lnTo>
                    <a:pt x="647" y="687"/>
                  </a:lnTo>
                  <a:lnTo>
                    <a:pt x="534" y="1024"/>
                  </a:lnTo>
                  <a:lnTo>
                    <a:pt x="434" y="1365"/>
                  </a:lnTo>
                  <a:lnTo>
                    <a:pt x="345" y="1706"/>
                  </a:lnTo>
                  <a:lnTo>
                    <a:pt x="269" y="2050"/>
                  </a:lnTo>
                  <a:lnTo>
                    <a:pt x="206" y="2395"/>
                  </a:lnTo>
                  <a:lnTo>
                    <a:pt x="157" y="2742"/>
                  </a:lnTo>
                  <a:lnTo>
                    <a:pt x="120" y="3088"/>
                  </a:lnTo>
                  <a:lnTo>
                    <a:pt x="95" y="3436"/>
                  </a:lnTo>
                  <a:lnTo>
                    <a:pt x="83" y="3784"/>
                  </a:lnTo>
                  <a:lnTo>
                    <a:pt x="84" y="4132"/>
                  </a:lnTo>
                  <a:lnTo>
                    <a:pt x="97" y="4480"/>
                  </a:lnTo>
                  <a:lnTo>
                    <a:pt x="124" y="4827"/>
                  </a:lnTo>
                  <a:lnTo>
                    <a:pt x="164" y="5174"/>
                  </a:lnTo>
                  <a:lnTo>
                    <a:pt x="215" y="5521"/>
                  </a:lnTo>
                  <a:lnTo>
                    <a:pt x="281" y="5865"/>
                  </a:lnTo>
                  <a:lnTo>
                    <a:pt x="358" y="6208"/>
                  </a:lnTo>
                  <a:lnTo>
                    <a:pt x="448" y="6550"/>
                  </a:lnTo>
                  <a:lnTo>
                    <a:pt x="551" y="6889"/>
                  </a:lnTo>
                  <a:lnTo>
                    <a:pt x="472" y="6904"/>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676" name="Freeform 1124">
              <a:extLst>
                <a:ext uri="{FF2B5EF4-FFF2-40B4-BE49-F238E27FC236}">
                  <a16:creationId xmlns:a16="http://schemas.microsoft.com/office/drawing/2014/main" id="{B64390DA-2421-43FC-9E95-A44A26BDED38}"/>
                </a:ext>
              </a:extLst>
            </p:cNvPr>
            <p:cNvSpPr>
              <a:spLocks noChangeAspect="1"/>
            </p:cNvSpPr>
            <p:nvPr/>
          </p:nvSpPr>
          <p:spPr bwMode="auto">
            <a:xfrm>
              <a:off x="6454775" y="1826579"/>
              <a:ext cx="153988" cy="1552575"/>
            </a:xfrm>
            <a:custGeom>
              <a:avLst/>
              <a:gdLst>
                <a:gd name="T0" fmla="*/ 472 w 911"/>
                <a:gd name="T1" fmla="*/ 6904 h 6904"/>
                <a:gd name="T2" fmla="*/ 368 w 911"/>
                <a:gd name="T3" fmla="*/ 6563 h 6904"/>
                <a:gd name="T4" fmla="*/ 277 w 911"/>
                <a:gd name="T5" fmla="*/ 6219 h 6904"/>
                <a:gd name="T6" fmla="*/ 200 w 911"/>
                <a:gd name="T7" fmla="*/ 5875 h 6904"/>
                <a:gd name="T8" fmla="*/ 134 w 911"/>
                <a:gd name="T9" fmla="*/ 5528 h 6904"/>
                <a:gd name="T10" fmla="*/ 81 w 911"/>
                <a:gd name="T11" fmla="*/ 5180 h 6904"/>
                <a:gd name="T12" fmla="*/ 42 w 911"/>
                <a:gd name="T13" fmla="*/ 4832 h 6904"/>
                <a:gd name="T14" fmla="*/ 15 w 911"/>
                <a:gd name="T15" fmla="*/ 4482 h 6904"/>
                <a:gd name="T16" fmla="*/ 2 w 911"/>
                <a:gd name="T17" fmla="*/ 4133 h 6904"/>
                <a:gd name="T18" fmla="*/ 0 w 911"/>
                <a:gd name="T19" fmla="*/ 3783 h 6904"/>
                <a:gd name="T20" fmla="*/ 13 w 911"/>
                <a:gd name="T21" fmla="*/ 3433 h 6904"/>
                <a:gd name="T22" fmla="*/ 38 w 911"/>
                <a:gd name="T23" fmla="*/ 3084 h 6904"/>
                <a:gd name="T24" fmla="*/ 75 w 911"/>
                <a:gd name="T25" fmla="*/ 2735 h 6904"/>
                <a:gd name="T26" fmla="*/ 125 w 911"/>
                <a:gd name="T27" fmla="*/ 2388 h 6904"/>
                <a:gd name="T28" fmla="*/ 188 w 911"/>
                <a:gd name="T29" fmla="*/ 2041 h 6904"/>
                <a:gd name="T30" fmla="*/ 265 w 911"/>
                <a:gd name="T31" fmla="*/ 1696 h 6904"/>
                <a:gd name="T32" fmla="*/ 354 w 911"/>
                <a:gd name="T33" fmla="*/ 1352 h 6904"/>
                <a:gd name="T34" fmla="*/ 455 w 911"/>
                <a:gd name="T35" fmla="*/ 1011 h 6904"/>
                <a:gd name="T36" fmla="*/ 569 w 911"/>
                <a:gd name="T37" fmla="*/ 671 h 6904"/>
                <a:gd name="T38" fmla="*/ 695 w 911"/>
                <a:gd name="T39" fmla="*/ 335 h 6904"/>
                <a:gd name="T40" fmla="*/ 833 w 911"/>
                <a:gd name="T41" fmla="*/ 0 h 6904"/>
                <a:gd name="T42" fmla="*/ 911 w 911"/>
                <a:gd name="T43" fmla="*/ 19 h 6904"/>
                <a:gd name="T44" fmla="*/ 773 w 911"/>
                <a:gd name="T45" fmla="*/ 351 h 6904"/>
                <a:gd name="T46" fmla="*/ 647 w 911"/>
                <a:gd name="T47" fmla="*/ 687 h 6904"/>
                <a:gd name="T48" fmla="*/ 534 w 911"/>
                <a:gd name="T49" fmla="*/ 1024 h 6904"/>
                <a:gd name="T50" fmla="*/ 434 w 911"/>
                <a:gd name="T51" fmla="*/ 1365 h 6904"/>
                <a:gd name="T52" fmla="*/ 345 w 911"/>
                <a:gd name="T53" fmla="*/ 1706 h 6904"/>
                <a:gd name="T54" fmla="*/ 269 w 911"/>
                <a:gd name="T55" fmla="*/ 2050 h 6904"/>
                <a:gd name="T56" fmla="*/ 206 w 911"/>
                <a:gd name="T57" fmla="*/ 2395 h 6904"/>
                <a:gd name="T58" fmla="*/ 157 w 911"/>
                <a:gd name="T59" fmla="*/ 2742 h 6904"/>
                <a:gd name="T60" fmla="*/ 120 w 911"/>
                <a:gd name="T61" fmla="*/ 3088 h 6904"/>
                <a:gd name="T62" fmla="*/ 95 w 911"/>
                <a:gd name="T63" fmla="*/ 3436 h 6904"/>
                <a:gd name="T64" fmla="*/ 83 w 911"/>
                <a:gd name="T65" fmla="*/ 3784 h 6904"/>
                <a:gd name="T66" fmla="*/ 84 w 911"/>
                <a:gd name="T67" fmla="*/ 4132 h 6904"/>
                <a:gd name="T68" fmla="*/ 97 w 911"/>
                <a:gd name="T69" fmla="*/ 4480 h 6904"/>
                <a:gd name="T70" fmla="*/ 124 w 911"/>
                <a:gd name="T71" fmla="*/ 4827 h 6904"/>
                <a:gd name="T72" fmla="*/ 164 w 911"/>
                <a:gd name="T73" fmla="*/ 5174 h 6904"/>
                <a:gd name="T74" fmla="*/ 215 w 911"/>
                <a:gd name="T75" fmla="*/ 5521 h 6904"/>
                <a:gd name="T76" fmla="*/ 281 w 911"/>
                <a:gd name="T77" fmla="*/ 5865 h 6904"/>
                <a:gd name="T78" fmla="*/ 358 w 911"/>
                <a:gd name="T79" fmla="*/ 6208 h 6904"/>
                <a:gd name="T80" fmla="*/ 448 w 911"/>
                <a:gd name="T81" fmla="*/ 6550 h 6904"/>
                <a:gd name="T82" fmla="*/ 551 w 911"/>
                <a:gd name="T83" fmla="*/ 6889 h 6904"/>
                <a:gd name="T84" fmla="*/ 472 w 911"/>
                <a:gd name="T85" fmla="*/ 6904 h 6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1" h="6904">
                  <a:moveTo>
                    <a:pt x="472" y="6904"/>
                  </a:moveTo>
                  <a:lnTo>
                    <a:pt x="368" y="6563"/>
                  </a:lnTo>
                  <a:lnTo>
                    <a:pt x="277" y="6219"/>
                  </a:lnTo>
                  <a:lnTo>
                    <a:pt x="200" y="5875"/>
                  </a:lnTo>
                  <a:lnTo>
                    <a:pt x="134" y="5528"/>
                  </a:lnTo>
                  <a:lnTo>
                    <a:pt x="81" y="5180"/>
                  </a:lnTo>
                  <a:lnTo>
                    <a:pt x="42" y="4832"/>
                  </a:lnTo>
                  <a:lnTo>
                    <a:pt x="15" y="4482"/>
                  </a:lnTo>
                  <a:lnTo>
                    <a:pt x="2" y="4133"/>
                  </a:lnTo>
                  <a:lnTo>
                    <a:pt x="0" y="3783"/>
                  </a:lnTo>
                  <a:lnTo>
                    <a:pt x="13" y="3433"/>
                  </a:lnTo>
                  <a:lnTo>
                    <a:pt x="38" y="3084"/>
                  </a:lnTo>
                  <a:lnTo>
                    <a:pt x="75" y="2735"/>
                  </a:lnTo>
                  <a:lnTo>
                    <a:pt x="125" y="2388"/>
                  </a:lnTo>
                  <a:lnTo>
                    <a:pt x="188" y="2041"/>
                  </a:lnTo>
                  <a:lnTo>
                    <a:pt x="265" y="1696"/>
                  </a:lnTo>
                  <a:lnTo>
                    <a:pt x="354" y="1352"/>
                  </a:lnTo>
                  <a:lnTo>
                    <a:pt x="455" y="1011"/>
                  </a:lnTo>
                  <a:lnTo>
                    <a:pt x="569" y="671"/>
                  </a:lnTo>
                  <a:lnTo>
                    <a:pt x="695" y="335"/>
                  </a:lnTo>
                  <a:lnTo>
                    <a:pt x="833" y="0"/>
                  </a:lnTo>
                  <a:lnTo>
                    <a:pt x="911" y="19"/>
                  </a:lnTo>
                  <a:lnTo>
                    <a:pt x="773" y="351"/>
                  </a:lnTo>
                  <a:lnTo>
                    <a:pt x="647" y="687"/>
                  </a:lnTo>
                  <a:lnTo>
                    <a:pt x="534" y="1024"/>
                  </a:lnTo>
                  <a:lnTo>
                    <a:pt x="434" y="1365"/>
                  </a:lnTo>
                  <a:lnTo>
                    <a:pt x="345" y="1706"/>
                  </a:lnTo>
                  <a:lnTo>
                    <a:pt x="269" y="2050"/>
                  </a:lnTo>
                  <a:lnTo>
                    <a:pt x="206" y="2395"/>
                  </a:lnTo>
                  <a:lnTo>
                    <a:pt x="157" y="2742"/>
                  </a:lnTo>
                  <a:lnTo>
                    <a:pt x="120" y="3088"/>
                  </a:lnTo>
                  <a:lnTo>
                    <a:pt x="95" y="3436"/>
                  </a:lnTo>
                  <a:lnTo>
                    <a:pt x="83" y="3784"/>
                  </a:lnTo>
                  <a:lnTo>
                    <a:pt x="84" y="4132"/>
                  </a:lnTo>
                  <a:lnTo>
                    <a:pt x="97" y="4480"/>
                  </a:lnTo>
                  <a:lnTo>
                    <a:pt x="124" y="4827"/>
                  </a:lnTo>
                  <a:lnTo>
                    <a:pt x="164" y="5174"/>
                  </a:lnTo>
                  <a:lnTo>
                    <a:pt x="215" y="5521"/>
                  </a:lnTo>
                  <a:lnTo>
                    <a:pt x="281" y="5865"/>
                  </a:lnTo>
                  <a:lnTo>
                    <a:pt x="358" y="6208"/>
                  </a:lnTo>
                  <a:lnTo>
                    <a:pt x="448" y="6550"/>
                  </a:lnTo>
                  <a:lnTo>
                    <a:pt x="551" y="6889"/>
                  </a:lnTo>
                  <a:lnTo>
                    <a:pt x="472" y="6904"/>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677" name="Freeform 1125">
              <a:extLst>
                <a:ext uri="{FF2B5EF4-FFF2-40B4-BE49-F238E27FC236}">
                  <a16:creationId xmlns:a16="http://schemas.microsoft.com/office/drawing/2014/main" id="{F3203660-5AF7-45DF-BAC2-31754880F51E}"/>
                </a:ext>
              </a:extLst>
            </p:cNvPr>
            <p:cNvSpPr>
              <a:spLocks noChangeAspect="1"/>
            </p:cNvSpPr>
            <p:nvPr/>
          </p:nvSpPr>
          <p:spPr bwMode="auto">
            <a:xfrm>
              <a:off x="7580313" y="2107566"/>
              <a:ext cx="684212" cy="1211263"/>
            </a:xfrm>
            <a:custGeom>
              <a:avLst/>
              <a:gdLst>
                <a:gd name="T0" fmla="*/ 4061 w 4061"/>
                <a:gd name="T1" fmla="*/ 0 h 5379"/>
                <a:gd name="T2" fmla="*/ 919 w 4061"/>
                <a:gd name="T3" fmla="*/ 0 h 5379"/>
                <a:gd name="T4" fmla="*/ 905 w 4061"/>
                <a:gd name="T5" fmla="*/ 5 h 5379"/>
                <a:gd name="T6" fmla="*/ 877 w 4061"/>
                <a:gd name="T7" fmla="*/ 11 h 5379"/>
                <a:gd name="T8" fmla="*/ 857 w 4061"/>
                <a:gd name="T9" fmla="*/ 26 h 5379"/>
                <a:gd name="T10" fmla="*/ 850 w 4061"/>
                <a:gd name="T11" fmla="*/ 41 h 5379"/>
                <a:gd name="T12" fmla="*/ 857 w 4061"/>
                <a:gd name="T13" fmla="*/ 67 h 5379"/>
                <a:gd name="T14" fmla="*/ 856 w 4061"/>
                <a:gd name="T15" fmla="*/ 68 h 5379"/>
                <a:gd name="T16" fmla="*/ 1007 w 4061"/>
                <a:gd name="T17" fmla="*/ 380 h 5379"/>
                <a:gd name="T18" fmla="*/ 1132 w 4061"/>
                <a:gd name="T19" fmla="*/ 699 h 5379"/>
                <a:gd name="T20" fmla="*/ 1231 w 4061"/>
                <a:gd name="T21" fmla="*/ 1022 h 5379"/>
                <a:gd name="T22" fmla="*/ 1303 w 4061"/>
                <a:gd name="T23" fmla="*/ 1350 h 5379"/>
                <a:gd name="T24" fmla="*/ 1347 w 4061"/>
                <a:gd name="T25" fmla="*/ 1680 h 5379"/>
                <a:gd name="T26" fmla="*/ 1364 w 4061"/>
                <a:gd name="T27" fmla="*/ 2011 h 5379"/>
                <a:gd name="T28" fmla="*/ 1352 w 4061"/>
                <a:gd name="T29" fmla="*/ 2344 h 5379"/>
                <a:gd name="T30" fmla="*/ 1313 w 4061"/>
                <a:gd name="T31" fmla="*/ 2674 h 5379"/>
                <a:gd name="T32" fmla="*/ 1246 w 4061"/>
                <a:gd name="T33" fmla="*/ 3003 h 5379"/>
                <a:gd name="T34" fmla="*/ 1153 w 4061"/>
                <a:gd name="T35" fmla="*/ 3327 h 5379"/>
                <a:gd name="T36" fmla="*/ 1031 w 4061"/>
                <a:gd name="T37" fmla="*/ 3646 h 5379"/>
                <a:gd name="T38" fmla="*/ 884 w 4061"/>
                <a:gd name="T39" fmla="*/ 3960 h 5379"/>
                <a:gd name="T40" fmla="*/ 710 w 4061"/>
                <a:gd name="T41" fmla="*/ 4266 h 5379"/>
                <a:gd name="T42" fmla="*/ 511 w 4061"/>
                <a:gd name="T43" fmla="*/ 4562 h 5379"/>
                <a:gd name="T44" fmla="*/ 288 w 4061"/>
                <a:gd name="T45" fmla="*/ 4850 h 5379"/>
                <a:gd name="T46" fmla="*/ 42 w 4061"/>
                <a:gd name="T47" fmla="*/ 5126 h 5379"/>
                <a:gd name="T48" fmla="*/ 43 w 4061"/>
                <a:gd name="T49" fmla="*/ 5132 h 5379"/>
                <a:gd name="T50" fmla="*/ 14 w 4061"/>
                <a:gd name="T51" fmla="*/ 5169 h 5379"/>
                <a:gd name="T52" fmla="*/ 0 w 4061"/>
                <a:gd name="T53" fmla="*/ 5210 h 5379"/>
                <a:gd name="T54" fmla="*/ 3 w 4061"/>
                <a:gd name="T55" fmla="*/ 5252 h 5379"/>
                <a:gd name="T56" fmla="*/ 21 w 4061"/>
                <a:gd name="T57" fmla="*/ 5293 h 5379"/>
                <a:gd name="T58" fmla="*/ 52 w 4061"/>
                <a:gd name="T59" fmla="*/ 5328 h 5379"/>
                <a:gd name="T60" fmla="*/ 96 w 4061"/>
                <a:gd name="T61" fmla="*/ 5355 h 5379"/>
                <a:gd name="T62" fmla="*/ 148 w 4061"/>
                <a:gd name="T63" fmla="*/ 5373 h 5379"/>
                <a:gd name="T64" fmla="*/ 204 w 4061"/>
                <a:gd name="T65" fmla="*/ 5379 h 5379"/>
                <a:gd name="T66" fmla="*/ 263 w 4061"/>
                <a:gd name="T67" fmla="*/ 5379 h 5379"/>
                <a:gd name="T68" fmla="*/ 4061 w 4061"/>
                <a:gd name="T69" fmla="*/ 5379 h 5379"/>
                <a:gd name="T70" fmla="*/ 4061 w 4061"/>
                <a:gd name="T71" fmla="*/ 0 h 5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61" h="5379">
                  <a:moveTo>
                    <a:pt x="4061" y="0"/>
                  </a:moveTo>
                  <a:lnTo>
                    <a:pt x="919" y="0"/>
                  </a:lnTo>
                  <a:lnTo>
                    <a:pt x="905" y="5"/>
                  </a:lnTo>
                  <a:lnTo>
                    <a:pt x="877" y="11"/>
                  </a:lnTo>
                  <a:lnTo>
                    <a:pt x="857" y="26"/>
                  </a:lnTo>
                  <a:lnTo>
                    <a:pt x="850" y="41"/>
                  </a:lnTo>
                  <a:lnTo>
                    <a:pt x="857" y="67"/>
                  </a:lnTo>
                  <a:lnTo>
                    <a:pt x="856" y="68"/>
                  </a:lnTo>
                  <a:lnTo>
                    <a:pt x="1007" y="380"/>
                  </a:lnTo>
                  <a:lnTo>
                    <a:pt x="1132" y="699"/>
                  </a:lnTo>
                  <a:lnTo>
                    <a:pt x="1231" y="1022"/>
                  </a:lnTo>
                  <a:lnTo>
                    <a:pt x="1303" y="1350"/>
                  </a:lnTo>
                  <a:lnTo>
                    <a:pt x="1347" y="1680"/>
                  </a:lnTo>
                  <a:lnTo>
                    <a:pt x="1364" y="2011"/>
                  </a:lnTo>
                  <a:lnTo>
                    <a:pt x="1352" y="2344"/>
                  </a:lnTo>
                  <a:lnTo>
                    <a:pt x="1313" y="2674"/>
                  </a:lnTo>
                  <a:lnTo>
                    <a:pt x="1246" y="3003"/>
                  </a:lnTo>
                  <a:lnTo>
                    <a:pt x="1153" y="3327"/>
                  </a:lnTo>
                  <a:lnTo>
                    <a:pt x="1031" y="3646"/>
                  </a:lnTo>
                  <a:lnTo>
                    <a:pt x="884" y="3960"/>
                  </a:lnTo>
                  <a:lnTo>
                    <a:pt x="710" y="4266"/>
                  </a:lnTo>
                  <a:lnTo>
                    <a:pt x="511" y="4562"/>
                  </a:lnTo>
                  <a:lnTo>
                    <a:pt x="288" y="4850"/>
                  </a:lnTo>
                  <a:lnTo>
                    <a:pt x="42" y="5126"/>
                  </a:lnTo>
                  <a:lnTo>
                    <a:pt x="43" y="5132"/>
                  </a:lnTo>
                  <a:lnTo>
                    <a:pt x="14" y="5169"/>
                  </a:lnTo>
                  <a:lnTo>
                    <a:pt x="0" y="5210"/>
                  </a:lnTo>
                  <a:lnTo>
                    <a:pt x="3" y="5252"/>
                  </a:lnTo>
                  <a:lnTo>
                    <a:pt x="21" y="5293"/>
                  </a:lnTo>
                  <a:lnTo>
                    <a:pt x="52" y="5328"/>
                  </a:lnTo>
                  <a:lnTo>
                    <a:pt x="96" y="5355"/>
                  </a:lnTo>
                  <a:lnTo>
                    <a:pt x="148" y="5373"/>
                  </a:lnTo>
                  <a:lnTo>
                    <a:pt x="204" y="5379"/>
                  </a:lnTo>
                  <a:lnTo>
                    <a:pt x="263" y="5379"/>
                  </a:lnTo>
                  <a:lnTo>
                    <a:pt x="4061" y="5379"/>
                  </a:lnTo>
                  <a:lnTo>
                    <a:pt x="4061" y="0"/>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678" name="Freeform 1126">
              <a:extLst>
                <a:ext uri="{FF2B5EF4-FFF2-40B4-BE49-F238E27FC236}">
                  <a16:creationId xmlns:a16="http://schemas.microsoft.com/office/drawing/2014/main" id="{EB7AEDB7-145F-429C-97B5-705DF046CD5D}"/>
                </a:ext>
              </a:extLst>
            </p:cNvPr>
            <p:cNvSpPr>
              <a:spLocks noChangeAspect="1"/>
            </p:cNvSpPr>
            <p:nvPr/>
          </p:nvSpPr>
          <p:spPr bwMode="auto">
            <a:xfrm>
              <a:off x="7580313" y="2107566"/>
              <a:ext cx="684212" cy="1211263"/>
            </a:xfrm>
            <a:custGeom>
              <a:avLst/>
              <a:gdLst>
                <a:gd name="T0" fmla="*/ 4061 w 4061"/>
                <a:gd name="T1" fmla="*/ 0 h 5379"/>
                <a:gd name="T2" fmla="*/ 919 w 4061"/>
                <a:gd name="T3" fmla="*/ 0 h 5379"/>
                <a:gd name="T4" fmla="*/ 905 w 4061"/>
                <a:gd name="T5" fmla="*/ 5 h 5379"/>
                <a:gd name="T6" fmla="*/ 877 w 4061"/>
                <a:gd name="T7" fmla="*/ 11 h 5379"/>
                <a:gd name="T8" fmla="*/ 857 w 4061"/>
                <a:gd name="T9" fmla="*/ 26 h 5379"/>
                <a:gd name="T10" fmla="*/ 850 w 4061"/>
                <a:gd name="T11" fmla="*/ 41 h 5379"/>
                <a:gd name="T12" fmla="*/ 857 w 4061"/>
                <a:gd name="T13" fmla="*/ 67 h 5379"/>
                <a:gd name="T14" fmla="*/ 856 w 4061"/>
                <a:gd name="T15" fmla="*/ 68 h 5379"/>
                <a:gd name="T16" fmla="*/ 1007 w 4061"/>
                <a:gd name="T17" fmla="*/ 380 h 5379"/>
                <a:gd name="T18" fmla="*/ 1132 w 4061"/>
                <a:gd name="T19" fmla="*/ 699 h 5379"/>
                <a:gd name="T20" fmla="*/ 1231 w 4061"/>
                <a:gd name="T21" fmla="*/ 1022 h 5379"/>
                <a:gd name="T22" fmla="*/ 1303 w 4061"/>
                <a:gd name="T23" fmla="*/ 1350 h 5379"/>
                <a:gd name="T24" fmla="*/ 1347 w 4061"/>
                <a:gd name="T25" fmla="*/ 1680 h 5379"/>
                <a:gd name="T26" fmla="*/ 1364 w 4061"/>
                <a:gd name="T27" fmla="*/ 2011 h 5379"/>
                <a:gd name="T28" fmla="*/ 1352 w 4061"/>
                <a:gd name="T29" fmla="*/ 2344 h 5379"/>
                <a:gd name="T30" fmla="*/ 1313 w 4061"/>
                <a:gd name="T31" fmla="*/ 2674 h 5379"/>
                <a:gd name="T32" fmla="*/ 1246 w 4061"/>
                <a:gd name="T33" fmla="*/ 3003 h 5379"/>
                <a:gd name="T34" fmla="*/ 1153 w 4061"/>
                <a:gd name="T35" fmla="*/ 3327 h 5379"/>
                <a:gd name="T36" fmla="*/ 1031 w 4061"/>
                <a:gd name="T37" fmla="*/ 3646 h 5379"/>
                <a:gd name="T38" fmla="*/ 884 w 4061"/>
                <a:gd name="T39" fmla="*/ 3960 h 5379"/>
                <a:gd name="T40" fmla="*/ 710 w 4061"/>
                <a:gd name="T41" fmla="*/ 4266 h 5379"/>
                <a:gd name="T42" fmla="*/ 511 w 4061"/>
                <a:gd name="T43" fmla="*/ 4562 h 5379"/>
                <a:gd name="T44" fmla="*/ 288 w 4061"/>
                <a:gd name="T45" fmla="*/ 4850 h 5379"/>
                <a:gd name="T46" fmla="*/ 42 w 4061"/>
                <a:gd name="T47" fmla="*/ 5126 h 5379"/>
                <a:gd name="T48" fmla="*/ 43 w 4061"/>
                <a:gd name="T49" fmla="*/ 5132 h 5379"/>
                <a:gd name="T50" fmla="*/ 14 w 4061"/>
                <a:gd name="T51" fmla="*/ 5169 h 5379"/>
                <a:gd name="T52" fmla="*/ 0 w 4061"/>
                <a:gd name="T53" fmla="*/ 5210 h 5379"/>
                <a:gd name="T54" fmla="*/ 3 w 4061"/>
                <a:gd name="T55" fmla="*/ 5252 h 5379"/>
                <a:gd name="T56" fmla="*/ 21 w 4061"/>
                <a:gd name="T57" fmla="*/ 5293 h 5379"/>
                <a:gd name="T58" fmla="*/ 52 w 4061"/>
                <a:gd name="T59" fmla="*/ 5328 h 5379"/>
                <a:gd name="T60" fmla="*/ 96 w 4061"/>
                <a:gd name="T61" fmla="*/ 5355 h 5379"/>
                <a:gd name="T62" fmla="*/ 148 w 4061"/>
                <a:gd name="T63" fmla="*/ 5373 h 5379"/>
                <a:gd name="T64" fmla="*/ 204 w 4061"/>
                <a:gd name="T65" fmla="*/ 5379 h 5379"/>
                <a:gd name="T66" fmla="*/ 263 w 4061"/>
                <a:gd name="T67" fmla="*/ 5379 h 5379"/>
                <a:gd name="T68" fmla="*/ 4061 w 4061"/>
                <a:gd name="T69" fmla="*/ 5379 h 5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61" h="5379">
                  <a:moveTo>
                    <a:pt x="4061" y="0"/>
                  </a:moveTo>
                  <a:lnTo>
                    <a:pt x="919" y="0"/>
                  </a:lnTo>
                  <a:lnTo>
                    <a:pt x="905" y="5"/>
                  </a:lnTo>
                  <a:lnTo>
                    <a:pt x="877" y="11"/>
                  </a:lnTo>
                  <a:lnTo>
                    <a:pt x="857" y="26"/>
                  </a:lnTo>
                  <a:lnTo>
                    <a:pt x="850" y="41"/>
                  </a:lnTo>
                  <a:lnTo>
                    <a:pt x="857" y="67"/>
                  </a:lnTo>
                  <a:lnTo>
                    <a:pt x="856" y="68"/>
                  </a:lnTo>
                  <a:lnTo>
                    <a:pt x="1007" y="380"/>
                  </a:lnTo>
                  <a:lnTo>
                    <a:pt x="1132" y="699"/>
                  </a:lnTo>
                  <a:lnTo>
                    <a:pt x="1231" y="1022"/>
                  </a:lnTo>
                  <a:lnTo>
                    <a:pt x="1303" y="1350"/>
                  </a:lnTo>
                  <a:lnTo>
                    <a:pt x="1347" y="1680"/>
                  </a:lnTo>
                  <a:lnTo>
                    <a:pt x="1364" y="2011"/>
                  </a:lnTo>
                  <a:lnTo>
                    <a:pt x="1352" y="2344"/>
                  </a:lnTo>
                  <a:lnTo>
                    <a:pt x="1313" y="2674"/>
                  </a:lnTo>
                  <a:lnTo>
                    <a:pt x="1246" y="3003"/>
                  </a:lnTo>
                  <a:lnTo>
                    <a:pt x="1153" y="3327"/>
                  </a:lnTo>
                  <a:lnTo>
                    <a:pt x="1031" y="3646"/>
                  </a:lnTo>
                  <a:lnTo>
                    <a:pt x="884" y="3960"/>
                  </a:lnTo>
                  <a:lnTo>
                    <a:pt x="710" y="4266"/>
                  </a:lnTo>
                  <a:lnTo>
                    <a:pt x="511" y="4562"/>
                  </a:lnTo>
                  <a:lnTo>
                    <a:pt x="288" y="4850"/>
                  </a:lnTo>
                  <a:lnTo>
                    <a:pt x="42" y="5126"/>
                  </a:lnTo>
                  <a:lnTo>
                    <a:pt x="43" y="5132"/>
                  </a:lnTo>
                  <a:lnTo>
                    <a:pt x="14" y="5169"/>
                  </a:lnTo>
                  <a:lnTo>
                    <a:pt x="0" y="5210"/>
                  </a:lnTo>
                  <a:lnTo>
                    <a:pt x="3" y="5252"/>
                  </a:lnTo>
                  <a:lnTo>
                    <a:pt x="21" y="5293"/>
                  </a:lnTo>
                  <a:lnTo>
                    <a:pt x="52" y="5328"/>
                  </a:lnTo>
                  <a:lnTo>
                    <a:pt x="96" y="5355"/>
                  </a:lnTo>
                  <a:lnTo>
                    <a:pt x="148" y="5373"/>
                  </a:lnTo>
                  <a:lnTo>
                    <a:pt x="204" y="5379"/>
                  </a:lnTo>
                  <a:lnTo>
                    <a:pt x="263" y="5379"/>
                  </a:lnTo>
                  <a:lnTo>
                    <a:pt x="4061" y="537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679" name="Freeform 1127">
              <a:extLst>
                <a:ext uri="{FF2B5EF4-FFF2-40B4-BE49-F238E27FC236}">
                  <a16:creationId xmlns:a16="http://schemas.microsoft.com/office/drawing/2014/main" id="{19FD9B8E-E281-4F12-9941-32C257C02A74}"/>
                </a:ext>
              </a:extLst>
            </p:cNvPr>
            <p:cNvSpPr>
              <a:spLocks noChangeAspect="1"/>
            </p:cNvSpPr>
            <p:nvPr/>
          </p:nvSpPr>
          <p:spPr bwMode="auto">
            <a:xfrm>
              <a:off x="6362700" y="1188403"/>
              <a:ext cx="1811338" cy="3041650"/>
            </a:xfrm>
            <a:custGeom>
              <a:avLst/>
              <a:gdLst>
                <a:gd name="T0" fmla="*/ 10725 w 10725"/>
                <a:gd name="T1" fmla="*/ 6759 h 13518"/>
                <a:gd name="T2" fmla="*/ 10621 w 10725"/>
                <a:gd name="T3" fmla="*/ 5690 h 13518"/>
                <a:gd name="T4" fmla="*/ 10315 w 10725"/>
                <a:gd name="T5" fmla="*/ 4644 h 13518"/>
                <a:gd name="T6" fmla="*/ 9810 w 10725"/>
                <a:gd name="T7" fmla="*/ 3640 h 13518"/>
                <a:gd name="T8" fmla="*/ 9118 w 10725"/>
                <a:gd name="T9" fmla="*/ 2700 h 13518"/>
                <a:gd name="T10" fmla="*/ 8253 w 10725"/>
                <a:gd name="T11" fmla="*/ 1844 h 13518"/>
                <a:gd name="T12" fmla="*/ 7233 w 10725"/>
                <a:gd name="T13" fmla="*/ 1089 h 13518"/>
                <a:gd name="T14" fmla="*/ 6077 w 10725"/>
                <a:gd name="T15" fmla="*/ 451 h 13518"/>
                <a:gd name="T16" fmla="*/ 6077 w 10725"/>
                <a:gd name="T17" fmla="*/ 451 h 13518"/>
                <a:gd name="T18" fmla="*/ 5152 w 10725"/>
                <a:gd name="T19" fmla="*/ 130 h 13518"/>
                <a:gd name="T20" fmla="*/ 4148 w 10725"/>
                <a:gd name="T21" fmla="*/ 0 h 13518"/>
                <a:gd name="T22" fmla="*/ 3132 w 10725"/>
                <a:gd name="T23" fmla="*/ 67 h 13518"/>
                <a:gd name="T24" fmla="*/ 2173 w 10725"/>
                <a:gd name="T25" fmla="*/ 330 h 13518"/>
                <a:gd name="T26" fmla="*/ 1341 w 10725"/>
                <a:gd name="T27" fmla="*/ 769 h 13518"/>
                <a:gd name="T28" fmla="*/ 689 w 10725"/>
                <a:gd name="T29" fmla="*/ 1354 h 13518"/>
                <a:gd name="T30" fmla="*/ 264 w 10725"/>
                <a:gd name="T31" fmla="*/ 2045 h 13518"/>
                <a:gd name="T32" fmla="*/ 95 w 10725"/>
                <a:gd name="T33" fmla="*/ 2794 h 13518"/>
                <a:gd name="T34" fmla="*/ 94 w 10725"/>
                <a:gd name="T35" fmla="*/ 2796 h 13518"/>
                <a:gd name="T36" fmla="*/ 42 w 10725"/>
                <a:gd name="T37" fmla="*/ 4117 h 13518"/>
                <a:gd name="T38" fmla="*/ 11 w 10725"/>
                <a:gd name="T39" fmla="*/ 5438 h 13518"/>
                <a:gd name="T40" fmla="*/ 0 w 10725"/>
                <a:gd name="T41" fmla="*/ 6759 h 13518"/>
                <a:gd name="T42" fmla="*/ 11 w 10725"/>
                <a:gd name="T43" fmla="*/ 8080 h 13518"/>
                <a:gd name="T44" fmla="*/ 42 w 10725"/>
                <a:gd name="T45" fmla="*/ 9400 h 13518"/>
                <a:gd name="T46" fmla="*/ 94 w 10725"/>
                <a:gd name="T47" fmla="*/ 10721 h 13518"/>
                <a:gd name="T48" fmla="*/ 95 w 10725"/>
                <a:gd name="T49" fmla="*/ 10724 h 13518"/>
                <a:gd name="T50" fmla="*/ 264 w 10725"/>
                <a:gd name="T51" fmla="*/ 11473 h 13518"/>
                <a:gd name="T52" fmla="*/ 689 w 10725"/>
                <a:gd name="T53" fmla="*/ 12164 h 13518"/>
                <a:gd name="T54" fmla="*/ 1341 w 10725"/>
                <a:gd name="T55" fmla="*/ 12748 h 13518"/>
                <a:gd name="T56" fmla="*/ 2173 w 10725"/>
                <a:gd name="T57" fmla="*/ 13187 h 13518"/>
                <a:gd name="T58" fmla="*/ 3132 w 10725"/>
                <a:gd name="T59" fmla="*/ 13450 h 13518"/>
                <a:gd name="T60" fmla="*/ 4148 w 10725"/>
                <a:gd name="T61" fmla="*/ 13518 h 13518"/>
                <a:gd name="T62" fmla="*/ 5152 w 10725"/>
                <a:gd name="T63" fmla="*/ 13387 h 13518"/>
                <a:gd name="T64" fmla="*/ 6077 w 10725"/>
                <a:gd name="T65" fmla="*/ 13066 h 13518"/>
                <a:gd name="T66" fmla="*/ 6077 w 10725"/>
                <a:gd name="T67" fmla="*/ 13067 h 13518"/>
                <a:gd name="T68" fmla="*/ 7233 w 10725"/>
                <a:gd name="T69" fmla="*/ 12428 h 13518"/>
                <a:gd name="T70" fmla="*/ 8253 w 10725"/>
                <a:gd name="T71" fmla="*/ 11673 h 13518"/>
                <a:gd name="T72" fmla="*/ 9118 w 10725"/>
                <a:gd name="T73" fmla="*/ 10817 h 13518"/>
                <a:gd name="T74" fmla="*/ 9810 w 10725"/>
                <a:gd name="T75" fmla="*/ 9878 h 13518"/>
                <a:gd name="T76" fmla="*/ 10315 w 10725"/>
                <a:gd name="T77" fmla="*/ 8874 h 13518"/>
                <a:gd name="T78" fmla="*/ 10621 w 10725"/>
                <a:gd name="T79" fmla="*/ 7827 h 13518"/>
                <a:gd name="T80" fmla="*/ 10725 w 10725"/>
                <a:gd name="T81" fmla="*/ 6759 h 13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25" h="13518">
                  <a:moveTo>
                    <a:pt x="10725" y="6759"/>
                  </a:moveTo>
                  <a:lnTo>
                    <a:pt x="10621" y="5690"/>
                  </a:lnTo>
                  <a:lnTo>
                    <a:pt x="10315" y="4644"/>
                  </a:lnTo>
                  <a:lnTo>
                    <a:pt x="9810" y="3640"/>
                  </a:lnTo>
                  <a:lnTo>
                    <a:pt x="9118" y="2700"/>
                  </a:lnTo>
                  <a:lnTo>
                    <a:pt x="8253" y="1844"/>
                  </a:lnTo>
                  <a:lnTo>
                    <a:pt x="7233" y="1089"/>
                  </a:lnTo>
                  <a:lnTo>
                    <a:pt x="6077" y="451"/>
                  </a:lnTo>
                  <a:lnTo>
                    <a:pt x="6077" y="451"/>
                  </a:lnTo>
                  <a:lnTo>
                    <a:pt x="5152" y="130"/>
                  </a:lnTo>
                  <a:lnTo>
                    <a:pt x="4148" y="0"/>
                  </a:lnTo>
                  <a:lnTo>
                    <a:pt x="3132" y="67"/>
                  </a:lnTo>
                  <a:lnTo>
                    <a:pt x="2173" y="330"/>
                  </a:lnTo>
                  <a:lnTo>
                    <a:pt x="1341" y="769"/>
                  </a:lnTo>
                  <a:lnTo>
                    <a:pt x="689" y="1354"/>
                  </a:lnTo>
                  <a:lnTo>
                    <a:pt x="264" y="2045"/>
                  </a:lnTo>
                  <a:lnTo>
                    <a:pt x="95" y="2794"/>
                  </a:lnTo>
                  <a:lnTo>
                    <a:pt x="94" y="2796"/>
                  </a:lnTo>
                  <a:lnTo>
                    <a:pt x="42" y="4117"/>
                  </a:lnTo>
                  <a:lnTo>
                    <a:pt x="11" y="5438"/>
                  </a:lnTo>
                  <a:lnTo>
                    <a:pt x="0" y="6759"/>
                  </a:lnTo>
                  <a:lnTo>
                    <a:pt x="11" y="8080"/>
                  </a:lnTo>
                  <a:lnTo>
                    <a:pt x="42" y="9400"/>
                  </a:lnTo>
                  <a:lnTo>
                    <a:pt x="94" y="10721"/>
                  </a:lnTo>
                  <a:lnTo>
                    <a:pt x="95" y="10724"/>
                  </a:lnTo>
                  <a:lnTo>
                    <a:pt x="264" y="11473"/>
                  </a:lnTo>
                  <a:lnTo>
                    <a:pt x="689" y="12164"/>
                  </a:lnTo>
                  <a:lnTo>
                    <a:pt x="1341" y="12748"/>
                  </a:lnTo>
                  <a:lnTo>
                    <a:pt x="2173" y="13187"/>
                  </a:lnTo>
                  <a:lnTo>
                    <a:pt x="3132" y="13450"/>
                  </a:lnTo>
                  <a:lnTo>
                    <a:pt x="4148" y="13518"/>
                  </a:lnTo>
                  <a:lnTo>
                    <a:pt x="5152" y="13387"/>
                  </a:lnTo>
                  <a:lnTo>
                    <a:pt x="6077" y="13066"/>
                  </a:lnTo>
                  <a:lnTo>
                    <a:pt x="6077" y="13067"/>
                  </a:lnTo>
                  <a:lnTo>
                    <a:pt x="7233" y="12428"/>
                  </a:lnTo>
                  <a:lnTo>
                    <a:pt x="8253" y="11673"/>
                  </a:lnTo>
                  <a:lnTo>
                    <a:pt x="9118" y="10817"/>
                  </a:lnTo>
                  <a:lnTo>
                    <a:pt x="9810" y="9878"/>
                  </a:lnTo>
                  <a:lnTo>
                    <a:pt x="10315" y="8874"/>
                  </a:lnTo>
                  <a:lnTo>
                    <a:pt x="10621" y="7827"/>
                  </a:lnTo>
                  <a:lnTo>
                    <a:pt x="10725" y="675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680" name="Freeform 1128">
              <a:extLst>
                <a:ext uri="{FF2B5EF4-FFF2-40B4-BE49-F238E27FC236}">
                  <a16:creationId xmlns:a16="http://schemas.microsoft.com/office/drawing/2014/main" id="{DC749D36-5C14-414A-922A-048DC3E8D763}"/>
                </a:ext>
              </a:extLst>
            </p:cNvPr>
            <p:cNvSpPr>
              <a:spLocks noChangeAspect="1"/>
            </p:cNvSpPr>
            <p:nvPr/>
          </p:nvSpPr>
          <p:spPr bwMode="auto">
            <a:xfrm>
              <a:off x="6554788" y="3463290"/>
              <a:ext cx="80962" cy="96838"/>
            </a:xfrm>
            <a:custGeom>
              <a:avLst/>
              <a:gdLst>
                <a:gd name="T0" fmla="*/ 146 w 480"/>
                <a:gd name="T1" fmla="*/ 0 h 438"/>
                <a:gd name="T2" fmla="*/ 163 w 480"/>
                <a:gd name="T3" fmla="*/ 3 h 438"/>
                <a:gd name="T4" fmla="*/ 178 w 480"/>
                <a:gd name="T5" fmla="*/ 9 h 438"/>
                <a:gd name="T6" fmla="*/ 191 w 480"/>
                <a:gd name="T7" fmla="*/ 18 h 438"/>
                <a:gd name="T8" fmla="*/ 477 w 480"/>
                <a:gd name="T9" fmla="*/ 347 h 438"/>
                <a:gd name="T10" fmla="*/ 480 w 480"/>
                <a:gd name="T11" fmla="*/ 352 h 438"/>
                <a:gd name="T12" fmla="*/ 480 w 480"/>
                <a:gd name="T13" fmla="*/ 358 h 438"/>
                <a:gd name="T14" fmla="*/ 478 w 480"/>
                <a:gd name="T15" fmla="*/ 363 h 438"/>
                <a:gd name="T16" fmla="*/ 472 w 480"/>
                <a:gd name="T17" fmla="*/ 367 h 438"/>
                <a:gd name="T18" fmla="*/ 326 w 480"/>
                <a:gd name="T19" fmla="*/ 438 h 438"/>
                <a:gd name="T20" fmla="*/ 0 w 480"/>
                <a:gd name="T21" fmla="*/ 58 h 438"/>
                <a:gd name="T22" fmla="*/ 128 w 480"/>
                <a:gd name="T23" fmla="*/ 0 h 438"/>
                <a:gd name="T24" fmla="*/ 146 w 480"/>
                <a:gd name="T25"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438">
                  <a:moveTo>
                    <a:pt x="146" y="0"/>
                  </a:moveTo>
                  <a:lnTo>
                    <a:pt x="163" y="3"/>
                  </a:lnTo>
                  <a:lnTo>
                    <a:pt x="178" y="9"/>
                  </a:lnTo>
                  <a:lnTo>
                    <a:pt x="191" y="18"/>
                  </a:lnTo>
                  <a:lnTo>
                    <a:pt x="477" y="347"/>
                  </a:lnTo>
                  <a:lnTo>
                    <a:pt x="480" y="352"/>
                  </a:lnTo>
                  <a:lnTo>
                    <a:pt x="480" y="358"/>
                  </a:lnTo>
                  <a:lnTo>
                    <a:pt x="478" y="363"/>
                  </a:lnTo>
                  <a:lnTo>
                    <a:pt x="472" y="367"/>
                  </a:lnTo>
                  <a:lnTo>
                    <a:pt x="326" y="438"/>
                  </a:lnTo>
                  <a:lnTo>
                    <a:pt x="0" y="58"/>
                  </a:lnTo>
                  <a:lnTo>
                    <a:pt x="128" y="0"/>
                  </a:lnTo>
                  <a:lnTo>
                    <a:pt x="146" y="0"/>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681" name="Freeform 1129">
              <a:extLst>
                <a:ext uri="{FF2B5EF4-FFF2-40B4-BE49-F238E27FC236}">
                  <a16:creationId xmlns:a16="http://schemas.microsoft.com/office/drawing/2014/main" id="{272E09F8-E26C-44D4-BA56-7A6FCBD3D32E}"/>
                </a:ext>
              </a:extLst>
            </p:cNvPr>
            <p:cNvSpPr>
              <a:spLocks noChangeAspect="1"/>
            </p:cNvSpPr>
            <p:nvPr/>
          </p:nvSpPr>
          <p:spPr bwMode="auto">
            <a:xfrm>
              <a:off x="6554788" y="3463290"/>
              <a:ext cx="80962" cy="96838"/>
            </a:xfrm>
            <a:custGeom>
              <a:avLst/>
              <a:gdLst>
                <a:gd name="T0" fmla="*/ 146 w 480"/>
                <a:gd name="T1" fmla="*/ 0 h 438"/>
                <a:gd name="T2" fmla="*/ 163 w 480"/>
                <a:gd name="T3" fmla="*/ 3 h 438"/>
                <a:gd name="T4" fmla="*/ 178 w 480"/>
                <a:gd name="T5" fmla="*/ 9 h 438"/>
                <a:gd name="T6" fmla="*/ 191 w 480"/>
                <a:gd name="T7" fmla="*/ 18 h 438"/>
                <a:gd name="T8" fmla="*/ 477 w 480"/>
                <a:gd name="T9" fmla="*/ 347 h 438"/>
                <a:gd name="T10" fmla="*/ 480 w 480"/>
                <a:gd name="T11" fmla="*/ 352 h 438"/>
                <a:gd name="T12" fmla="*/ 480 w 480"/>
                <a:gd name="T13" fmla="*/ 358 h 438"/>
                <a:gd name="T14" fmla="*/ 478 w 480"/>
                <a:gd name="T15" fmla="*/ 363 h 438"/>
                <a:gd name="T16" fmla="*/ 472 w 480"/>
                <a:gd name="T17" fmla="*/ 367 h 438"/>
                <a:gd name="T18" fmla="*/ 326 w 480"/>
                <a:gd name="T19" fmla="*/ 438 h 438"/>
                <a:gd name="T20" fmla="*/ 0 w 480"/>
                <a:gd name="T21" fmla="*/ 58 h 438"/>
                <a:gd name="T22" fmla="*/ 128 w 480"/>
                <a:gd name="T23" fmla="*/ 0 h 438"/>
                <a:gd name="T24" fmla="*/ 146 w 480"/>
                <a:gd name="T25"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438">
                  <a:moveTo>
                    <a:pt x="146" y="0"/>
                  </a:moveTo>
                  <a:lnTo>
                    <a:pt x="163" y="3"/>
                  </a:lnTo>
                  <a:lnTo>
                    <a:pt x="178" y="9"/>
                  </a:lnTo>
                  <a:lnTo>
                    <a:pt x="191" y="18"/>
                  </a:lnTo>
                  <a:lnTo>
                    <a:pt x="477" y="347"/>
                  </a:lnTo>
                  <a:lnTo>
                    <a:pt x="480" y="352"/>
                  </a:lnTo>
                  <a:lnTo>
                    <a:pt x="480" y="358"/>
                  </a:lnTo>
                  <a:lnTo>
                    <a:pt x="478" y="363"/>
                  </a:lnTo>
                  <a:lnTo>
                    <a:pt x="472" y="367"/>
                  </a:lnTo>
                  <a:lnTo>
                    <a:pt x="326" y="438"/>
                  </a:lnTo>
                  <a:lnTo>
                    <a:pt x="0" y="58"/>
                  </a:lnTo>
                  <a:lnTo>
                    <a:pt x="128" y="0"/>
                  </a:lnTo>
                  <a:lnTo>
                    <a:pt x="146" y="0"/>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682" name="Freeform 1130">
              <a:extLst>
                <a:ext uri="{FF2B5EF4-FFF2-40B4-BE49-F238E27FC236}">
                  <a16:creationId xmlns:a16="http://schemas.microsoft.com/office/drawing/2014/main" id="{1C5C2A31-A863-4015-9E56-F38BE3066A04}"/>
                </a:ext>
              </a:extLst>
            </p:cNvPr>
            <p:cNvSpPr>
              <a:spLocks noChangeAspect="1"/>
            </p:cNvSpPr>
            <p:nvPr/>
          </p:nvSpPr>
          <p:spPr bwMode="auto">
            <a:xfrm>
              <a:off x="6608764" y="3544253"/>
              <a:ext cx="96837" cy="107950"/>
            </a:xfrm>
            <a:custGeom>
              <a:avLst/>
              <a:gdLst>
                <a:gd name="T0" fmla="*/ 153 w 560"/>
                <a:gd name="T1" fmla="*/ 0 h 480"/>
                <a:gd name="T2" fmla="*/ 161 w 560"/>
                <a:gd name="T3" fmla="*/ 1 h 480"/>
                <a:gd name="T4" fmla="*/ 168 w 560"/>
                <a:gd name="T5" fmla="*/ 3 h 480"/>
                <a:gd name="T6" fmla="*/ 172 w 560"/>
                <a:gd name="T7" fmla="*/ 7 h 480"/>
                <a:gd name="T8" fmla="*/ 559 w 560"/>
                <a:gd name="T9" fmla="*/ 458 h 480"/>
                <a:gd name="T10" fmla="*/ 560 w 560"/>
                <a:gd name="T11" fmla="*/ 472 h 480"/>
                <a:gd name="T12" fmla="*/ 542 w 560"/>
                <a:gd name="T13" fmla="*/ 480 h 480"/>
                <a:gd name="T14" fmla="*/ 350 w 560"/>
                <a:gd name="T15" fmla="*/ 480 h 480"/>
                <a:gd name="T16" fmla="*/ 0 w 560"/>
                <a:gd name="T17" fmla="*/ 72 h 480"/>
                <a:gd name="T18" fmla="*/ 146 w 560"/>
                <a:gd name="T19" fmla="*/ 2 h 480"/>
                <a:gd name="T20" fmla="*/ 153 w 560"/>
                <a:gd name="T2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0" h="480">
                  <a:moveTo>
                    <a:pt x="153" y="0"/>
                  </a:moveTo>
                  <a:lnTo>
                    <a:pt x="161" y="1"/>
                  </a:lnTo>
                  <a:lnTo>
                    <a:pt x="168" y="3"/>
                  </a:lnTo>
                  <a:lnTo>
                    <a:pt x="172" y="7"/>
                  </a:lnTo>
                  <a:lnTo>
                    <a:pt x="559" y="458"/>
                  </a:lnTo>
                  <a:lnTo>
                    <a:pt x="560" y="472"/>
                  </a:lnTo>
                  <a:lnTo>
                    <a:pt x="542" y="480"/>
                  </a:lnTo>
                  <a:lnTo>
                    <a:pt x="350" y="480"/>
                  </a:lnTo>
                  <a:lnTo>
                    <a:pt x="0" y="72"/>
                  </a:lnTo>
                  <a:lnTo>
                    <a:pt x="146" y="2"/>
                  </a:lnTo>
                  <a:lnTo>
                    <a:pt x="153" y="0"/>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683" name="Freeform 1131">
              <a:extLst>
                <a:ext uri="{FF2B5EF4-FFF2-40B4-BE49-F238E27FC236}">
                  <a16:creationId xmlns:a16="http://schemas.microsoft.com/office/drawing/2014/main" id="{BCBD64BC-2462-4940-AC4A-B91438179F8A}"/>
                </a:ext>
              </a:extLst>
            </p:cNvPr>
            <p:cNvSpPr>
              <a:spLocks noChangeAspect="1"/>
            </p:cNvSpPr>
            <p:nvPr/>
          </p:nvSpPr>
          <p:spPr bwMode="auto">
            <a:xfrm>
              <a:off x="6608764" y="3544253"/>
              <a:ext cx="96837" cy="107950"/>
            </a:xfrm>
            <a:custGeom>
              <a:avLst/>
              <a:gdLst>
                <a:gd name="T0" fmla="*/ 153 w 560"/>
                <a:gd name="T1" fmla="*/ 0 h 480"/>
                <a:gd name="T2" fmla="*/ 161 w 560"/>
                <a:gd name="T3" fmla="*/ 1 h 480"/>
                <a:gd name="T4" fmla="*/ 168 w 560"/>
                <a:gd name="T5" fmla="*/ 3 h 480"/>
                <a:gd name="T6" fmla="*/ 172 w 560"/>
                <a:gd name="T7" fmla="*/ 7 h 480"/>
                <a:gd name="T8" fmla="*/ 559 w 560"/>
                <a:gd name="T9" fmla="*/ 458 h 480"/>
                <a:gd name="T10" fmla="*/ 560 w 560"/>
                <a:gd name="T11" fmla="*/ 472 h 480"/>
                <a:gd name="T12" fmla="*/ 542 w 560"/>
                <a:gd name="T13" fmla="*/ 480 h 480"/>
                <a:gd name="T14" fmla="*/ 350 w 560"/>
                <a:gd name="T15" fmla="*/ 480 h 480"/>
                <a:gd name="T16" fmla="*/ 0 w 560"/>
                <a:gd name="T17" fmla="*/ 72 h 480"/>
                <a:gd name="T18" fmla="*/ 146 w 560"/>
                <a:gd name="T19" fmla="*/ 2 h 480"/>
                <a:gd name="T20" fmla="*/ 153 w 560"/>
                <a:gd name="T2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0" h="480">
                  <a:moveTo>
                    <a:pt x="153" y="0"/>
                  </a:moveTo>
                  <a:lnTo>
                    <a:pt x="161" y="1"/>
                  </a:lnTo>
                  <a:lnTo>
                    <a:pt x="168" y="3"/>
                  </a:lnTo>
                  <a:lnTo>
                    <a:pt x="172" y="7"/>
                  </a:lnTo>
                  <a:lnTo>
                    <a:pt x="559" y="458"/>
                  </a:lnTo>
                  <a:lnTo>
                    <a:pt x="560" y="472"/>
                  </a:lnTo>
                  <a:lnTo>
                    <a:pt x="542" y="480"/>
                  </a:lnTo>
                  <a:lnTo>
                    <a:pt x="350" y="480"/>
                  </a:lnTo>
                  <a:lnTo>
                    <a:pt x="0" y="72"/>
                  </a:lnTo>
                  <a:lnTo>
                    <a:pt x="146" y="2"/>
                  </a:lnTo>
                  <a:lnTo>
                    <a:pt x="153" y="0"/>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684" name="Freeform 1132">
              <a:extLst>
                <a:ext uri="{FF2B5EF4-FFF2-40B4-BE49-F238E27FC236}">
                  <a16:creationId xmlns:a16="http://schemas.microsoft.com/office/drawing/2014/main" id="{38C853D3-7B9E-49A7-B751-09B83F9BBE1B}"/>
                </a:ext>
              </a:extLst>
            </p:cNvPr>
            <p:cNvSpPr>
              <a:spLocks noChangeAspect="1"/>
            </p:cNvSpPr>
            <p:nvPr/>
          </p:nvSpPr>
          <p:spPr bwMode="auto">
            <a:xfrm>
              <a:off x="6680200" y="3653791"/>
              <a:ext cx="71438" cy="176213"/>
            </a:xfrm>
            <a:custGeom>
              <a:avLst/>
              <a:gdLst>
                <a:gd name="T0" fmla="*/ 155 w 418"/>
                <a:gd name="T1" fmla="*/ 6 h 781"/>
                <a:gd name="T2" fmla="*/ 157 w 418"/>
                <a:gd name="T3" fmla="*/ 7 h 781"/>
                <a:gd name="T4" fmla="*/ 158 w 418"/>
                <a:gd name="T5" fmla="*/ 9 h 781"/>
                <a:gd name="T6" fmla="*/ 161 w 418"/>
                <a:gd name="T7" fmla="*/ 10 h 781"/>
                <a:gd name="T8" fmla="*/ 162 w 418"/>
                <a:gd name="T9" fmla="*/ 11 h 781"/>
                <a:gd name="T10" fmla="*/ 220 w 418"/>
                <a:gd name="T11" fmla="*/ 87 h 781"/>
                <a:gd name="T12" fmla="*/ 273 w 418"/>
                <a:gd name="T13" fmla="*/ 165 h 781"/>
                <a:gd name="T14" fmla="*/ 317 w 418"/>
                <a:gd name="T15" fmla="*/ 245 h 781"/>
                <a:gd name="T16" fmla="*/ 354 w 418"/>
                <a:gd name="T17" fmla="*/ 327 h 781"/>
                <a:gd name="T18" fmla="*/ 382 w 418"/>
                <a:gd name="T19" fmla="*/ 411 h 781"/>
                <a:gd name="T20" fmla="*/ 403 w 418"/>
                <a:gd name="T21" fmla="*/ 497 h 781"/>
                <a:gd name="T22" fmla="*/ 415 w 418"/>
                <a:gd name="T23" fmla="*/ 583 h 781"/>
                <a:gd name="T24" fmla="*/ 418 w 418"/>
                <a:gd name="T25" fmla="*/ 670 h 781"/>
                <a:gd name="T26" fmla="*/ 415 w 418"/>
                <a:gd name="T27" fmla="*/ 757 h 781"/>
                <a:gd name="T28" fmla="*/ 414 w 418"/>
                <a:gd name="T29" fmla="*/ 762 h 781"/>
                <a:gd name="T30" fmla="*/ 410 w 418"/>
                <a:gd name="T31" fmla="*/ 767 h 781"/>
                <a:gd name="T32" fmla="*/ 407 w 418"/>
                <a:gd name="T33" fmla="*/ 771 h 781"/>
                <a:gd name="T34" fmla="*/ 404 w 418"/>
                <a:gd name="T35" fmla="*/ 773 h 781"/>
                <a:gd name="T36" fmla="*/ 398 w 418"/>
                <a:gd name="T37" fmla="*/ 776 h 781"/>
                <a:gd name="T38" fmla="*/ 392 w 418"/>
                <a:gd name="T39" fmla="*/ 778 h 781"/>
                <a:gd name="T40" fmla="*/ 387 w 418"/>
                <a:gd name="T41" fmla="*/ 781 h 781"/>
                <a:gd name="T42" fmla="*/ 380 w 418"/>
                <a:gd name="T43" fmla="*/ 781 h 781"/>
                <a:gd name="T44" fmla="*/ 0 w 418"/>
                <a:gd name="T45" fmla="*/ 781 h 781"/>
                <a:gd name="T46" fmla="*/ 0 w 418"/>
                <a:gd name="T47" fmla="*/ 0 h 781"/>
                <a:gd name="T48" fmla="*/ 131 w 418"/>
                <a:gd name="T49" fmla="*/ 0 h 781"/>
                <a:gd name="T50" fmla="*/ 135 w 418"/>
                <a:gd name="T51" fmla="*/ 0 h 781"/>
                <a:gd name="T52" fmla="*/ 139 w 418"/>
                <a:gd name="T53" fmla="*/ 0 h 781"/>
                <a:gd name="T54" fmla="*/ 143 w 418"/>
                <a:gd name="T55" fmla="*/ 1 h 781"/>
                <a:gd name="T56" fmla="*/ 146 w 418"/>
                <a:gd name="T57" fmla="*/ 2 h 781"/>
                <a:gd name="T58" fmla="*/ 148 w 418"/>
                <a:gd name="T59" fmla="*/ 2 h 781"/>
                <a:gd name="T60" fmla="*/ 149 w 418"/>
                <a:gd name="T61" fmla="*/ 3 h 781"/>
                <a:gd name="T62" fmla="*/ 152 w 418"/>
                <a:gd name="T63" fmla="*/ 4 h 781"/>
                <a:gd name="T64" fmla="*/ 154 w 418"/>
                <a:gd name="T65" fmla="*/ 5 h 781"/>
                <a:gd name="T66" fmla="*/ 155 w 418"/>
                <a:gd name="T67" fmla="*/ 6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8" h="781">
                  <a:moveTo>
                    <a:pt x="155" y="6"/>
                  </a:moveTo>
                  <a:lnTo>
                    <a:pt x="157" y="7"/>
                  </a:lnTo>
                  <a:lnTo>
                    <a:pt x="158" y="9"/>
                  </a:lnTo>
                  <a:lnTo>
                    <a:pt x="161" y="10"/>
                  </a:lnTo>
                  <a:lnTo>
                    <a:pt x="162" y="11"/>
                  </a:lnTo>
                  <a:lnTo>
                    <a:pt x="220" y="87"/>
                  </a:lnTo>
                  <a:lnTo>
                    <a:pt x="273" y="165"/>
                  </a:lnTo>
                  <a:lnTo>
                    <a:pt x="317" y="245"/>
                  </a:lnTo>
                  <a:lnTo>
                    <a:pt x="354" y="327"/>
                  </a:lnTo>
                  <a:lnTo>
                    <a:pt x="382" y="411"/>
                  </a:lnTo>
                  <a:lnTo>
                    <a:pt x="403" y="497"/>
                  </a:lnTo>
                  <a:lnTo>
                    <a:pt x="415" y="583"/>
                  </a:lnTo>
                  <a:lnTo>
                    <a:pt x="418" y="670"/>
                  </a:lnTo>
                  <a:lnTo>
                    <a:pt x="415" y="757"/>
                  </a:lnTo>
                  <a:lnTo>
                    <a:pt x="414" y="762"/>
                  </a:lnTo>
                  <a:lnTo>
                    <a:pt x="410" y="767"/>
                  </a:lnTo>
                  <a:lnTo>
                    <a:pt x="407" y="771"/>
                  </a:lnTo>
                  <a:lnTo>
                    <a:pt x="404" y="773"/>
                  </a:lnTo>
                  <a:lnTo>
                    <a:pt x="398" y="776"/>
                  </a:lnTo>
                  <a:lnTo>
                    <a:pt x="392" y="778"/>
                  </a:lnTo>
                  <a:lnTo>
                    <a:pt x="387" y="781"/>
                  </a:lnTo>
                  <a:lnTo>
                    <a:pt x="380" y="781"/>
                  </a:lnTo>
                  <a:lnTo>
                    <a:pt x="0" y="781"/>
                  </a:lnTo>
                  <a:lnTo>
                    <a:pt x="0" y="0"/>
                  </a:lnTo>
                  <a:lnTo>
                    <a:pt x="131" y="0"/>
                  </a:lnTo>
                  <a:lnTo>
                    <a:pt x="135" y="0"/>
                  </a:lnTo>
                  <a:lnTo>
                    <a:pt x="139" y="0"/>
                  </a:lnTo>
                  <a:lnTo>
                    <a:pt x="143" y="1"/>
                  </a:lnTo>
                  <a:lnTo>
                    <a:pt x="146" y="2"/>
                  </a:lnTo>
                  <a:lnTo>
                    <a:pt x="148" y="2"/>
                  </a:lnTo>
                  <a:lnTo>
                    <a:pt x="149" y="3"/>
                  </a:lnTo>
                  <a:lnTo>
                    <a:pt x="152" y="4"/>
                  </a:lnTo>
                  <a:lnTo>
                    <a:pt x="154" y="5"/>
                  </a:lnTo>
                  <a:lnTo>
                    <a:pt x="155" y="6"/>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685" name="Freeform 1133">
              <a:extLst>
                <a:ext uri="{FF2B5EF4-FFF2-40B4-BE49-F238E27FC236}">
                  <a16:creationId xmlns:a16="http://schemas.microsoft.com/office/drawing/2014/main" id="{22CDB6B5-4770-46F0-BF21-16A84860BF8B}"/>
                </a:ext>
              </a:extLst>
            </p:cNvPr>
            <p:cNvSpPr>
              <a:spLocks noChangeAspect="1"/>
            </p:cNvSpPr>
            <p:nvPr/>
          </p:nvSpPr>
          <p:spPr bwMode="auto">
            <a:xfrm>
              <a:off x="6680200" y="3653791"/>
              <a:ext cx="71438" cy="176213"/>
            </a:xfrm>
            <a:custGeom>
              <a:avLst/>
              <a:gdLst>
                <a:gd name="T0" fmla="*/ 155 w 418"/>
                <a:gd name="T1" fmla="*/ 6 h 781"/>
                <a:gd name="T2" fmla="*/ 157 w 418"/>
                <a:gd name="T3" fmla="*/ 7 h 781"/>
                <a:gd name="T4" fmla="*/ 158 w 418"/>
                <a:gd name="T5" fmla="*/ 9 h 781"/>
                <a:gd name="T6" fmla="*/ 161 w 418"/>
                <a:gd name="T7" fmla="*/ 10 h 781"/>
                <a:gd name="T8" fmla="*/ 162 w 418"/>
                <a:gd name="T9" fmla="*/ 11 h 781"/>
                <a:gd name="T10" fmla="*/ 220 w 418"/>
                <a:gd name="T11" fmla="*/ 87 h 781"/>
                <a:gd name="T12" fmla="*/ 273 w 418"/>
                <a:gd name="T13" fmla="*/ 165 h 781"/>
                <a:gd name="T14" fmla="*/ 317 w 418"/>
                <a:gd name="T15" fmla="*/ 245 h 781"/>
                <a:gd name="T16" fmla="*/ 354 w 418"/>
                <a:gd name="T17" fmla="*/ 327 h 781"/>
                <a:gd name="T18" fmla="*/ 382 w 418"/>
                <a:gd name="T19" fmla="*/ 411 h 781"/>
                <a:gd name="T20" fmla="*/ 403 w 418"/>
                <a:gd name="T21" fmla="*/ 497 h 781"/>
                <a:gd name="T22" fmla="*/ 415 w 418"/>
                <a:gd name="T23" fmla="*/ 583 h 781"/>
                <a:gd name="T24" fmla="*/ 418 w 418"/>
                <a:gd name="T25" fmla="*/ 670 h 781"/>
                <a:gd name="T26" fmla="*/ 415 w 418"/>
                <a:gd name="T27" fmla="*/ 757 h 781"/>
                <a:gd name="T28" fmla="*/ 414 w 418"/>
                <a:gd name="T29" fmla="*/ 762 h 781"/>
                <a:gd name="T30" fmla="*/ 410 w 418"/>
                <a:gd name="T31" fmla="*/ 767 h 781"/>
                <a:gd name="T32" fmla="*/ 407 w 418"/>
                <a:gd name="T33" fmla="*/ 771 h 781"/>
                <a:gd name="T34" fmla="*/ 404 w 418"/>
                <a:gd name="T35" fmla="*/ 773 h 781"/>
                <a:gd name="T36" fmla="*/ 398 w 418"/>
                <a:gd name="T37" fmla="*/ 776 h 781"/>
                <a:gd name="T38" fmla="*/ 392 w 418"/>
                <a:gd name="T39" fmla="*/ 778 h 781"/>
                <a:gd name="T40" fmla="*/ 387 w 418"/>
                <a:gd name="T41" fmla="*/ 781 h 781"/>
                <a:gd name="T42" fmla="*/ 380 w 418"/>
                <a:gd name="T43" fmla="*/ 781 h 781"/>
                <a:gd name="T44" fmla="*/ 0 w 418"/>
                <a:gd name="T45" fmla="*/ 781 h 781"/>
                <a:gd name="T46" fmla="*/ 0 w 418"/>
                <a:gd name="T47" fmla="*/ 0 h 781"/>
                <a:gd name="T48" fmla="*/ 131 w 418"/>
                <a:gd name="T49" fmla="*/ 0 h 781"/>
                <a:gd name="T50" fmla="*/ 135 w 418"/>
                <a:gd name="T51" fmla="*/ 0 h 781"/>
                <a:gd name="T52" fmla="*/ 139 w 418"/>
                <a:gd name="T53" fmla="*/ 0 h 781"/>
                <a:gd name="T54" fmla="*/ 143 w 418"/>
                <a:gd name="T55" fmla="*/ 1 h 781"/>
                <a:gd name="T56" fmla="*/ 146 w 418"/>
                <a:gd name="T57" fmla="*/ 2 h 781"/>
                <a:gd name="T58" fmla="*/ 148 w 418"/>
                <a:gd name="T59" fmla="*/ 2 h 781"/>
                <a:gd name="T60" fmla="*/ 149 w 418"/>
                <a:gd name="T61" fmla="*/ 3 h 781"/>
                <a:gd name="T62" fmla="*/ 152 w 418"/>
                <a:gd name="T63" fmla="*/ 4 h 781"/>
                <a:gd name="T64" fmla="*/ 154 w 418"/>
                <a:gd name="T65" fmla="*/ 5 h 781"/>
                <a:gd name="T66" fmla="*/ 155 w 418"/>
                <a:gd name="T67" fmla="*/ 6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8" h="781">
                  <a:moveTo>
                    <a:pt x="155" y="6"/>
                  </a:moveTo>
                  <a:lnTo>
                    <a:pt x="157" y="7"/>
                  </a:lnTo>
                  <a:lnTo>
                    <a:pt x="158" y="9"/>
                  </a:lnTo>
                  <a:lnTo>
                    <a:pt x="161" y="10"/>
                  </a:lnTo>
                  <a:lnTo>
                    <a:pt x="162" y="11"/>
                  </a:lnTo>
                  <a:lnTo>
                    <a:pt x="220" y="87"/>
                  </a:lnTo>
                  <a:lnTo>
                    <a:pt x="273" y="165"/>
                  </a:lnTo>
                  <a:lnTo>
                    <a:pt x="317" y="245"/>
                  </a:lnTo>
                  <a:lnTo>
                    <a:pt x="354" y="327"/>
                  </a:lnTo>
                  <a:lnTo>
                    <a:pt x="382" y="411"/>
                  </a:lnTo>
                  <a:lnTo>
                    <a:pt x="403" y="497"/>
                  </a:lnTo>
                  <a:lnTo>
                    <a:pt x="415" y="583"/>
                  </a:lnTo>
                  <a:lnTo>
                    <a:pt x="418" y="670"/>
                  </a:lnTo>
                  <a:lnTo>
                    <a:pt x="415" y="757"/>
                  </a:lnTo>
                  <a:lnTo>
                    <a:pt x="414" y="762"/>
                  </a:lnTo>
                  <a:lnTo>
                    <a:pt x="410" y="767"/>
                  </a:lnTo>
                  <a:lnTo>
                    <a:pt x="407" y="771"/>
                  </a:lnTo>
                  <a:lnTo>
                    <a:pt x="404" y="773"/>
                  </a:lnTo>
                  <a:lnTo>
                    <a:pt x="398" y="776"/>
                  </a:lnTo>
                  <a:lnTo>
                    <a:pt x="392" y="778"/>
                  </a:lnTo>
                  <a:lnTo>
                    <a:pt x="387" y="781"/>
                  </a:lnTo>
                  <a:lnTo>
                    <a:pt x="380" y="781"/>
                  </a:lnTo>
                  <a:lnTo>
                    <a:pt x="0" y="781"/>
                  </a:lnTo>
                  <a:lnTo>
                    <a:pt x="0" y="0"/>
                  </a:lnTo>
                  <a:lnTo>
                    <a:pt x="131" y="0"/>
                  </a:lnTo>
                  <a:lnTo>
                    <a:pt x="135" y="0"/>
                  </a:lnTo>
                  <a:lnTo>
                    <a:pt x="139" y="0"/>
                  </a:lnTo>
                  <a:lnTo>
                    <a:pt x="143" y="1"/>
                  </a:lnTo>
                  <a:lnTo>
                    <a:pt x="146" y="2"/>
                  </a:lnTo>
                  <a:lnTo>
                    <a:pt x="148" y="2"/>
                  </a:lnTo>
                  <a:lnTo>
                    <a:pt x="149" y="3"/>
                  </a:lnTo>
                  <a:lnTo>
                    <a:pt x="152" y="4"/>
                  </a:lnTo>
                  <a:lnTo>
                    <a:pt x="154" y="5"/>
                  </a:lnTo>
                  <a:lnTo>
                    <a:pt x="155" y="6"/>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686" name="Freeform 1134">
              <a:extLst>
                <a:ext uri="{FF2B5EF4-FFF2-40B4-BE49-F238E27FC236}">
                  <a16:creationId xmlns:a16="http://schemas.microsoft.com/office/drawing/2014/main" id="{E68ED1A0-0168-4C46-A0D5-C02F60504AE4}"/>
                </a:ext>
              </a:extLst>
            </p:cNvPr>
            <p:cNvSpPr>
              <a:spLocks noChangeAspect="1"/>
            </p:cNvSpPr>
            <p:nvPr/>
          </p:nvSpPr>
          <p:spPr bwMode="auto">
            <a:xfrm>
              <a:off x="6651625" y="3831591"/>
              <a:ext cx="95250" cy="180975"/>
            </a:xfrm>
            <a:custGeom>
              <a:avLst/>
              <a:gdLst>
                <a:gd name="T0" fmla="*/ 545 w 563"/>
                <a:gd name="T1" fmla="*/ 3 h 802"/>
                <a:gd name="T2" fmla="*/ 557 w 563"/>
                <a:gd name="T3" fmla="*/ 10 h 802"/>
                <a:gd name="T4" fmla="*/ 563 w 563"/>
                <a:gd name="T5" fmla="*/ 21 h 802"/>
                <a:gd name="T6" fmla="*/ 562 w 563"/>
                <a:gd name="T7" fmla="*/ 33 h 802"/>
                <a:gd name="T8" fmla="*/ 241 w 563"/>
                <a:gd name="T9" fmla="*/ 727 h 802"/>
                <a:gd name="T10" fmla="*/ 238 w 563"/>
                <a:gd name="T11" fmla="*/ 732 h 802"/>
                <a:gd name="T12" fmla="*/ 232 w 563"/>
                <a:gd name="T13" fmla="*/ 735 h 802"/>
                <a:gd name="T14" fmla="*/ 226 w 563"/>
                <a:gd name="T15" fmla="*/ 736 h 802"/>
                <a:gd name="T16" fmla="*/ 219 w 563"/>
                <a:gd name="T17" fmla="*/ 735 h 802"/>
                <a:gd name="T18" fmla="*/ 216 w 563"/>
                <a:gd name="T19" fmla="*/ 734 h 802"/>
                <a:gd name="T20" fmla="*/ 211 w 563"/>
                <a:gd name="T21" fmla="*/ 734 h 802"/>
                <a:gd name="T22" fmla="*/ 204 w 563"/>
                <a:gd name="T23" fmla="*/ 735 h 802"/>
                <a:gd name="T24" fmla="*/ 198 w 563"/>
                <a:gd name="T25" fmla="*/ 737 h 802"/>
                <a:gd name="T26" fmla="*/ 113 w 563"/>
                <a:gd name="T27" fmla="*/ 802 h 802"/>
                <a:gd name="T28" fmla="*/ 0 w 563"/>
                <a:gd name="T29" fmla="*/ 718 h 802"/>
                <a:gd name="T30" fmla="*/ 331 w 563"/>
                <a:gd name="T31" fmla="*/ 0 h 802"/>
                <a:gd name="T32" fmla="*/ 441 w 563"/>
                <a:gd name="T33" fmla="*/ 28 h 802"/>
                <a:gd name="T34" fmla="*/ 454 w 563"/>
                <a:gd name="T35" fmla="*/ 0 h 802"/>
                <a:gd name="T36" fmla="*/ 529 w 563"/>
                <a:gd name="T37" fmla="*/ 0 h 802"/>
                <a:gd name="T38" fmla="*/ 545 w 563"/>
                <a:gd name="T39" fmla="*/ 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3" h="802">
                  <a:moveTo>
                    <a:pt x="545" y="3"/>
                  </a:moveTo>
                  <a:lnTo>
                    <a:pt x="557" y="10"/>
                  </a:lnTo>
                  <a:lnTo>
                    <a:pt x="563" y="21"/>
                  </a:lnTo>
                  <a:lnTo>
                    <a:pt x="562" y="33"/>
                  </a:lnTo>
                  <a:lnTo>
                    <a:pt x="241" y="727"/>
                  </a:lnTo>
                  <a:lnTo>
                    <a:pt x="238" y="732"/>
                  </a:lnTo>
                  <a:lnTo>
                    <a:pt x="232" y="735"/>
                  </a:lnTo>
                  <a:lnTo>
                    <a:pt x="226" y="736"/>
                  </a:lnTo>
                  <a:lnTo>
                    <a:pt x="219" y="735"/>
                  </a:lnTo>
                  <a:lnTo>
                    <a:pt x="216" y="734"/>
                  </a:lnTo>
                  <a:lnTo>
                    <a:pt x="211" y="734"/>
                  </a:lnTo>
                  <a:lnTo>
                    <a:pt x="204" y="735"/>
                  </a:lnTo>
                  <a:lnTo>
                    <a:pt x="198" y="737"/>
                  </a:lnTo>
                  <a:lnTo>
                    <a:pt x="113" y="802"/>
                  </a:lnTo>
                  <a:lnTo>
                    <a:pt x="0" y="718"/>
                  </a:lnTo>
                  <a:lnTo>
                    <a:pt x="331" y="0"/>
                  </a:lnTo>
                  <a:lnTo>
                    <a:pt x="441" y="28"/>
                  </a:lnTo>
                  <a:lnTo>
                    <a:pt x="454" y="0"/>
                  </a:lnTo>
                  <a:lnTo>
                    <a:pt x="529" y="0"/>
                  </a:lnTo>
                  <a:lnTo>
                    <a:pt x="545" y="3"/>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687" name="Freeform 1135">
              <a:extLst>
                <a:ext uri="{FF2B5EF4-FFF2-40B4-BE49-F238E27FC236}">
                  <a16:creationId xmlns:a16="http://schemas.microsoft.com/office/drawing/2014/main" id="{EBB6D75A-BE34-4FA6-8DD9-87EC03D34B5F}"/>
                </a:ext>
              </a:extLst>
            </p:cNvPr>
            <p:cNvSpPr>
              <a:spLocks noChangeAspect="1"/>
            </p:cNvSpPr>
            <p:nvPr/>
          </p:nvSpPr>
          <p:spPr bwMode="auto">
            <a:xfrm>
              <a:off x="6651625" y="3831591"/>
              <a:ext cx="95250" cy="180975"/>
            </a:xfrm>
            <a:custGeom>
              <a:avLst/>
              <a:gdLst>
                <a:gd name="T0" fmla="*/ 545 w 563"/>
                <a:gd name="T1" fmla="*/ 3 h 802"/>
                <a:gd name="T2" fmla="*/ 557 w 563"/>
                <a:gd name="T3" fmla="*/ 10 h 802"/>
                <a:gd name="T4" fmla="*/ 563 w 563"/>
                <a:gd name="T5" fmla="*/ 21 h 802"/>
                <a:gd name="T6" fmla="*/ 562 w 563"/>
                <a:gd name="T7" fmla="*/ 33 h 802"/>
                <a:gd name="T8" fmla="*/ 241 w 563"/>
                <a:gd name="T9" fmla="*/ 727 h 802"/>
                <a:gd name="T10" fmla="*/ 238 w 563"/>
                <a:gd name="T11" fmla="*/ 732 h 802"/>
                <a:gd name="T12" fmla="*/ 232 w 563"/>
                <a:gd name="T13" fmla="*/ 735 h 802"/>
                <a:gd name="T14" fmla="*/ 226 w 563"/>
                <a:gd name="T15" fmla="*/ 736 h 802"/>
                <a:gd name="T16" fmla="*/ 219 w 563"/>
                <a:gd name="T17" fmla="*/ 735 h 802"/>
                <a:gd name="T18" fmla="*/ 216 w 563"/>
                <a:gd name="T19" fmla="*/ 734 h 802"/>
                <a:gd name="T20" fmla="*/ 211 w 563"/>
                <a:gd name="T21" fmla="*/ 734 h 802"/>
                <a:gd name="T22" fmla="*/ 204 w 563"/>
                <a:gd name="T23" fmla="*/ 735 h 802"/>
                <a:gd name="T24" fmla="*/ 198 w 563"/>
                <a:gd name="T25" fmla="*/ 737 h 802"/>
                <a:gd name="T26" fmla="*/ 113 w 563"/>
                <a:gd name="T27" fmla="*/ 802 h 802"/>
                <a:gd name="T28" fmla="*/ 0 w 563"/>
                <a:gd name="T29" fmla="*/ 718 h 802"/>
                <a:gd name="T30" fmla="*/ 331 w 563"/>
                <a:gd name="T31" fmla="*/ 0 h 802"/>
                <a:gd name="T32" fmla="*/ 441 w 563"/>
                <a:gd name="T33" fmla="*/ 28 h 802"/>
                <a:gd name="T34" fmla="*/ 454 w 563"/>
                <a:gd name="T35" fmla="*/ 0 h 802"/>
                <a:gd name="T36" fmla="*/ 529 w 563"/>
                <a:gd name="T37" fmla="*/ 0 h 802"/>
                <a:gd name="T38" fmla="*/ 545 w 563"/>
                <a:gd name="T39" fmla="*/ 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3" h="802">
                  <a:moveTo>
                    <a:pt x="545" y="3"/>
                  </a:moveTo>
                  <a:lnTo>
                    <a:pt x="557" y="10"/>
                  </a:lnTo>
                  <a:lnTo>
                    <a:pt x="563" y="21"/>
                  </a:lnTo>
                  <a:lnTo>
                    <a:pt x="562" y="33"/>
                  </a:lnTo>
                  <a:lnTo>
                    <a:pt x="241" y="727"/>
                  </a:lnTo>
                  <a:lnTo>
                    <a:pt x="238" y="732"/>
                  </a:lnTo>
                  <a:lnTo>
                    <a:pt x="232" y="735"/>
                  </a:lnTo>
                  <a:lnTo>
                    <a:pt x="226" y="736"/>
                  </a:lnTo>
                  <a:lnTo>
                    <a:pt x="219" y="735"/>
                  </a:lnTo>
                  <a:lnTo>
                    <a:pt x="216" y="734"/>
                  </a:lnTo>
                  <a:lnTo>
                    <a:pt x="211" y="734"/>
                  </a:lnTo>
                  <a:lnTo>
                    <a:pt x="204" y="735"/>
                  </a:lnTo>
                  <a:lnTo>
                    <a:pt x="198" y="737"/>
                  </a:lnTo>
                  <a:lnTo>
                    <a:pt x="113" y="802"/>
                  </a:lnTo>
                  <a:lnTo>
                    <a:pt x="0" y="718"/>
                  </a:lnTo>
                  <a:lnTo>
                    <a:pt x="331" y="0"/>
                  </a:lnTo>
                  <a:lnTo>
                    <a:pt x="441" y="28"/>
                  </a:lnTo>
                  <a:lnTo>
                    <a:pt x="454" y="0"/>
                  </a:lnTo>
                  <a:lnTo>
                    <a:pt x="529" y="0"/>
                  </a:lnTo>
                  <a:lnTo>
                    <a:pt x="545" y="3"/>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688" name="Freeform 1136">
              <a:extLst>
                <a:ext uri="{FF2B5EF4-FFF2-40B4-BE49-F238E27FC236}">
                  <a16:creationId xmlns:a16="http://schemas.microsoft.com/office/drawing/2014/main" id="{6B61F262-92F7-43EB-AE7C-8C8734029B58}"/>
                </a:ext>
              </a:extLst>
            </p:cNvPr>
            <p:cNvSpPr>
              <a:spLocks noChangeAspect="1"/>
            </p:cNvSpPr>
            <p:nvPr/>
          </p:nvSpPr>
          <p:spPr bwMode="auto">
            <a:xfrm>
              <a:off x="6669088" y="3998278"/>
              <a:ext cx="31750" cy="31750"/>
            </a:xfrm>
            <a:custGeom>
              <a:avLst/>
              <a:gdLst>
                <a:gd name="T0" fmla="*/ 101 w 183"/>
                <a:gd name="T1" fmla="*/ 1 h 149"/>
                <a:gd name="T2" fmla="*/ 106 w 183"/>
                <a:gd name="T3" fmla="*/ 4 h 149"/>
                <a:gd name="T4" fmla="*/ 115 w 183"/>
                <a:gd name="T5" fmla="*/ 15 h 149"/>
                <a:gd name="T6" fmla="*/ 181 w 183"/>
                <a:gd name="T7" fmla="*/ 85 h 149"/>
                <a:gd name="T8" fmla="*/ 183 w 183"/>
                <a:gd name="T9" fmla="*/ 88 h 149"/>
                <a:gd name="T10" fmla="*/ 183 w 183"/>
                <a:gd name="T11" fmla="*/ 91 h 149"/>
                <a:gd name="T12" fmla="*/ 181 w 183"/>
                <a:gd name="T13" fmla="*/ 95 h 149"/>
                <a:gd name="T14" fmla="*/ 179 w 183"/>
                <a:gd name="T15" fmla="*/ 97 h 149"/>
                <a:gd name="T16" fmla="*/ 110 w 183"/>
                <a:gd name="T17" fmla="*/ 149 h 149"/>
                <a:gd name="T18" fmla="*/ 0 w 183"/>
                <a:gd name="T19" fmla="*/ 66 h 149"/>
                <a:gd name="T20" fmla="*/ 84 w 183"/>
                <a:gd name="T21" fmla="*/ 3 h 149"/>
                <a:gd name="T22" fmla="*/ 89 w 183"/>
                <a:gd name="T23" fmla="*/ 0 h 149"/>
                <a:gd name="T24" fmla="*/ 95 w 183"/>
                <a:gd name="T25" fmla="*/ 0 h 149"/>
                <a:gd name="T26" fmla="*/ 101 w 183"/>
                <a:gd name="T27" fmla="*/ 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3" h="149">
                  <a:moveTo>
                    <a:pt x="101" y="1"/>
                  </a:moveTo>
                  <a:lnTo>
                    <a:pt x="106" y="4"/>
                  </a:lnTo>
                  <a:lnTo>
                    <a:pt x="115" y="15"/>
                  </a:lnTo>
                  <a:lnTo>
                    <a:pt x="181" y="85"/>
                  </a:lnTo>
                  <a:lnTo>
                    <a:pt x="183" y="88"/>
                  </a:lnTo>
                  <a:lnTo>
                    <a:pt x="183" y="91"/>
                  </a:lnTo>
                  <a:lnTo>
                    <a:pt x="181" y="95"/>
                  </a:lnTo>
                  <a:lnTo>
                    <a:pt x="179" y="97"/>
                  </a:lnTo>
                  <a:lnTo>
                    <a:pt x="110" y="149"/>
                  </a:lnTo>
                  <a:lnTo>
                    <a:pt x="0" y="66"/>
                  </a:lnTo>
                  <a:lnTo>
                    <a:pt x="84" y="3"/>
                  </a:lnTo>
                  <a:lnTo>
                    <a:pt x="89" y="0"/>
                  </a:lnTo>
                  <a:lnTo>
                    <a:pt x="95" y="0"/>
                  </a:lnTo>
                  <a:lnTo>
                    <a:pt x="101" y="1"/>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689" name="Freeform 1137">
              <a:extLst>
                <a:ext uri="{FF2B5EF4-FFF2-40B4-BE49-F238E27FC236}">
                  <a16:creationId xmlns:a16="http://schemas.microsoft.com/office/drawing/2014/main" id="{32D3C3F3-D2EA-47FB-B6A5-BFF343575F99}"/>
                </a:ext>
              </a:extLst>
            </p:cNvPr>
            <p:cNvSpPr>
              <a:spLocks noChangeAspect="1"/>
            </p:cNvSpPr>
            <p:nvPr/>
          </p:nvSpPr>
          <p:spPr bwMode="auto">
            <a:xfrm>
              <a:off x="6669088" y="3998278"/>
              <a:ext cx="31750" cy="31750"/>
            </a:xfrm>
            <a:custGeom>
              <a:avLst/>
              <a:gdLst>
                <a:gd name="T0" fmla="*/ 101 w 183"/>
                <a:gd name="T1" fmla="*/ 1 h 149"/>
                <a:gd name="T2" fmla="*/ 106 w 183"/>
                <a:gd name="T3" fmla="*/ 4 h 149"/>
                <a:gd name="T4" fmla="*/ 115 w 183"/>
                <a:gd name="T5" fmla="*/ 15 h 149"/>
                <a:gd name="T6" fmla="*/ 181 w 183"/>
                <a:gd name="T7" fmla="*/ 85 h 149"/>
                <a:gd name="T8" fmla="*/ 183 w 183"/>
                <a:gd name="T9" fmla="*/ 88 h 149"/>
                <a:gd name="T10" fmla="*/ 183 w 183"/>
                <a:gd name="T11" fmla="*/ 91 h 149"/>
                <a:gd name="T12" fmla="*/ 181 w 183"/>
                <a:gd name="T13" fmla="*/ 95 h 149"/>
                <a:gd name="T14" fmla="*/ 179 w 183"/>
                <a:gd name="T15" fmla="*/ 97 h 149"/>
                <a:gd name="T16" fmla="*/ 110 w 183"/>
                <a:gd name="T17" fmla="*/ 149 h 149"/>
                <a:gd name="T18" fmla="*/ 0 w 183"/>
                <a:gd name="T19" fmla="*/ 66 h 149"/>
                <a:gd name="T20" fmla="*/ 84 w 183"/>
                <a:gd name="T21" fmla="*/ 3 h 149"/>
                <a:gd name="T22" fmla="*/ 89 w 183"/>
                <a:gd name="T23" fmla="*/ 0 h 149"/>
                <a:gd name="T24" fmla="*/ 95 w 183"/>
                <a:gd name="T25" fmla="*/ 0 h 149"/>
                <a:gd name="T26" fmla="*/ 101 w 183"/>
                <a:gd name="T27" fmla="*/ 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3" h="149">
                  <a:moveTo>
                    <a:pt x="101" y="1"/>
                  </a:moveTo>
                  <a:lnTo>
                    <a:pt x="106" y="4"/>
                  </a:lnTo>
                  <a:lnTo>
                    <a:pt x="115" y="15"/>
                  </a:lnTo>
                  <a:lnTo>
                    <a:pt x="181" y="85"/>
                  </a:lnTo>
                  <a:lnTo>
                    <a:pt x="183" y="88"/>
                  </a:lnTo>
                  <a:lnTo>
                    <a:pt x="183" y="91"/>
                  </a:lnTo>
                  <a:lnTo>
                    <a:pt x="181" y="95"/>
                  </a:lnTo>
                  <a:lnTo>
                    <a:pt x="179" y="97"/>
                  </a:lnTo>
                  <a:lnTo>
                    <a:pt x="110" y="149"/>
                  </a:lnTo>
                  <a:lnTo>
                    <a:pt x="0" y="66"/>
                  </a:lnTo>
                  <a:lnTo>
                    <a:pt x="84" y="3"/>
                  </a:lnTo>
                  <a:lnTo>
                    <a:pt x="89" y="0"/>
                  </a:lnTo>
                  <a:lnTo>
                    <a:pt x="95" y="0"/>
                  </a:lnTo>
                  <a:lnTo>
                    <a:pt x="101" y="1"/>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690" name="Freeform 1138">
              <a:extLst>
                <a:ext uri="{FF2B5EF4-FFF2-40B4-BE49-F238E27FC236}">
                  <a16:creationId xmlns:a16="http://schemas.microsoft.com/office/drawing/2014/main" id="{0E83ACDC-B8F3-48F2-8618-24FC8DBEB380}"/>
                </a:ext>
              </a:extLst>
            </p:cNvPr>
            <p:cNvSpPr>
              <a:spLocks noChangeAspect="1"/>
            </p:cNvSpPr>
            <p:nvPr/>
          </p:nvSpPr>
          <p:spPr bwMode="auto">
            <a:xfrm>
              <a:off x="6742114" y="3933191"/>
              <a:ext cx="66675" cy="73025"/>
            </a:xfrm>
            <a:custGeom>
              <a:avLst/>
              <a:gdLst>
                <a:gd name="T0" fmla="*/ 0 w 392"/>
                <a:gd name="T1" fmla="*/ 273 h 321"/>
                <a:gd name="T2" fmla="*/ 0 w 392"/>
                <a:gd name="T3" fmla="*/ 166 h 321"/>
                <a:gd name="T4" fmla="*/ 0 w 392"/>
                <a:gd name="T5" fmla="*/ 156 h 321"/>
                <a:gd name="T6" fmla="*/ 5 w 392"/>
                <a:gd name="T7" fmla="*/ 145 h 321"/>
                <a:gd name="T8" fmla="*/ 14 w 392"/>
                <a:gd name="T9" fmla="*/ 137 h 321"/>
                <a:gd name="T10" fmla="*/ 232 w 392"/>
                <a:gd name="T11" fmla="*/ 6 h 321"/>
                <a:gd name="T12" fmla="*/ 243 w 392"/>
                <a:gd name="T13" fmla="*/ 1 h 321"/>
                <a:gd name="T14" fmla="*/ 257 w 392"/>
                <a:gd name="T15" fmla="*/ 0 h 321"/>
                <a:gd name="T16" fmla="*/ 270 w 392"/>
                <a:gd name="T17" fmla="*/ 3 h 321"/>
                <a:gd name="T18" fmla="*/ 280 w 392"/>
                <a:gd name="T19" fmla="*/ 9 h 321"/>
                <a:gd name="T20" fmla="*/ 392 w 392"/>
                <a:gd name="T21" fmla="*/ 113 h 321"/>
                <a:gd name="T22" fmla="*/ 44 w 392"/>
                <a:gd name="T23" fmla="*/ 321 h 321"/>
                <a:gd name="T24" fmla="*/ 8 w 392"/>
                <a:gd name="T25" fmla="*/ 288 h 321"/>
                <a:gd name="T26" fmla="*/ 6 w 392"/>
                <a:gd name="T27" fmla="*/ 282 h 321"/>
                <a:gd name="T28" fmla="*/ 0 w 392"/>
                <a:gd name="T29" fmla="*/ 27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2" h="321">
                  <a:moveTo>
                    <a:pt x="0" y="273"/>
                  </a:moveTo>
                  <a:lnTo>
                    <a:pt x="0" y="166"/>
                  </a:lnTo>
                  <a:lnTo>
                    <a:pt x="0" y="156"/>
                  </a:lnTo>
                  <a:lnTo>
                    <a:pt x="5" y="145"/>
                  </a:lnTo>
                  <a:lnTo>
                    <a:pt x="14" y="137"/>
                  </a:lnTo>
                  <a:lnTo>
                    <a:pt x="232" y="6"/>
                  </a:lnTo>
                  <a:lnTo>
                    <a:pt x="243" y="1"/>
                  </a:lnTo>
                  <a:lnTo>
                    <a:pt x="257" y="0"/>
                  </a:lnTo>
                  <a:lnTo>
                    <a:pt x="270" y="3"/>
                  </a:lnTo>
                  <a:lnTo>
                    <a:pt x="280" y="9"/>
                  </a:lnTo>
                  <a:lnTo>
                    <a:pt x="392" y="113"/>
                  </a:lnTo>
                  <a:lnTo>
                    <a:pt x="44" y="321"/>
                  </a:lnTo>
                  <a:lnTo>
                    <a:pt x="8" y="288"/>
                  </a:lnTo>
                  <a:lnTo>
                    <a:pt x="6" y="282"/>
                  </a:lnTo>
                  <a:lnTo>
                    <a:pt x="0" y="273"/>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691" name="Freeform 1139">
              <a:extLst>
                <a:ext uri="{FF2B5EF4-FFF2-40B4-BE49-F238E27FC236}">
                  <a16:creationId xmlns:a16="http://schemas.microsoft.com/office/drawing/2014/main" id="{FDA3E5F6-A6D8-4E45-A0D1-2474D7905849}"/>
                </a:ext>
              </a:extLst>
            </p:cNvPr>
            <p:cNvSpPr>
              <a:spLocks noChangeAspect="1"/>
            </p:cNvSpPr>
            <p:nvPr/>
          </p:nvSpPr>
          <p:spPr bwMode="auto">
            <a:xfrm>
              <a:off x="6742114" y="3933191"/>
              <a:ext cx="66675" cy="73025"/>
            </a:xfrm>
            <a:custGeom>
              <a:avLst/>
              <a:gdLst>
                <a:gd name="T0" fmla="*/ 0 w 392"/>
                <a:gd name="T1" fmla="*/ 273 h 321"/>
                <a:gd name="T2" fmla="*/ 0 w 392"/>
                <a:gd name="T3" fmla="*/ 166 h 321"/>
                <a:gd name="T4" fmla="*/ 0 w 392"/>
                <a:gd name="T5" fmla="*/ 156 h 321"/>
                <a:gd name="T6" fmla="*/ 5 w 392"/>
                <a:gd name="T7" fmla="*/ 145 h 321"/>
                <a:gd name="T8" fmla="*/ 14 w 392"/>
                <a:gd name="T9" fmla="*/ 137 h 321"/>
                <a:gd name="T10" fmla="*/ 232 w 392"/>
                <a:gd name="T11" fmla="*/ 6 h 321"/>
                <a:gd name="T12" fmla="*/ 243 w 392"/>
                <a:gd name="T13" fmla="*/ 1 h 321"/>
                <a:gd name="T14" fmla="*/ 257 w 392"/>
                <a:gd name="T15" fmla="*/ 0 h 321"/>
                <a:gd name="T16" fmla="*/ 270 w 392"/>
                <a:gd name="T17" fmla="*/ 3 h 321"/>
                <a:gd name="T18" fmla="*/ 280 w 392"/>
                <a:gd name="T19" fmla="*/ 9 h 321"/>
                <a:gd name="T20" fmla="*/ 392 w 392"/>
                <a:gd name="T21" fmla="*/ 113 h 321"/>
                <a:gd name="T22" fmla="*/ 44 w 392"/>
                <a:gd name="T23" fmla="*/ 321 h 321"/>
                <a:gd name="T24" fmla="*/ 8 w 392"/>
                <a:gd name="T25" fmla="*/ 288 h 321"/>
                <a:gd name="T26" fmla="*/ 6 w 392"/>
                <a:gd name="T27" fmla="*/ 282 h 321"/>
                <a:gd name="T28" fmla="*/ 0 w 392"/>
                <a:gd name="T29" fmla="*/ 27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2" h="321">
                  <a:moveTo>
                    <a:pt x="0" y="273"/>
                  </a:moveTo>
                  <a:lnTo>
                    <a:pt x="0" y="166"/>
                  </a:lnTo>
                  <a:lnTo>
                    <a:pt x="0" y="156"/>
                  </a:lnTo>
                  <a:lnTo>
                    <a:pt x="5" y="145"/>
                  </a:lnTo>
                  <a:lnTo>
                    <a:pt x="14" y="137"/>
                  </a:lnTo>
                  <a:lnTo>
                    <a:pt x="232" y="6"/>
                  </a:lnTo>
                  <a:lnTo>
                    <a:pt x="243" y="1"/>
                  </a:lnTo>
                  <a:lnTo>
                    <a:pt x="257" y="0"/>
                  </a:lnTo>
                  <a:lnTo>
                    <a:pt x="270" y="3"/>
                  </a:lnTo>
                  <a:lnTo>
                    <a:pt x="280" y="9"/>
                  </a:lnTo>
                  <a:lnTo>
                    <a:pt x="392" y="113"/>
                  </a:lnTo>
                  <a:lnTo>
                    <a:pt x="44" y="321"/>
                  </a:lnTo>
                  <a:lnTo>
                    <a:pt x="8" y="288"/>
                  </a:lnTo>
                  <a:lnTo>
                    <a:pt x="6" y="282"/>
                  </a:lnTo>
                  <a:lnTo>
                    <a:pt x="0" y="273"/>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692" name="Freeform 1140">
              <a:extLst>
                <a:ext uri="{FF2B5EF4-FFF2-40B4-BE49-F238E27FC236}">
                  <a16:creationId xmlns:a16="http://schemas.microsoft.com/office/drawing/2014/main" id="{EFC64E1A-90C0-47E5-89B8-9108C38FF035}"/>
                </a:ext>
              </a:extLst>
            </p:cNvPr>
            <p:cNvSpPr>
              <a:spLocks noChangeAspect="1"/>
            </p:cNvSpPr>
            <p:nvPr/>
          </p:nvSpPr>
          <p:spPr bwMode="auto">
            <a:xfrm>
              <a:off x="6786563" y="3926841"/>
              <a:ext cx="190500" cy="30163"/>
            </a:xfrm>
            <a:custGeom>
              <a:avLst/>
              <a:gdLst>
                <a:gd name="T0" fmla="*/ 5 w 1116"/>
                <a:gd name="T1" fmla="*/ 16 h 142"/>
                <a:gd name="T2" fmla="*/ 23 w 1116"/>
                <a:gd name="T3" fmla="*/ 5 h 142"/>
                <a:gd name="T4" fmla="*/ 44 w 1116"/>
                <a:gd name="T5" fmla="*/ 0 h 142"/>
                <a:gd name="T6" fmla="*/ 955 w 1116"/>
                <a:gd name="T7" fmla="*/ 0 h 142"/>
                <a:gd name="T8" fmla="*/ 970 w 1116"/>
                <a:gd name="T9" fmla="*/ 2 h 142"/>
                <a:gd name="T10" fmla="*/ 982 w 1116"/>
                <a:gd name="T11" fmla="*/ 9 h 142"/>
                <a:gd name="T12" fmla="*/ 1113 w 1116"/>
                <a:gd name="T13" fmla="*/ 126 h 142"/>
                <a:gd name="T14" fmla="*/ 1116 w 1116"/>
                <a:gd name="T15" fmla="*/ 131 h 142"/>
                <a:gd name="T16" fmla="*/ 1114 w 1116"/>
                <a:gd name="T17" fmla="*/ 137 h 142"/>
                <a:gd name="T18" fmla="*/ 1110 w 1116"/>
                <a:gd name="T19" fmla="*/ 140 h 142"/>
                <a:gd name="T20" fmla="*/ 1102 w 1116"/>
                <a:gd name="T21" fmla="*/ 142 h 142"/>
                <a:gd name="T22" fmla="*/ 125 w 1116"/>
                <a:gd name="T23" fmla="*/ 142 h 142"/>
                <a:gd name="T24" fmla="*/ 4 w 1116"/>
                <a:gd name="T25" fmla="*/ 31 h 142"/>
                <a:gd name="T26" fmla="*/ 0 w 1116"/>
                <a:gd name="T27" fmla="*/ 23 h 142"/>
                <a:gd name="T28" fmla="*/ 5 w 1116"/>
                <a:gd name="T29"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16" h="142">
                  <a:moveTo>
                    <a:pt x="5" y="16"/>
                  </a:moveTo>
                  <a:lnTo>
                    <a:pt x="23" y="5"/>
                  </a:lnTo>
                  <a:lnTo>
                    <a:pt x="44" y="0"/>
                  </a:lnTo>
                  <a:lnTo>
                    <a:pt x="955" y="0"/>
                  </a:lnTo>
                  <a:lnTo>
                    <a:pt x="970" y="2"/>
                  </a:lnTo>
                  <a:lnTo>
                    <a:pt x="982" y="9"/>
                  </a:lnTo>
                  <a:lnTo>
                    <a:pt x="1113" y="126"/>
                  </a:lnTo>
                  <a:lnTo>
                    <a:pt x="1116" y="131"/>
                  </a:lnTo>
                  <a:lnTo>
                    <a:pt x="1114" y="137"/>
                  </a:lnTo>
                  <a:lnTo>
                    <a:pt x="1110" y="140"/>
                  </a:lnTo>
                  <a:lnTo>
                    <a:pt x="1102" y="142"/>
                  </a:lnTo>
                  <a:lnTo>
                    <a:pt x="125" y="142"/>
                  </a:lnTo>
                  <a:lnTo>
                    <a:pt x="4" y="31"/>
                  </a:lnTo>
                  <a:lnTo>
                    <a:pt x="0" y="23"/>
                  </a:lnTo>
                  <a:lnTo>
                    <a:pt x="5" y="16"/>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693" name="Freeform 1141">
              <a:extLst>
                <a:ext uri="{FF2B5EF4-FFF2-40B4-BE49-F238E27FC236}">
                  <a16:creationId xmlns:a16="http://schemas.microsoft.com/office/drawing/2014/main" id="{7BE8225B-D216-4224-8778-53C446E0652A}"/>
                </a:ext>
              </a:extLst>
            </p:cNvPr>
            <p:cNvSpPr>
              <a:spLocks noChangeAspect="1"/>
            </p:cNvSpPr>
            <p:nvPr/>
          </p:nvSpPr>
          <p:spPr bwMode="auto">
            <a:xfrm>
              <a:off x="6786563" y="3926841"/>
              <a:ext cx="190500" cy="30163"/>
            </a:xfrm>
            <a:custGeom>
              <a:avLst/>
              <a:gdLst>
                <a:gd name="T0" fmla="*/ 5 w 1116"/>
                <a:gd name="T1" fmla="*/ 16 h 142"/>
                <a:gd name="T2" fmla="*/ 23 w 1116"/>
                <a:gd name="T3" fmla="*/ 5 h 142"/>
                <a:gd name="T4" fmla="*/ 44 w 1116"/>
                <a:gd name="T5" fmla="*/ 0 h 142"/>
                <a:gd name="T6" fmla="*/ 955 w 1116"/>
                <a:gd name="T7" fmla="*/ 0 h 142"/>
                <a:gd name="T8" fmla="*/ 970 w 1116"/>
                <a:gd name="T9" fmla="*/ 2 h 142"/>
                <a:gd name="T10" fmla="*/ 982 w 1116"/>
                <a:gd name="T11" fmla="*/ 9 h 142"/>
                <a:gd name="T12" fmla="*/ 1113 w 1116"/>
                <a:gd name="T13" fmla="*/ 126 h 142"/>
                <a:gd name="T14" fmla="*/ 1116 w 1116"/>
                <a:gd name="T15" fmla="*/ 131 h 142"/>
                <a:gd name="T16" fmla="*/ 1114 w 1116"/>
                <a:gd name="T17" fmla="*/ 137 h 142"/>
                <a:gd name="T18" fmla="*/ 1110 w 1116"/>
                <a:gd name="T19" fmla="*/ 140 h 142"/>
                <a:gd name="T20" fmla="*/ 1102 w 1116"/>
                <a:gd name="T21" fmla="*/ 142 h 142"/>
                <a:gd name="T22" fmla="*/ 125 w 1116"/>
                <a:gd name="T23" fmla="*/ 142 h 142"/>
                <a:gd name="T24" fmla="*/ 4 w 1116"/>
                <a:gd name="T25" fmla="*/ 31 h 142"/>
                <a:gd name="T26" fmla="*/ 0 w 1116"/>
                <a:gd name="T27" fmla="*/ 23 h 142"/>
                <a:gd name="T28" fmla="*/ 5 w 1116"/>
                <a:gd name="T29"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16" h="142">
                  <a:moveTo>
                    <a:pt x="5" y="16"/>
                  </a:moveTo>
                  <a:lnTo>
                    <a:pt x="23" y="5"/>
                  </a:lnTo>
                  <a:lnTo>
                    <a:pt x="44" y="0"/>
                  </a:lnTo>
                  <a:lnTo>
                    <a:pt x="955" y="0"/>
                  </a:lnTo>
                  <a:lnTo>
                    <a:pt x="970" y="2"/>
                  </a:lnTo>
                  <a:lnTo>
                    <a:pt x="982" y="9"/>
                  </a:lnTo>
                  <a:lnTo>
                    <a:pt x="1113" y="126"/>
                  </a:lnTo>
                  <a:lnTo>
                    <a:pt x="1116" y="131"/>
                  </a:lnTo>
                  <a:lnTo>
                    <a:pt x="1114" y="137"/>
                  </a:lnTo>
                  <a:lnTo>
                    <a:pt x="1110" y="140"/>
                  </a:lnTo>
                  <a:lnTo>
                    <a:pt x="1102" y="142"/>
                  </a:lnTo>
                  <a:lnTo>
                    <a:pt x="125" y="142"/>
                  </a:lnTo>
                  <a:lnTo>
                    <a:pt x="4" y="31"/>
                  </a:lnTo>
                  <a:lnTo>
                    <a:pt x="0" y="23"/>
                  </a:lnTo>
                  <a:lnTo>
                    <a:pt x="5" y="16"/>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694" name="Freeform 1142">
              <a:extLst>
                <a:ext uri="{FF2B5EF4-FFF2-40B4-BE49-F238E27FC236}">
                  <a16:creationId xmlns:a16="http://schemas.microsoft.com/office/drawing/2014/main" id="{19757FE4-6FEF-462D-B9A5-8197DE278635}"/>
                </a:ext>
              </a:extLst>
            </p:cNvPr>
            <p:cNvSpPr>
              <a:spLocks noChangeAspect="1"/>
            </p:cNvSpPr>
            <p:nvPr/>
          </p:nvSpPr>
          <p:spPr bwMode="auto">
            <a:xfrm>
              <a:off x="6953251" y="3958590"/>
              <a:ext cx="106363" cy="120650"/>
            </a:xfrm>
            <a:custGeom>
              <a:avLst/>
              <a:gdLst>
                <a:gd name="T0" fmla="*/ 169 w 635"/>
                <a:gd name="T1" fmla="*/ 10 h 535"/>
                <a:gd name="T2" fmla="*/ 626 w 635"/>
                <a:gd name="T3" fmla="*/ 417 h 535"/>
                <a:gd name="T4" fmla="*/ 632 w 635"/>
                <a:gd name="T5" fmla="*/ 424 h 535"/>
                <a:gd name="T6" fmla="*/ 632 w 635"/>
                <a:gd name="T7" fmla="*/ 426 h 535"/>
                <a:gd name="T8" fmla="*/ 635 w 635"/>
                <a:gd name="T9" fmla="*/ 433 h 535"/>
                <a:gd name="T10" fmla="*/ 635 w 635"/>
                <a:gd name="T11" fmla="*/ 472 h 535"/>
                <a:gd name="T12" fmla="*/ 631 w 635"/>
                <a:gd name="T13" fmla="*/ 482 h 535"/>
                <a:gd name="T14" fmla="*/ 622 w 635"/>
                <a:gd name="T15" fmla="*/ 490 h 535"/>
                <a:gd name="T16" fmla="*/ 551 w 635"/>
                <a:gd name="T17" fmla="*/ 535 h 535"/>
                <a:gd name="T18" fmla="*/ 0 w 635"/>
                <a:gd name="T19" fmla="*/ 47 h 535"/>
                <a:gd name="T20" fmla="*/ 66 w 635"/>
                <a:gd name="T21" fmla="*/ 7 h 535"/>
                <a:gd name="T22" fmla="*/ 76 w 635"/>
                <a:gd name="T23" fmla="*/ 1 h 535"/>
                <a:gd name="T24" fmla="*/ 88 w 635"/>
                <a:gd name="T25" fmla="*/ 0 h 535"/>
                <a:gd name="T26" fmla="*/ 142 w 635"/>
                <a:gd name="T27" fmla="*/ 0 h 535"/>
                <a:gd name="T28" fmla="*/ 156 w 635"/>
                <a:gd name="T29" fmla="*/ 2 h 535"/>
                <a:gd name="T30" fmla="*/ 169 w 635"/>
                <a:gd name="T31" fmla="*/ 1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5" h="535">
                  <a:moveTo>
                    <a:pt x="169" y="10"/>
                  </a:moveTo>
                  <a:lnTo>
                    <a:pt x="626" y="417"/>
                  </a:lnTo>
                  <a:lnTo>
                    <a:pt x="632" y="424"/>
                  </a:lnTo>
                  <a:lnTo>
                    <a:pt x="632" y="426"/>
                  </a:lnTo>
                  <a:lnTo>
                    <a:pt x="635" y="433"/>
                  </a:lnTo>
                  <a:lnTo>
                    <a:pt x="635" y="472"/>
                  </a:lnTo>
                  <a:lnTo>
                    <a:pt x="631" y="482"/>
                  </a:lnTo>
                  <a:lnTo>
                    <a:pt x="622" y="490"/>
                  </a:lnTo>
                  <a:lnTo>
                    <a:pt x="551" y="535"/>
                  </a:lnTo>
                  <a:lnTo>
                    <a:pt x="0" y="47"/>
                  </a:lnTo>
                  <a:lnTo>
                    <a:pt x="66" y="7"/>
                  </a:lnTo>
                  <a:lnTo>
                    <a:pt x="76" y="1"/>
                  </a:lnTo>
                  <a:lnTo>
                    <a:pt x="88" y="0"/>
                  </a:lnTo>
                  <a:lnTo>
                    <a:pt x="142" y="0"/>
                  </a:lnTo>
                  <a:lnTo>
                    <a:pt x="156" y="2"/>
                  </a:lnTo>
                  <a:lnTo>
                    <a:pt x="169" y="10"/>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695" name="Freeform 1143">
              <a:extLst>
                <a:ext uri="{FF2B5EF4-FFF2-40B4-BE49-F238E27FC236}">
                  <a16:creationId xmlns:a16="http://schemas.microsoft.com/office/drawing/2014/main" id="{5F569887-9583-448F-8F8C-0EC07EF0D5F4}"/>
                </a:ext>
              </a:extLst>
            </p:cNvPr>
            <p:cNvSpPr>
              <a:spLocks noChangeAspect="1"/>
            </p:cNvSpPr>
            <p:nvPr/>
          </p:nvSpPr>
          <p:spPr bwMode="auto">
            <a:xfrm>
              <a:off x="6953251" y="3958590"/>
              <a:ext cx="106363" cy="120650"/>
            </a:xfrm>
            <a:custGeom>
              <a:avLst/>
              <a:gdLst>
                <a:gd name="T0" fmla="*/ 169 w 635"/>
                <a:gd name="T1" fmla="*/ 10 h 535"/>
                <a:gd name="T2" fmla="*/ 626 w 635"/>
                <a:gd name="T3" fmla="*/ 417 h 535"/>
                <a:gd name="T4" fmla="*/ 632 w 635"/>
                <a:gd name="T5" fmla="*/ 424 h 535"/>
                <a:gd name="T6" fmla="*/ 632 w 635"/>
                <a:gd name="T7" fmla="*/ 426 h 535"/>
                <a:gd name="T8" fmla="*/ 635 w 635"/>
                <a:gd name="T9" fmla="*/ 433 h 535"/>
                <a:gd name="T10" fmla="*/ 635 w 635"/>
                <a:gd name="T11" fmla="*/ 472 h 535"/>
                <a:gd name="T12" fmla="*/ 631 w 635"/>
                <a:gd name="T13" fmla="*/ 482 h 535"/>
                <a:gd name="T14" fmla="*/ 622 w 635"/>
                <a:gd name="T15" fmla="*/ 490 h 535"/>
                <a:gd name="T16" fmla="*/ 551 w 635"/>
                <a:gd name="T17" fmla="*/ 535 h 535"/>
                <a:gd name="T18" fmla="*/ 0 w 635"/>
                <a:gd name="T19" fmla="*/ 47 h 535"/>
                <a:gd name="T20" fmla="*/ 66 w 635"/>
                <a:gd name="T21" fmla="*/ 7 h 535"/>
                <a:gd name="T22" fmla="*/ 76 w 635"/>
                <a:gd name="T23" fmla="*/ 1 h 535"/>
                <a:gd name="T24" fmla="*/ 88 w 635"/>
                <a:gd name="T25" fmla="*/ 0 h 535"/>
                <a:gd name="T26" fmla="*/ 142 w 635"/>
                <a:gd name="T27" fmla="*/ 0 h 535"/>
                <a:gd name="T28" fmla="*/ 156 w 635"/>
                <a:gd name="T29" fmla="*/ 2 h 535"/>
                <a:gd name="T30" fmla="*/ 169 w 635"/>
                <a:gd name="T31" fmla="*/ 1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5" h="535">
                  <a:moveTo>
                    <a:pt x="169" y="10"/>
                  </a:moveTo>
                  <a:lnTo>
                    <a:pt x="626" y="417"/>
                  </a:lnTo>
                  <a:lnTo>
                    <a:pt x="632" y="424"/>
                  </a:lnTo>
                  <a:lnTo>
                    <a:pt x="632" y="426"/>
                  </a:lnTo>
                  <a:lnTo>
                    <a:pt x="635" y="433"/>
                  </a:lnTo>
                  <a:lnTo>
                    <a:pt x="635" y="472"/>
                  </a:lnTo>
                  <a:lnTo>
                    <a:pt x="631" y="482"/>
                  </a:lnTo>
                  <a:lnTo>
                    <a:pt x="622" y="490"/>
                  </a:lnTo>
                  <a:lnTo>
                    <a:pt x="551" y="535"/>
                  </a:lnTo>
                  <a:lnTo>
                    <a:pt x="0" y="47"/>
                  </a:lnTo>
                  <a:lnTo>
                    <a:pt x="66" y="7"/>
                  </a:lnTo>
                  <a:lnTo>
                    <a:pt x="76" y="1"/>
                  </a:lnTo>
                  <a:lnTo>
                    <a:pt x="88" y="0"/>
                  </a:lnTo>
                  <a:lnTo>
                    <a:pt x="142" y="0"/>
                  </a:lnTo>
                  <a:lnTo>
                    <a:pt x="156" y="2"/>
                  </a:lnTo>
                  <a:lnTo>
                    <a:pt x="169" y="10"/>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696" name="Freeform 1144">
              <a:extLst>
                <a:ext uri="{FF2B5EF4-FFF2-40B4-BE49-F238E27FC236}">
                  <a16:creationId xmlns:a16="http://schemas.microsoft.com/office/drawing/2014/main" id="{570383AE-165D-4976-9DFD-1A37BB1CFBD9}"/>
                </a:ext>
              </a:extLst>
            </p:cNvPr>
            <p:cNvSpPr>
              <a:spLocks noChangeAspect="1"/>
            </p:cNvSpPr>
            <p:nvPr/>
          </p:nvSpPr>
          <p:spPr bwMode="auto">
            <a:xfrm>
              <a:off x="7058026" y="4118928"/>
              <a:ext cx="60325" cy="19050"/>
            </a:xfrm>
            <a:custGeom>
              <a:avLst/>
              <a:gdLst>
                <a:gd name="T0" fmla="*/ 4 w 355"/>
                <a:gd name="T1" fmla="*/ 14 h 83"/>
                <a:gd name="T2" fmla="*/ 10 w 355"/>
                <a:gd name="T3" fmla="*/ 7 h 83"/>
                <a:gd name="T4" fmla="*/ 17 w 355"/>
                <a:gd name="T5" fmla="*/ 3 h 83"/>
                <a:gd name="T6" fmla="*/ 26 w 355"/>
                <a:gd name="T7" fmla="*/ 1 h 83"/>
                <a:gd name="T8" fmla="*/ 34 w 355"/>
                <a:gd name="T9" fmla="*/ 0 h 83"/>
                <a:gd name="T10" fmla="*/ 262 w 355"/>
                <a:gd name="T11" fmla="*/ 0 h 83"/>
                <a:gd name="T12" fmla="*/ 268 w 355"/>
                <a:gd name="T13" fmla="*/ 1 h 83"/>
                <a:gd name="T14" fmla="*/ 271 w 355"/>
                <a:gd name="T15" fmla="*/ 3 h 83"/>
                <a:gd name="T16" fmla="*/ 275 w 355"/>
                <a:gd name="T17" fmla="*/ 6 h 83"/>
                <a:gd name="T18" fmla="*/ 276 w 355"/>
                <a:gd name="T19" fmla="*/ 11 h 83"/>
                <a:gd name="T20" fmla="*/ 276 w 355"/>
                <a:gd name="T21" fmla="*/ 46 h 83"/>
                <a:gd name="T22" fmla="*/ 277 w 355"/>
                <a:gd name="T23" fmla="*/ 50 h 83"/>
                <a:gd name="T24" fmla="*/ 280 w 355"/>
                <a:gd name="T25" fmla="*/ 54 h 83"/>
                <a:gd name="T26" fmla="*/ 285 w 355"/>
                <a:gd name="T27" fmla="*/ 56 h 83"/>
                <a:gd name="T28" fmla="*/ 289 w 355"/>
                <a:gd name="T29" fmla="*/ 56 h 83"/>
                <a:gd name="T30" fmla="*/ 341 w 355"/>
                <a:gd name="T31" fmla="*/ 56 h 83"/>
                <a:gd name="T32" fmla="*/ 347 w 355"/>
                <a:gd name="T33" fmla="*/ 57 h 83"/>
                <a:gd name="T34" fmla="*/ 351 w 355"/>
                <a:gd name="T35" fmla="*/ 59 h 83"/>
                <a:gd name="T36" fmla="*/ 355 w 355"/>
                <a:gd name="T37" fmla="*/ 63 h 83"/>
                <a:gd name="T38" fmla="*/ 355 w 355"/>
                <a:gd name="T39" fmla="*/ 66 h 83"/>
                <a:gd name="T40" fmla="*/ 355 w 355"/>
                <a:gd name="T41" fmla="*/ 83 h 83"/>
                <a:gd name="T42" fmla="*/ 54 w 355"/>
                <a:gd name="T43" fmla="*/ 83 h 83"/>
                <a:gd name="T44" fmla="*/ 54 w 355"/>
                <a:gd name="T45" fmla="*/ 58 h 83"/>
                <a:gd name="T46" fmla="*/ 0 w 355"/>
                <a:gd name="T47" fmla="*/ 58 h 83"/>
                <a:gd name="T48" fmla="*/ 0 w 355"/>
                <a:gd name="T49" fmla="*/ 27 h 83"/>
                <a:gd name="T50" fmla="*/ 0 w 355"/>
                <a:gd name="T51" fmla="*/ 26 h 83"/>
                <a:gd name="T52" fmla="*/ 1 w 355"/>
                <a:gd name="T53" fmla="*/ 20 h 83"/>
                <a:gd name="T54" fmla="*/ 4 w 355"/>
                <a:gd name="T55" fmla="*/ 1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5" h="83">
                  <a:moveTo>
                    <a:pt x="4" y="14"/>
                  </a:moveTo>
                  <a:lnTo>
                    <a:pt x="10" y="7"/>
                  </a:lnTo>
                  <a:lnTo>
                    <a:pt x="17" y="3"/>
                  </a:lnTo>
                  <a:lnTo>
                    <a:pt x="26" y="1"/>
                  </a:lnTo>
                  <a:lnTo>
                    <a:pt x="34" y="0"/>
                  </a:lnTo>
                  <a:lnTo>
                    <a:pt x="262" y="0"/>
                  </a:lnTo>
                  <a:lnTo>
                    <a:pt x="268" y="1"/>
                  </a:lnTo>
                  <a:lnTo>
                    <a:pt x="271" y="3"/>
                  </a:lnTo>
                  <a:lnTo>
                    <a:pt x="275" y="6"/>
                  </a:lnTo>
                  <a:lnTo>
                    <a:pt x="276" y="11"/>
                  </a:lnTo>
                  <a:lnTo>
                    <a:pt x="276" y="46"/>
                  </a:lnTo>
                  <a:lnTo>
                    <a:pt x="277" y="50"/>
                  </a:lnTo>
                  <a:lnTo>
                    <a:pt x="280" y="54"/>
                  </a:lnTo>
                  <a:lnTo>
                    <a:pt x="285" y="56"/>
                  </a:lnTo>
                  <a:lnTo>
                    <a:pt x="289" y="56"/>
                  </a:lnTo>
                  <a:lnTo>
                    <a:pt x="341" y="56"/>
                  </a:lnTo>
                  <a:lnTo>
                    <a:pt x="347" y="57"/>
                  </a:lnTo>
                  <a:lnTo>
                    <a:pt x="351" y="59"/>
                  </a:lnTo>
                  <a:lnTo>
                    <a:pt x="355" y="63"/>
                  </a:lnTo>
                  <a:lnTo>
                    <a:pt x="355" y="66"/>
                  </a:lnTo>
                  <a:lnTo>
                    <a:pt x="355" y="83"/>
                  </a:lnTo>
                  <a:lnTo>
                    <a:pt x="54" y="83"/>
                  </a:lnTo>
                  <a:lnTo>
                    <a:pt x="54" y="58"/>
                  </a:lnTo>
                  <a:lnTo>
                    <a:pt x="0" y="58"/>
                  </a:lnTo>
                  <a:lnTo>
                    <a:pt x="0" y="27"/>
                  </a:lnTo>
                  <a:lnTo>
                    <a:pt x="0" y="26"/>
                  </a:lnTo>
                  <a:lnTo>
                    <a:pt x="1" y="20"/>
                  </a:lnTo>
                  <a:lnTo>
                    <a:pt x="4" y="14"/>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697" name="Freeform 1145">
              <a:extLst>
                <a:ext uri="{FF2B5EF4-FFF2-40B4-BE49-F238E27FC236}">
                  <a16:creationId xmlns:a16="http://schemas.microsoft.com/office/drawing/2014/main" id="{7CF00E32-F8B1-48D7-AFF2-A68BB84A69EB}"/>
                </a:ext>
              </a:extLst>
            </p:cNvPr>
            <p:cNvSpPr>
              <a:spLocks noChangeAspect="1"/>
            </p:cNvSpPr>
            <p:nvPr/>
          </p:nvSpPr>
          <p:spPr bwMode="auto">
            <a:xfrm>
              <a:off x="7058026" y="4118928"/>
              <a:ext cx="60325" cy="19050"/>
            </a:xfrm>
            <a:custGeom>
              <a:avLst/>
              <a:gdLst>
                <a:gd name="T0" fmla="*/ 4 w 355"/>
                <a:gd name="T1" fmla="*/ 14 h 83"/>
                <a:gd name="T2" fmla="*/ 10 w 355"/>
                <a:gd name="T3" fmla="*/ 7 h 83"/>
                <a:gd name="T4" fmla="*/ 17 w 355"/>
                <a:gd name="T5" fmla="*/ 3 h 83"/>
                <a:gd name="T6" fmla="*/ 26 w 355"/>
                <a:gd name="T7" fmla="*/ 1 h 83"/>
                <a:gd name="T8" fmla="*/ 34 w 355"/>
                <a:gd name="T9" fmla="*/ 0 h 83"/>
                <a:gd name="T10" fmla="*/ 262 w 355"/>
                <a:gd name="T11" fmla="*/ 0 h 83"/>
                <a:gd name="T12" fmla="*/ 268 w 355"/>
                <a:gd name="T13" fmla="*/ 1 h 83"/>
                <a:gd name="T14" fmla="*/ 271 w 355"/>
                <a:gd name="T15" fmla="*/ 3 h 83"/>
                <a:gd name="T16" fmla="*/ 275 w 355"/>
                <a:gd name="T17" fmla="*/ 6 h 83"/>
                <a:gd name="T18" fmla="*/ 276 w 355"/>
                <a:gd name="T19" fmla="*/ 11 h 83"/>
                <a:gd name="T20" fmla="*/ 276 w 355"/>
                <a:gd name="T21" fmla="*/ 46 h 83"/>
                <a:gd name="T22" fmla="*/ 277 w 355"/>
                <a:gd name="T23" fmla="*/ 50 h 83"/>
                <a:gd name="T24" fmla="*/ 280 w 355"/>
                <a:gd name="T25" fmla="*/ 54 h 83"/>
                <a:gd name="T26" fmla="*/ 285 w 355"/>
                <a:gd name="T27" fmla="*/ 56 h 83"/>
                <a:gd name="T28" fmla="*/ 289 w 355"/>
                <a:gd name="T29" fmla="*/ 56 h 83"/>
                <a:gd name="T30" fmla="*/ 341 w 355"/>
                <a:gd name="T31" fmla="*/ 56 h 83"/>
                <a:gd name="T32" fmla="*/ 347 w 355"/>
                <a:gd name="T33" fmla="*/ 57 h 83"/>
                <a:gd name="T34" fmla="*/ 351 w 355"/>
                <a:gd name="T35" fmla="*/ 59 h 83"/>
                <a:gd name="T36" fmla="*/ 355 w 355"/>
                <a:gd name="T37" fmla="*/ 63 h 83"/>
                <a:gd name="T38" fmla="*/ 355 w 355"/>
                <a:gd name="T39" fmla="*/ 66 h 83"/>
                <a:gd name="T40" fmla="*/ 355 w 355"/>
                <a:gd name="T41" fmla="*/ 83 h 83"/>
                <a:gd name="T42" fmla="*/ 54 w 355"/>
                <a:gd name="T43" fmla="*/ 83 h 83"/>
                <a:gd name="T44" fmla="*/ 54 w 355"/>
                <a:gd name="T45" fmla="*/ 58 h 83"/>
                <a:gd name="T46" fmla="*/ 0 w 355"/>
                <a:gd name="T47" fmla="*/ 58 h 83"/>
                <a:gd name="T48" fmla="*/ 0 w 355"/>
                <a:gd name="T49" fmla="*/ 27 h 83"/>
                <a:gd name="T50" fmla="*/ 0 w 355"/>
                <a:gd name="T51" fmla="*/ 26 h 83"/>
                <a:gd name="T52" fmla="*/ 1 w 355"/>
                <a:gd name="T53" fmla="*/ 20 h 83"/>
                <a:gd name="T54" fmla="*/ 4 w 355"/>
                <a:gd name="T55" fmla="*/ 1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5" h="83">
                  <a:moveTo>
                    <a:pt x="4" y="14"/>
                  </a:moveTo>
                  <a:lnTo>
                    <a:pt x="10" y="7"/>
                  </a:lnTo>
                  <a:lnTo>
                    <a:pt x="17" y="3"/>
                  </a:lnTo>
                  <a:lnTo>
                    <a:pt x="26" y="1"/>
                  </a:lnTo>
                  <a:lnTo>
                    <a:pt x="34" y="0"/>
                  </a:lnTo>
                  <a:lnTo>
                    <a:pt x="262" y="0"/>
                  </a:lnTo>
                  <a:lnTo>
                    <a:pt x="268" y="1"/>
                  </a:lnTo>
                  <a:lnTo>
                    <a:pt x="271" y="3"/>
                  </a:lnTo>
                  <a:lnTo>
                    <a:pt x="275" y="6"/>
                  </a:lnTo>
                  <a:lnTo>
                    <a:pt x="276" y="11"/>
                  </a:lnTo>
                  <a:lnTo>
                    <a:pt x="276" y="46"/>
                  </a:lnTo>
                  <a:lnTo>
                    <a:pt x="277" y="50"/>
                  </a:lnTo>
                  <a:lnTo>
                    <a:pt x="280" y="54"/>
                  </a:lnTo>
                  <a:lnTo>
                    <a:pt x="285" y="56"/>
                  </a:lnTo>
                  <a:lnTo>
                    <a:pt x="289" y="56"/>
                  </a:lnTo>
                  <a:lnTo>
                    <a:pt x="341" y="56"/>
                  </a:lnTo>
                  <a:lnTo>
                    <a:pt x="347" y="57"/>
                  </a:lnTo>
                  <a:lnTo>
                    <a:pt x="351" y="59"/>
                  </a:lnTo>
                  <a:lnTo>
                    <a:pt x="355" y="63"/>
                  </a:lnTo>
                  <a:lnTo>
                    <a:pt x="355" y="66"/>
                  </a:lnTo>
                  <a:lnTo>
                    <a:pt x="355" y="83"/>
                  </a:lnTo>
                  <a:lnTo>
                    <a:pt x="54" y="83"/>
                  </a:lnTo>
                  <a:lnTo>
                    <a:pt x="54" y="58"/>
                  </a:lnTo>
                  <a:lnTo>
                    <a:pt x="0" y="58"/>
                  </a:lnTo>
                  <a:lnTo>
                    <a:pt x="0" y="27"/>
                  </a:lnTo>
                  <a:lnTo>
                    <a:pt x="0" y="26"/>
                  </a:lnTo>
                  <a:lnTo>
                    <a:pt x="1" y="20"/>
                  </a:lnTo>
                  <a:lnTo>
                    <a:pt x="4" y="14"/>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698" name="Freeform 1146">
              <a:extLst>
                <a:ext uri="{FF2B5EF4-FFF2-40B4-BE49-F238E27FC236}">
                  <a16:creationId xmlns:a16="http://schemas.microsoft.com/office/drawing/2014/main" id="{2B31259C-D81C-457C-A299-2775C24277E2}"/>
                </a:ext>
              </a:extLst>
            </p:cNvPr>
            <p:cNvSpPr>
              <a:spLocks noChangeAspect="1"/>
            </p:cNvSpPr>
            <p:nvPr/>
          </p:nvSpPr>
          <p:spPr bwMode="auto">
            <a:xfrm>
              <a:off x="7110414" y="3858578"/>
              <a:ext cx="77787" cy="271462"/>
            </a:xfrm>
            <a:custGeom>
              <a:avLst/>
              <a:gdLst>
                <a:gd name="T0" fmla="*/ 0 w 463"/>
                <a:gd name="T1" fmla="*/ 1189 h 1204"/>
                <a:gd name="T2" fmla="*/ 6 w 463"/>
                <a:gd name="T3" fmla="*/ 1157 h 1204"/>
                <a:gd name="T4" fmla="*/ 249 w 463"/>
                <a:gd name="T5" fmla="*/ 14 h 1204"/>
                <a:gd name="T6" fmla="*/ 251 w 463"/>
                <a:gd name="T7" fmla="*/ 10 h 1204"/>
                <a:gd name="T8" fmla="*/ 253 w 463"/>
                <a:gd name="T9" fmla="*/ 7 h 1204"/>
                <a:gd name="T10" fmla="*/ 256 w 463"/>
                <a:gd name="T11" fmla="*/ 5 h 1204"/>
                <a:gd name="T12" fmla="*/ 260 w 463"/>
                <a:gd name="T13" fmla="*/ 2 h 1204"/>
                <a:gd name="T14" fmla="*/ 265 w 463"/>
                <a:gd name="T15" fmla="*/ 0 h 1204"/>
                <a:gd name="T16" fmla="*/ 270 w 463"/>
                <a:gd name="T17" fmla="*/ 0 h 1204"/>
                <a:gd name="T18" fmla="*/ 463 w 463"/>
                <a:gd name="T19" fmla="*/ 0 h 1204"/>
                <a:gd name="T20" fmla="*/ 209 w 463"/>
                <a:gd name="T21" fmla="*/ 1204 h 1204"/>
                <a:gd name="T22" fmla="*/ 18 w 463"/>
                <a:gd name="T23" fmla="*/ 1204 h 1204"/>
                <a:gd name="T24" fmla="*/ 15 w 463"/>
                <a:gd name="T25" fmla="*/ 1203 h 1204"/>
                <a:gd name="T26" fmla="*/ 11 w 463"/>
                <a:gd name="T27" fmla="*/ 1202 h 1204"/>
                <a:gd name="T28" fmla="*/ 8 w 463"/>
                <a:gd name="T29" fmla="*/ 1201 h 1204"/>
                <a:gd name="T30" fmla="*/ 4 w 463"/>
                <a:gd name="T31" fmla="*/ 1198 h 1204"/>
                <a:gd name="T32" fmla="*/ 2 w 463"/>
                <a:gd name="T33" fmla="*/ 1196 h 1204"/>
                <a:gd name="T34" fmla="*/ 1 w 463"/>
                <a:gd name="T35" fmla="*/ 1193 h 1204"/>
                <a:gd name="T36" fmla="*/ 0 w 463"/>
                <a:gd name="T37" fmla="*/ 1189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3" h="1204">
                  <a:moveTo>
                    <a:pt x="0" y="1189"/>
                  </a:moveTo>
                  <a:lnTo>
                    <a:pt x="6" y="1157"/>
                  </a:lnTo>
                  <a:lnTo>
                    <a:pt x="249" y="14"/>
                  </a:lnTo>
                  <a:lnTo>
                    <a:pt x="251" y="10"/>
                  </a:lnTo>
                  <a:lnTo>
                    <a:pt x="253" y="7"/>
                  </a:lnTo>
                  <a:lnTo>
                    <a:pt x="256" y="5"/>
                  </a:lnTo>
                  <a:lnTo>
                    <a:pt x="260" y="2"/>
                  </a:lnTo>
                  <a:lnTo>
                    <a:pt x="265" y="0"/>
                  </a:lnTo>
                  <a:lnTo>
                    <a:pt x="270" y="0"/>
                  </a:lnTo>
                  <a:lnTo>
                    <a:pt x="463" y="0"/>
                  </a:lnTo>
                  <a:lnTo>
                    <a:pt x="209" y="1204"/>
                  </a:lnTo>
                  <a:lnTo>
                    <a:pt x="18" y="1204"/>
                  </a:lnTo>
                  <a:lnTo>
                    <a:pt x="15" y="1203"/>
                  </a:lnTo>
                  <a:lnTo>
                    <a:pt x="11" y="1202"/>
                  </a:lnTo>
                  <a:lnTo>
                    <a:pt x="8" y="1201"/>
                  </a:lnTo>
                  <a:lnTo>
                    <a:pt x="4" y="1198"/>
                  </a:lnTo>
                  <a:lnTo>
                    <a:pt x="2" y="1196"/>
                  </a:lnTo>
                  <a:lnTo>
                    <a:pt x="1" y="1193"/>
                  </a:lnTo>
                  <a:lnTo>
                    <a:pt x="0" y="1189"/>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699" name="Freeform 1147">
              <a:extLst>
                <a:ext uri="{FF2B5EF4-FFF2-40B4-BE49-F238E27FC236}">
                  <a16:creationId xmlns:a16="http://schemas.microsoft.com/office/drawing/2014/main" id="{7A0AD741-56FA-453A-87C3-6F9D2BE140D1}"/>
                </a:ext>
              </a:extLst>
            </p:cNvPr>
            <p:cNvSpPr>
              <a:spLocks noChangeAspect="1"/>
            </p:cNvSpPr>
            <p:nvPr/>
          </p:nvSpPr>
          <p:spPr bwMode="auto">
            <a:xfrm>
              <a:off x="7110414" y="3858578"/>
              <a:ext cx="77787" cy="271462"/>
            </a:xfrm>
            <a:custGeom>
              <a:avLst/>
              <a:gdLst>
                <a:gd name="T0" fmla="*/ 0 w 463"/>
                <a:gd name="T1" fmla="*/ 1189 h 1204"/>
                <a:gd name="T2" fmla="*/ 6 w 463"/>
                <a:gd name="T3" fmla="*/ 1157 h 1204"/>
                <a:gd name="T4" fmla="*/ 249 w 463"/>
                <a:gd name="T5" fmla="*/ 14 h 1204"/>
                <a:gd name="T6" fmla="*/ 251 w 463"/>
                <a:gd name="T7" fmla="*/ 10 h 1204"/>
                <a:gd name="T8" fmla="*/ 253 w 463"/>
                <a:gd name="T9" fmla="*/ 7 h 1204"/>
                <a:gd name="T10" fmla="*/ 256 w 463"/>
                <a:gd name="T11" fmla="*/ 5 h 1204"/>
                <a:gd name="T12" fmla="*/ 260 w 463"/>
                <a:gd name="T13" fmla="*/ 2 h 1204"/>
                <a:gd name="T14" fmla="*/ 265 w 463"/>
                <a:gd name="T15" fmla="*/ 0 h 1204"/>
                <a:gd name="T16" fmla="*/ 270 w 463"/>
                <a:gd name="T17" fmla="*/ 0 h 1204"/>
                <a:gd name="T18" fmla="*/ 463 w 463"/>
                <a:gd name="T19" fmla="*/ 0 h 1204"/>
                <a:gd name="T20" fmla="*/ 209 w 463"/>
                <a:gd name="T21" fmla="*/ 1204 h 1204"/>
                <a:gd name="T22" fmla="*/ 18 w 463"/>
                <a:gd name="T23" fmla="*/ 1204 h 1204"/>
                <a:gd name="T24" fmla="*/ 15 w 463"/>
                <a:gd name="T25" fmla="*/ 1203 h 1204"/>
                <a:gd name="T26" fmla="*/ 11 w 463"/>
                <a:gd name="T27" fmla="*/ 1202 h 1204"/>
                <a:gd name="T28" fmla="*/ 8 w 463"/>
                <a:gd name="T29" fmla="*/ 1201 h 1204"/>
                <a:gd name="T30" fmla="*/ 4 w 463"/>
                <a:gd name="T31" fmla="*/ 1198 h 1204"/>
                <a:gd name="T32" fmla="*/ 2 w 463"/>
                <a:gd name="T33" fmla="*/ 1196 h 1204"/>
                <a:gd name="T34" fmla="*/ 1 w 463"/>
                <a:gd name="T35" fmla="*/ 1193 h 1204"/>
                <a:gd name="T36" fmla="*/ 0 w 463"/>
                <a:gd name="T37" fmla="*/ 1189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3" h="1204">
                  <a:moveTo>
                    <a:pt x="0" y="1189"/>
                  </a:moveTo>
                  <a:lnTo>
                    <a:pt x="6" y="1157"/>
                  </a:lnTo>
                  <a:lnTo>
                    <a:pt x="249" y="14"/>
                  </a:lnTo>
                  <a:lnTo>
                    <a:pt x="251" y="10"/>
                  </a:lnTo>
                  <a:lnTo>
                    <a:pt x="253" y="7"/>
                  </a:lnTo>
                  <a:lnTo>
                    <a:pt x="256" y="5"/>
                  </a:lnTo>
                  <a:lnTo>
                    <a:pt x="260" y="2"/>
                  </a:lnTo>
                  <a:lnTo>
                    <a:pt x="265" y="0"/>
                  </a:lnTo>
                  <a:lnTo>
                    <a:pt x="270" y="0"/>
                  </a:lnTo>
                  <a:lnTo>
                    <a:pt x="463" y="0"/>
                  </a:lnTo>
                  <a:lnTo>
                    <a:pt x="209" y="1204"/>
                  </a:lnTo>
                  <a:lnTo>
                    <a:pt x="18" y="1204"/>
                  </a:lnTo>
                  <a:lnTo>
                    <a:pt x="15" y="1203"/>
                  </a:lnTo>
                  <a:lnTo>
                    <a:pt x="11" y="1202"/>
                  </a:lnTo>
                  <a:lnTo>
                    <a:pt x="8" y="1201"/>
                  </a:lnTo>
                  <a:lnTo>
                    <a:pt x="4" y="1198"/>
                  </a:lnTo>
                  <a:lnTo>
                    <a:pt x="2" y="1196"/>
                  </a:lnTo>
                  <a:lnTo>
                    <a:pt x="1" y="1193"/>
                  </a:lnTo>
                  <a:lnTo>
                    <a:pt x="0" y="118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00" name="Freeform 1148">
              <a:extLst>
                <a:ext uri="{FF2B5EF4-FFF2-40B4-BE49-F238E27FC236}">
                  <a16:creationId xmlns:a16="http://schemas.microsoft.com/office/drawing/2014/main" id="{67C2C284-8F5D-415E-843D-8A44CE129DFC}"/>
                </a:ext>
              </a:extLst>
            </p:cNvPr>
            <p:cNvSpPr>
              <a:spLocks noChangeAspect="1"/>
            </p:cNvSpPr>
            <p:nvPr/>
          </p:nvSpPr>
          <p:spPr bwMode="auto">
            <a:xfrm>
              <a:off x="7153275" y="3699828"/>
              <a:ext cx="107950" cy="157162"/>
            </a:xfrm>
            <a:custGeom>
              <a:avLst/>
              <a:gdLst>
                <a:gd name="T0" fmla="*/ 13 w 640"/>
                <a:gd name="T1" fmla="*/ 706 h 706"/>
                <a:gd name="T2" fmla="*/ 3 w 640"/>
                <a:gd name="T3" fmla="*/ 702 h 706"/>
                <a:gd name="T4" fmla="*/ 0 w 640"/>
                <a:gd name="T5" fmla="*/ 693 h 706"/>
                <a:gd name="T6" fmla="*/ 43 w 640"/>
                <a:gd name="T7" fmla="*/ 588 h 706"/>
                <a:gd name="T8" fmla="*/ 97 w 640"/>
                <a:gd name="T9" fmla="*/ 484 h 706"/>
                <a:gd name="T10" fmla="*/ 108 w 640"/>
                <a:gd name="T11" fmla="*/ 467 h 706"/>
                <a:gd name="T12" fmla="*/ 159 w 640"/>
                <a:gd name="T13" fmla="*/ 384 h 706"/>
                <a:gd name="T14" fmla="*/ 183 w 640"/>
                <a:gd name="T15" fmla="*/ 354 h 706"/>
                <a:gd name="T16" fmla="*/ 232 w 640"/>
                <a:gd name="T17" fmla="*/ 288 h 706"/>
                <a:gd name="T18" fmla="*/ 262 w 640"/>
                <a:gd name="T19" fmla="*/ 253 h 706"/>
                <a:gd name="T20" fmla="*/ 405 w 640"/>
                <a:gd name="T21" fmla="*/ 78 h 706"/>
                <a:gd name="T22" fmla="*/ 465 w 640"/>
                <a:gd name="T23" fmla="*/ 5 h 706"/>
                <a:gd name="T24" fmla="*/ 474 w 640"/>
                <a:gd name="T25" fmla="*/ 0 h 706"/>
                <a:gd name="T26" fmla="*/ 486 w 640"/>
                <a:gd name="T27" fmla="*/ 2 h 706"/>
                <a:gd name="T28" fmla="*/ 640 w 640"/>
                <a:gd name="T29" fmla="*/ 83 h 706"/>
                <a:gd name="T30" fmla="*/ 607 w 640"/>
                <a:gd name="T31" fmla="*/ 138 h 706"/>
                <a:gd name="T32" fmla="*/ 497 w 640"/>
                <a:gd name="T33" fmla="*/ 323 h 706"/>
                <a:gd name="T34" fmla="*/ 432 w 640"/>
                <a:gd name="T35" fmla="*/ 434 h 706"/>
                <a:gd name="T36" fmla="*/ 411 w 640"/>
                <a:gd name="T37" fmla="*/ 467 h 706"/>
                <a:gd name="T38" fmla="*/ 388 w 640"/>
                <a:gd name="T39" fmla="*/ 507 h 706"/>
                <a:gd name="T40" fmla="*/ 316 w 640"/>
                <a:gd name="T41" fmla="*/ 628 h 706"/>
                <a:gd name="T42" fmla="*/ 268 w 640"/>
                <a:gd name="T43" fmla="*/ 706 h 706"/>
                <a:gd name="T44" fmla="*/ 227 w 640"/>
                <a:gd name="T45" fmla="*/ 706 h 706"/>
                <a:gd name="T46" fmla="*/ 13 w 640"/>
                <a:gd name="T47" fmla="*/ 706 h 706"/>
                <a:gd name="T48" fmla="*/ 3 w 640"/>
                <a:gd name="T49" fmla="*/ 702 h 706"/>
                <a:gd name="T50" fmla="*/ 13 w 640"/>
                <a:gd name="T51"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0" h="706">
                  <a:moveTo>
                    <a:pt x="13" y="706"/>
                  </a:moveTo>
                  <a:lnTo>
                    <a:pt x="3" y="702"/>
                  </a:lnTo>
                  <a:lnTo>
                    <a:pt x="0" y="693"/>
                  </a:lnTo>
                  <a:lnTo>
                    <a:pt x="43" y="588"/>
                  </a:lnTo>
                  <a:lnTo>
                    <a:pt x="97" y="484"/>
                  </a:lnTo>
                  <a:lnTo>
                    <a:pt x="108" y="467"/>
                  </a:lnTo>
                  <a:lnTo>
                    <a:pt x="159" y="384"/>
                  </a:lnTo>
                  <a:lnTo>
                    <a:pt x="183" y="354"/>
                  </a:lnTo>
                  <a:lnTo>
                    <a:pt x="232" y="288"/>
                  </a:lnTo>
                  <a:lnTo>
                    <a:pt x="262" y="253"/>
                  </a:lnTo>
                  <a:lnTo>
                    <a:pt x="405" y="78"/>
                  </a:lnTo>
                  <a:lnTo>
                    <a:pt x="465" y="5"/>
                  </a:lnTo>
                  <a:lnTo>
                    <a:pt x="474" y="0"/>
                  </a:lnTo>
                  <a:lnTo>
                    <a:pt x="486" y="2"/>
                  </a:lnTo>
                  <a:lnTo>
                    <a:pt x="640" y="83"/>
                  </a:lnTo>
                  <a:lnTo>
                    <a:pt x="607" y="138"/>
                  </a:lnTo>
                  <a:lnTo>
                    <a:pt x="497" y="323"/>
                  </a:lnTo>
                  <a:lnTo>
                    <a:pt x="432" y="434"/>
                  </a:lnTo>
                  <a:lnTo>
                    <a:pt x="411" y="467"/>
                  </a:lnTo>
                  <a:lnTo>
                    <a:pt x="388" y="507"/>
                  </a:lnTo>
                  <a:lnTo>
                    <a:pt x="316" y="628"/>
                  </a:lnTo>
                  <a:lnTo>
                    <a:pt x="268" y="706"/>
                  </a:lnTo>
                  <a:lnTo>
                    <a:pt x="227" y="706"/>
                  </a:lnTo>
                  <a:lnTo>
                    <a:pt x="13" y="706"/>
                  </a:lnTo>
                  <a:lnTo>
                    <a:pt x="3" y="702"/>
                  </a:lnTo>
                  <a:lnTo>
                    <a:pt x="13" y="706"/>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701" name="Freeform 1149">
              <a:extLst>
                <a:ext uri="{FF2B5EF4-FFF2-40B4-BE49-F238E27FC236}">
                  <a16:creationId xmlns:a16="http://schemas.microsoft.com/office/drawing/2014/main" id="{372BEBFC-7DC9-44D9-BA55-945B14619808}"/>
                </a:ext>
              </a:extLst>
            </p:cNvPr>
            <p:cNvSpPr>
              <a:spLocks noChangeAspect="1"/>
            </p:cNvSpPr>
            <p:nvPr/>
          </p:nvSpPr>
          <p:spPr bwMode="auto">
            <a:xfrm>
              <a:off x="7153275" y="3699828"/>
              <a:ext cx="107950" cy="157162"/>
            </a:xfrm>
            <a:custGeom>
              <a:avLst/>
              <a:gdLst>
                <a:gd name="T0" fmla="*/ 13 w 640"/>
                <a:gd name="T1" fmla="*/ 706 h 706"/>
                <a:gd name="T2" fmla="*/ 3 w 640"/>
                <a:gd name="T3" fmla="*/ 702 h 706"/>
                <a:gd name="T4" fmla="*/ 0 w 640"/>
                <a:gd name="T5" fmla="*/ 693 h 706"/>
                <a:gd name="T6" fmla="*/ 43 w 640"/>
                <a:gd name="T7" fmla="*/ 588 h 706"/>
                <a:gd name="T8" fmla="*/ 97 w 640"/>
                <a:gd name="T9" fmla="*/ 484 h 706"/>
                <a:gd name="T10" fmla="*/ 108 w 640"/>
                <a:gd name="T11" fmla="*/ 467 h 706"/>
                <a:gd name="T12" fmla="*/ 159 w 640"/>
                <a:gd name="T13" fmla="*/ 384 h 706"/>
                <a:gd name="T14" fmla="*/ 183 w 640"/>
                <a:gd name="T15" fmla="*/ 354 h 706"/>
                <a:gd name="T16" fmla="*/ 232 w 640"/>
                <a:gd name="T17" fmla="*/ 288 h 706"/>
                <a:gd name="T18" fmla="*/ 262 w 640"/>
                <a:gd name="T19" fmla="*/ 253 h 706"/>
                <a:gd name="T20" fmla="*/ 405 w 640"/>
                <a:gd name="T21" fmla="*/ 78 h 706"/>
                <a:gd name="T22" fmla="*/ 465 w 640"/>
                <a:gd name="T23" fmla="*/ 5 h 706"/>
                <a:gd name="T24" fmla="*/ 474 w 640"/>
                <a:gd name="T25" fmla="*/ 0 h 706"/>
                <a:gd name="T26" fmla="*/ 486 w 640"/>
                <a:gd name="T27" fmla="*/ 2 h 706"/>
                <a:gd name="T28" fmla="*/ 640 w 640"/>
                <a:gd name="T29" fmla="*/ 83 h 706"/>
                <a:gd name="T30" fmla="*/ 607 w 640"/>
                <a:gd name="T31" fmla="*/ 138 h 706"/>
                <a:gd name="T32" fmla="*/ 497 w 640"/>
                <a:gd name="T33" fmla="*/ 323 h 706"/>
                <a:gd name="T34" fmla="*/ 432 w 640"/>
                <a:gd name="T35" fmla="*/ 434 h 706"/>
                <a:gd name="T36" fmla="*/ 411 w 640"/>
                <a:gd name="T37" fmla="*/ 467 h 706"/>
                <a:gd name="T38" fmla="*/ 388 w 640"/>
                <a:gd name="T39" fmla="*/ 507 h 706"/>
                <a:gd name="T40" fmla="*/ 316 w 640"/>
                <a:gd name="T41" fmla="*/ 628 h 706"/>
                <a:gd name="T42" fmla="*/ 268 w 640"/>
                <a:gd name="T43" fmla="*/ 706 h 706"/>
                <a:gd name="T44" fmla="*/ 227 w 640"/>
                <a:gd name="T45" fmla="*/ 706 h 706"/>
                <a:gd name="T46" fmla="*/ 13 w 640"/>
                <a:gd name="T47" fmla="*/ 706 h 706"/>
                <a:gd name="T48" fmla="*/ 3 w 640"/>
                <a:gd name="T49" fmla="*/ 702 h 706"/>
                <a:gd name="T50" fmla="*/ 13 w 640"/>
                <a:gd name="T51"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0" h="706">
                  <a:moveTo>
                    <a:pt x="13" y="706"/>
                  </a:moveTo>
                  <a:lnTo>
                    <a:pt x="3" y="702"/>
                  </a:lnTo>
                  <a:lnTo>
                    <a:pt x="0" y="693"/>
                  </a:lnTo>
                  <a:lnTo>
                    <a:pt x="43" y="588"/>
                  </a:lnTo>
                  <a:lnTo>
                    <a:pt x="97" y="484"/>
                  </a:lnTo>
                  <a:lnTo>
                    <a:pt x="108" y="467"/>
                  </a:lnTo>
                  <a:lnTo>
                    <a:pt x="159" y="384"/>
                  </a:lnTo>
                  <a:lnTo>
                    <a:pt x="183" y="354"/>
                  </a:lnTo>
                  <a:lnTo>
                    <a:pt x="232" y="288"/>
                  </a:lnTo>
                  <a:lnTo>
                    <a:pt x="262" y="253"/>
                  </a:lnTo>
                  <a:lnTo>
                    <a:pt x="405" y="78"/>
                  </a:lnTo>
                  <a:lnTo>
                    <a:pt x="465" y="5"/>
                  </a:lnTo>
                  <a:lnTo>
                    <a:pt x="474" y="0"/>
                  </a:lnTo>
                  <a:lnTo>
                    <a:pt x="486" y="2"/>
                  </a:lnTo>
                  <a:lnTo>
                    <a:pt x="640" y="83"/>
                  </a:lnTo>
                  <a:lnTo>
                    <a:pt x="607" y="138"/>
                  </a:lnTo>
                  <a:lnTo>
                    <a:pt x="497" y="323"/>
                  </a:lnTo>
                  <a:lnTo>
                    <a:pt x="432" y="434"/>
                  </a:lnTo>
                  <a:lnTo>
                    <a:pt x="411" y="467"/>
                  </a:lnTo>
                  <a:lnTo>
                    <a:pt x="388" y="507"/>
                  </a:lnTo>
                  <a:lnTo>
                    <a:pt x="316" y="628"/>
                  </a:lnTo>
                  <a:lnTo>
                    <a:pt x="268" y="706"/>
                  </a:lnTo>
                  <a:lnTo>
                    <a:pt x="227" y="706"/>
                  </a:lnTo>
                  <a:lnTo>
                    <a:pt x="13" y="706"/>
                  </a:lnTo>
                  <a:lnTo>
                    <a:pt x="3" y="702"/>
                  </a:lnTo>
                  <a:lnTo>
                    <a:pt x="13" y="706"/>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02" name="Freeform 1150">
              <a:extLst>
                <a:ext uri="{FF2B5EF4-FFF2-40B4-BE49-F238E27FC236}">
                  <a16:creationId xmlns:a16="http://schemas.microsoft.com/office/drawing/2014/main" id="{A5C278E2-390A-4AB1-B6CD-A5C39FE4684C}"/>
                </a:ext>
              </a:extLst>
            </p:cNvPr>
            <p:cNvSpPr>
              <a:spLocks noChangeAspect="1"/>
            </p:cNvSpPr>
            <p:nvPr/>
          </p:nvSpPr>
          <p:spPr bwMode="auto">
            <a:xfrm>
              <a:off x="7234238" y="3550603"/>
              <a:ext cx="127000" cy="188912"/>
            </a:xfrm>
            <a:custGeom>
              <a:avLst/>
              <a:gdLst>
                <a:gd name="T0" fmla="*/ 6 w 755"/>
                <a:gd name="T1" fmla="*/ 657 h 844"/>
                <a:gd name="T2" fmla="*/ 0 w 755"/>
                <a:gd name="T3" fmla="*/ 651 h 844"/>
                <a:gd name="T4" fmla="*/ 2 w 755"/>
                <a:gd name="T5" fmla="*/ 644 h 844"/>
                <a:gd name="T6" fmla="*/ 603 w 755"/>
                <a:gd name="T7" fmla="*/ 4 h 844"/>
                <a:gd name="T8" fmla="*/ 615 w 755"/>
                <a:gd name="T9" fmla="*/ 0 h 844"/>
                <a:gd name="T10" fmla="*/ 681 w 755"/>
                <a:gd name="T11" fmla="*/ 0 h 844"/>
                <a:gd name="T12" fmla="*/ 692 w 755"/>
                <a:gd name="T13" fmla="*/ 4 h 844"/>
                <a:gd name="T14" fmla="*/ 693 w 755"/>
                <a:gd name="T15" fmla="*/ 13 h 844"/>
                <a:gd name="T16" fmla="*/ 675 w 755"/>
                <a:gd name="T17" fmla="*/ 51 h 844"/>
                <a:gd name="T18" fmla="*/ 676 w 755"/>
                <a:gd name="T19" fmla="*/ 62 h 844"/>
                <a:gd name="T20" fmla="*/ 688 w 755"/>
                <a:gd name="T21" fmla="*/ 69 h 844"/>
                <a:gd name="T22" fmla="*/ 755 w 755"/>
                <a:gd name="T23" fmla="*/ 88 h 844"/>
                <a:gd name="T24" fmla="*/ 384 w 755"/>
                <a:gd name="T25" fmla="*/ 844 h 844"/>
                <a:gd name="T26" fmla="*/ 307 w 755"/>
                <a:gd name="T27" fmla="*/ 820 h 844"/>
                <a:gd name="T28" fmla="*/ 6 w 755"/>
                <a:gd name="T29" fmla="*/ 657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5" h="844">
                  <a:moveTo>
                    <a:pt x="6" y="657"/>
                  </a:moveTo>
                  <a:lnTo>
                    <a:pt x="0" y="651"/>
                  </a:lnTo>
                  <a:lnTo>
                    <a:pt x="2" y="644"/>
                  </a:lnTo>
                  <a:lnTo>
                    <a:pt x="603" y="4"/>
                  </a:lnTo>
                  <a:lnTo>
                    <a:pt x="615" y="0"/>
                  </a:lnTo>
                  <a:lnTo>
                    <a:pt x="681" y="0"/>
                  </a:lnTo>
                  <a:lnTo>
                    <a:pt x="692" y="4"/>
                  </a:lnTo>
                  <a:lnTo>
                    <a:pt x="693" y="13"/>
                  </a:lnTo>
                  <a:lnTo>
                    <a:pt x="675" y="51"/>
                  </a:lnTo>
                  <a:lnTo>
                    <a:pt x="676" y="62"/>
                  </a:lnTo>
                  <a:lnTo>
                    <a:pt x="688" y="69"/>
                  </a:lnTo>
                  <a:lnTo>
                    <a:pt x="755" y="88"/>
                  </a:lnTo>
                  <a:lnTo>
                    <a:pt x="384" y="844"/>
                  </a:lnTo>
                  <a:lnTo>
                    <a:pt x="307" y="820"/>
                  </a:lnTo>
                  <a:lnTo>
                    <a:pt x="6" y="657"/>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703" name="Freeform 1151">
              <a:extLst>
                <a:ext uri="{FF2B5EF4-FFF2-40B4-BE49-F238E27FC236}">
                  <a16:creationId xmlns:a16="http://schemas.microsoft.com/office/drawing/2014/main" id="{AD33DEB5-C222-4B4B-B2FC-392C7CBD0815}"/>
                </a:ext>
              </a:extLst>
            </p:cNvPr>
            <p:cNvSpPr>
              <a:spLocks noChangeAspect="1"/>
            </p:cNvSpPr>
            <p:nvPr/>
          </p:nvSpPr>
          <p:spPr bwMode="auto">
            <a:xfrm>
              <a:off x="7234238" y="3550603"/>
              <a:ext cx="127000" cy="188912"/>
            </a:xfrm>
            <a:custGeom>
              <a:avLst/>
              <a:gdLst>
                <a:gd name="T0" fmla="*/ 6 w 755"/>
                <a:gd name="T1" fmla="*/ 657 h 844"/>
                <a:gd name="T2" fmla="*/ 0 w 755"/>
                <a:gd name="T3" fmla="*/ 651 h 844"/>
                <a:gd name="T4" fmla="*/ 2 w 755"/>
                <a:gd name="T5" fmla="*/ 644 h 844"/>
                <a:gd name="T6" fmla="*/ 603 w 755"/>
                <a:gd name="T7" fmla="*/ 4 h 844"/>
                <a:gd name="T8" fmla="*/ 615 w 755"/>
                <a:gd name="T9" fmla="*/ 0 h 844"/>
                <a:gd name="T10" fmla="*/ 681 w 755"/>
                <a:gd name="T11" fmla="*/ 0 h 844"/>
                <a:gd name="T12" fmla="*/ 692 w 755"/>
                <a:gd name="T13" fmla="*/ 4 h 844"/>
                <a:gd name="T14" fmla="*/ 693 w 755"/>
                <a:gd name="T15" fmla="*/ 13 h 844"/>
                <a:gd name="T16" fmla="*/ 675 w 755"/>
                <a:gd name="T17" fmla="*/ 51 h 844"/>
                <a:gd name="T18" fmla="*/ 676 w 755"/>
                <a:gd name="T19" fmla="*/ 62 h 844"/>
                <a:gd name="T20" fmla="*/ 688 w 755"/>
                <a:gd name="T21" fmla="*/ 69 h 844"/>
                <a:gd name="T22" fmla="*/ 755 w 755"/>
                <a:gd name="T23" fmla="*/ 88 h 844"/>
                <a:gd name="T24" fmla="*/ 384 w 755"/>
                <a:gd name="T25" fmla="*/ 844 h 844"/>
                <a:gd name="T26" fmla="*/ 307 w 755"/>
                <a:gd name="T27" fmla="*/ 820 h 844"/>
                <a:gd name="T28" fmla="*/ 6 w 755"/>
                <a:gd name="T29" fmla="*/ 657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5" h="844">
                  <a:moveTo>
                    <a:pt x="6" y="657"/>
                  </a:moveTo>
                  <a:lnTo>
                    <a:pt x="0" y="651"/>
                  </a:lnTo>
                  <a:lnTo>
                    <a:pt x="2" y="644"/>
                  </a:lnTo>
                  <a:lnTo>
                    <a:pt x="603" y="4"/>
                  </a:lnTo>
                  <a:lnTo>
                    <a:pt x="615" y="0"/>
                  </a:lnTo>
                  <a:lnTo>
                    <a:pt x="681" y="0"/>
                  </a:lnTo>
                  <a:lnTo>
                    <a:pt x="692" y="4"/>
                  </a:lnTo>
                  <a:lnTo>
                    <a:pt x="693" y="13"/>
                  </a:lnTo>
                  <a:lnTo>
                    <a:pt x="675" y="51"/>
                  </a:lnTo>
                  <a:lnTo>
                    <a:pt x="676" y="62"/>
                  </a:lnTo>
                  <a:lnTo>
                    <a:pt x="688" y="69"/>
                  </a:lnTo>
                  <a:lnTo>
                    <a:pt x="755" y="88"/>
                  </a:lnTo>
                  <a:lnTo>
                    <a:pt x="384" y="844"/>
                  </a:lnTo>
                  <a:lnTo>
                    <a:pt x="307" y="820"/>
                  </a:lnTo>
                  <a:lnTo>
                    <a:pt x="6" y="657"/>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04" name="Freeform 1152">
              <a:extLst>
                <a:ext uri="{FF2B5EF4-FFF2-40B4-BE49-F238E27FC236}">
                  <a16:creationId xmlns:a16="http://schemas.microsoft.com/office/drawing/2014/main" id="{FA3F371D-E804-4394-950D-95EBC3D2448D}"/>
                </a:ext>
              </a:extLst>
            </p:cNvPr>
            <p:cNvSpPr>
              <a:spLocks noChangeAspect="1"/>
            </p:cNvSpPr>
            <p:nvPr/>
          </p:nvSpPr>
          <p:spPr bwMode="auto">
            <a:xfrm>
              <a:off x="7350126" y="3550604"/>
              <a:ext cx="150813" cy="39687"/>
            </a:xfrm>
            <a:custGeom>
              <a:avLst/>
              <a:gdLst>
                <a:gd name="T0" fmla="*/ 29 w 895"/>
                <a:gd name="T1" fmla="*/ 0 h 178"/>
                <a:gd name="T2" fmla="*/ 635 w 895"/>
                <a:gd name="T3" fmla="*/ 0 h 178"/>
                <a:gd name="T4" fmla="*/ 861 w 895"/>
                <a:gd name="T5" fmla="*/ 0 h 178"/>
                <a:gd name="T6" fmla="*/ 879 w 895"/>
                <a:gd name="T7" fmla="*/ 3 h 178"/>
                <a:gd name="T8" fmla="*/ 892 w 895"/>
                <a:gd name="T9" fmla="*/ 13 h 178"/>
                <a:gd name="T10" fmla="*/ 895 w 895"/>
                <a:gd name="T11" fmla="*/ 26 h 178"/>
                <a:gd name="T12" fmla="*/ 891 w 895"/>
                <a:gd name="T13" fmla="*/ 40 h 178"/>
                <a:gd name="T14" fmla="*/ 769 w 895"/>
                <a:gd name="T15" fmla="*/ 178 h 178"/>
                <a:gd name="T16" fmla="*/ 217 w 895"/>
                <a:gd name="T17" fmla="*/ 178 h 178"/>
                <a:gd name="T18" fmla="*/ 217 w 895"/>
                <a:gd name="T19" fmla="*/ 143 h 178"/>
                <a:gd name="T20" fmla="*/ 212 w 895"/>
                <a:gd name="T21" fmla="*/ 118 h 178"/>
                <a:gd name="T22" fmla="*/ 197 w 895"/>
                <a:gd name="T23" fmla="*/ 95 h 178"/>
                <a:gd name="T24" fmla="*/ 171 w 895"/>
                <a:gd name="T25" fmla="*/ 75 h 178"/>
                <a:gd name="T26" fmla="*/ 139 w 895"/>
                <a:gd name="T27" fmla="*/ 65 h 178"/>
                <a:gd name="T28" fmla="*/ 107 w 895"/>
                <a:gd name="T29" fmla="*/ 61 h 178"/>
                <a:gd name="T30" fmla="*/ 19 w 895"/>
                <a:gd name="T31" fmla="*/ 61 h 178"/>
                <a:gd name="T32" fmla="*/ 0 w 895"/>
                <a:gd name="T33" fmla="*/ 42 h 178"/>
                <a:gd name="T34" fmla="*/ 15 w 895"/>
                <a:gd name="T35" fmla="*/ 7 h 178"/>
                <a:gd name="T36" fmla="*/ 21 w 895"/>
                <a:gd name="T37" fmla="*/ 2 h 178"/>
                <a:gd name="T38" fmla="*/ 29 w 895"/>
                <a:gd name="T3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5" h="178">
                  <a:moveTo>
                    <a:pt x="29" y="0"/>
                  </a:moveTo>
                  <a:lnTo>
                    <a:pt x="635" y="0"/>
                  </a:lnTo>
                  <a:lnTo>
                    <a:pt x="861" y="0"/>
                  </a:lnTo>
                  <a:lnTo>
                    <a:pt x="879" y="3"/>
                  </a:lnTo>
                  <a:lnTo>
                    <a:pt x="892" y="13"/>
                  </a:lnTo>
                  <a:lnTo>
                    <a:pt x="895" y="26"/>
                  </a:lnTo>
                  <a:lnTo>
                    <a:pt x="891" y="40"/>
                  </a:lnTo>
                  <a:lnTo>
                    <a:pt x="769" y="178"/>
                  </a:lnTo>
                  <a:lnTo>
                    <a:pt x="217" y="178"/>
                  </a:lnTo>
                  <a:lnTo>
                    <a:pt x="217" y="143"/>
                  </a:lnTo>
                  <a:lnTo>
                    <a:pt x="212" y="118"/>
                  </a:lnTo>
                  <a:lnTo>
                    <a:pt x="197" y="95"/>
                  </a:lnTo>
                  <a:lnTo>
                    <a:pt x="171" y="75"/>
                  </a:lnTo>
                  <a:lnTo>
                    <a:pt x="139" y="65"/>
                  </a:lnTo>
                  <a:lnTo>
                    <a:pt x="107" y="61"/>
                  </a:lnTo>
                  <a:lnTo>
                    <a:pt x="19" y="61"/>
                  </a:lnTo>
                  <a:lnTo>
                    <a:pt x="0" y="42"/>
                  </a:lnTo>
                  <a:lnTo>
                    <a:pt x="15" y="7"/>
                  </a:lnTo>
                  <a:lnTo>
                    <a:pt x="21" y="2"/>
                  </a:lnTo>
                  <a:lnTo>
                    <a:pt x="29" y="0"/>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705" name="Freeform 1153">
              <a:extLst>
                <a:ext uri="{FF2B5EF4-FFF2-40B4-BE49-F238E27FC236}">
                  <a16:creationId xmlns:a16="http://schemas.microsoft.com/office/drawing/2014/main" id="{9C0593D5-A034-4846-AFB6-8C4D33B55799}"/>
                </a:ext>
              </a:extLst>
            </p:cNvPr>
            <p:cNvSpPr>
              <a:spLocks noChangeAspect="1"/>
            </p:cNvSpPr>
            <p:nvPr/>
          </p:nvSpPr>
          <p:spPr bwMode="auto">
            <a:xfrm>
              <a:off x="7350126" y="3550604"/>
              <a:ext cx="150813" cy="39687"/>
            </a:xfrm>
            <a:custGeom>
              <a:avLst/>
              <a:gdLst>
                <a:gd name="T0" fmla="*/ 29 w 895"/>
                <a:gd name="T1" fmla="*/ 0 h 178"/>
                <a:gd name="T2" fmla="*/ 635 w 895"/>
                <a:gd name="T3" fmla="*/ 0 h 178"/>
                <a:gd name="T4" fmla="*/ 861 w 895"/>
                <a:gd name="T5" fmla="*/ 0 h 178"/>
                <a:gd name="T6" fmla="*/ 879 w 895"/>
                <a:gd name="T7" fmla="*/ 3 h 178"/>
                <a:gd name="T8" fmla="*/ 892 w 895"/>
                <a:gd name="T9" fmla="*/ 13 h 178"/>
                <a:gd name="T10" fmla="*/ 895 w 895"/>
                <a:gd name="T11" fmla="*/ 26 h 178"/>
                <a:gd name="T12" fmla="*/ 891 w 895"/>
                <a:gd name="T13" fmla="*/ 40 h 178"/>
                <a:gd name="T14" fmla="*/ 769 w 895"/>
                <a:gd name="T15" fmla="*/ 178 h 178"/>
                <a:gd name="T16" fmla="*/ 217 w 895"/>
                <a:gd name="T17" fmla="*/ 178 h 178"/>
                <a:gd name="T18" fmla="*/ 217 w 895"/>
                <a:gd name="T19" fmla="*/ 143 h 178"/>
                <a:gd name="T20" fmla="*/ 212 w 895"/>
                <a:gd name="T21" fmla="*/ 118 h 178"/>
                <a:gd name="T22" fmla="*/ 197 w 895"/>
                <a:gd name="T23" fmla="*/ 95 h 178"/>
                <a:gd name="T24" fmla="*/ 171 w 895"/>
                <a:gd name="T25" fmla="*/ 75 h 178"/>
                <a:gd name="T26" fmla="*/ 139 w 895"/>
                <a:gd name="T27" fmla="*/ 65 h 178"/>
                <a:gd name="T28" fmla="*/ 107 w 895"/>
                <a:gd name="T29" fmla="*/ 61 h 178"/>
                <a:gd name="T30" fmla="*/ 19 w 895"/>
                <a:gd name="T31" fmla="*/ 61 h 178"/>
                <a:gd name="T32" fmla="*/ 0 w 895"/>
                <a:gd name="T33" fmla="*/ 42 h 178"/>
                <a:gd name="T34" fmla="*/ 15 w 895"/>
                <a:gd name="T35" fmla="*/ 7 h 178"/>
                <a:gd name="T36" fmla="*/ 21 w 895"/>
                <a:gd name="T37" fmla="*/ 2 h 178"/>
                <a:gd name="T38" fmla="*/ 29 w 895"/>
                <a:gd name="T3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5" h="178">
                  <a:moveTo>
                    <a:pt x="29" y="0"/>
                  </a:moveTo>
                  <a:lnTo>
                    <a:pt x="635" y="0"/>
                  </a:lnTo>
                  <a:lnTo>
                    <a:pt x="861" y="0"/>
                  </a:lnTo>
                  <a:lnTo>
                    <a:pt x="879" y="3"/>
                  </a:lnTo>
                  <a:lnTo>
                    <a:pt x="892" y="13"/>
                  </a:lnTo>
                  <a:lnTo>
                    <a:pt x="895" y="26"/>
                  </a:lnTo>
                  <a:lnTo>
                    <a:pt x="891" y="40"/>
                  </a:lnTo>
                  <a:lnTo>
                    <a:pt x="769" y="178"/>
                  </a:lnTo>
                  <a:lnTo>
                    <a:pt x="217" y="178"/>
                  </a:lnTo>
                  <a:lnTo>
                    <a:pt x="217" y="143"/>
                  </a:lnTo>
                  <a:lnTo>
                    <a:pt x="212" y="118"/>
                  </a:lnTo>
                  <a:lnTo>
                    <a:pt x="197" y="95"/>
                  </a:lnTo>
                  <a:lnTo>
                    <a:pt x="171" y="75"/>
                  </a:lnTo>
                  <a:lnTo>
                    <a:pt x="139" y="65"/>
                  </a:lnTo>
                  <a:lnTo>
                    <a:pt x="107" y="61"/>
                  </a:lnTo>
                  <a:lnTo>
                    <a:pt x="19" y="61"/>
                  </a:lnTo>
                  <a:lnTo>
                    <a:pt x="0" y="42"/>
                  </a:lnTo>
                  <a:lnTo>
                    <a:pt x="15" y="7"/>
                  </a:lnTo>
                  <a:lnTo>
                    <a:pt x="21" y="2"/>
                  </a:lnTo>
                  <a:lnTo>
                    <a:pt x="29" y="0"/>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06" name="Freeform 1154">
              <a:extLst>
                <a:ext uri="{FF2B5EF4-FFF2-40B4-BE49-F238E27FC236}">
                  <a16:creationId xmlns:a16="http://schemas.microsoft.com/office/drawing/2014/main" id="{BFFEB425-6924-4A76-A52C-C6BF7EBF70D7}"/>
                </a:ext>
              </a:extLst>
            </p:cNvPr>
            <p:cNvSpPr>
              <a:spLocks noChangeAspect="1"/>
            </p:cNvSpPr>
            <p:nvPr/>
          </p:nvSpPr>
          <p:spPr bwMode="auto">
            <a:xfrm>
              <a:off x="6788151" y="1339216"/>
              <a:ext cx="212725" cy="119063"/>
            </a:xfrm>
            <a:custGeom>
              <a:avLst/>
              <a:gdLst>
                <a:gd name="T0" fmla="*/ 1229 w 1250"/>
                <a:gd name="T1" fmla="*/ 57 h 526"/>
                <a:gd name="T2" fmla="*/ 107 w 1250"/>
                <a:gd name="T3" fmla="*/ 525 h 526"/>
                <a:gd name="T4" fmla="*/ 99 w 1250"/>
                <a:gd name="T5" fmla="*/ 526 h 526"/>
                <a:gd name="T6" fmla="*/ 92 w 1250"/>
                <a:gd name="T7" fmla="*/ 524 h 526"/>
                <a:gd name="T8" fmla="*/ 0 w 1250"/>
                <a:gd name="T9" fmla="*/ 473 h 526"/>
                <a:gd name="T10" fmla="*/ 54 w 1250"/>
                <a:gd name="T11" fmla="*/ 419 h 526"/>
                <a:gd name="T12" fmla="*/ 10 w 1250"/>
                <a:gd name="T13" fmla="*/ 395 h 526"/>
                <a:gd name="T14" fmla="*/ 316 w 1250"/>
                <a:gd name="T15" fmla="*/ 93 h 526"/>
                <a:gd name="T16" fmla="*/ 592 w 1250"/>
                <a:gd name="T17" fmla="*/ 93 h 526"/>
                <a:gd name="T18" fmla="*/ 1205 w 1250"/>
                <a:gd name="T19" fmla="*/ 0 h 526"/>
                <a:gd name="T20" fmla="*/ 1219 w 1250"/>
                <a:gd name="T21" fmla="*/ 1 h 526"/>
                <a:gd name="T22" fmla="*/ 1232 w 1250"/>
                <a:gd name="T23" fmla="*/ 5 h 526"/>
                <a:gd name="T24" fmla="*/ 1242 w 1250"/>
                <a:gd name="T25" fmla="*/ 13 h 526"/>
                <a:gd name="T26" fmla="*/ 1248 w 1250"/>
                <a:gd name="T27" fmla="*/ 21 h 526"/>
                <a:gd name="T28" fmla="*/ 1250 w 1250"/>
                <a:gd name="T29" fmla="*/ 32 h 526"/>
                <a:gd name="T30" fmla="*/ 1247 w 1250"/>
                <a:gd name="T31" fmla="*/ 42 h 526"/>
                <a:gd name="T32" fmla="*/ 1239 w 1250"/>
                <a:gd name="T33" fmla="*/ 51 h 526"/>
                <a:gd name="T34" fmla="*/ 1229 w 1250"/>
                <a:gd name="T35" fmla="*/ 57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50" h="526">
                  <a:moveTo>
                    <a:pt x="1229" y="57"/>
                  </a:moveTo>
                  <a:lnTo>
                    <a:pt x="107" y="525"/>
                  </a:lnTo>
                  <a:lnTo>
                    <a:pt x="99" y="526"/>
                  </a:lnTo>
                  <a:lnTo>
                    <a:pt x="92" y="524"/>
                  </a:lnTo>
                  <a:lnTo>
                    <a:pt x="0" y="473"/>
                  </a:lnTo>
                  <a:lnTo>
                    <a:pt x="54" y="419"/>
                  </a:lnTo>
                  <a:lnTo>
                    <a:pt x="10" y="395"/>
                  </a:lnTo>
                  <a:lnTo>
                    <a:pt x="316" y="93"/>
                  </a:lnTo>
                  <a:lnTo>
                    <a:pt x="592" y="93"/>
                  </a:lnTo>
                  <a:lnTo>
                    <a:pt x="1205" y="0"/>
                  </a:lnTo>
                  <a:lnTo>
                    <a:pt x="1219" y="1"/>
                  </a:lnTo>
                  <a:lnTo>
                    <a:pt x="1232" y="5"/>
                  </a:lnTo>
                  <a:lnTo>
                    <a:pt x="1242" y="13"/>
                  </a:lnTo>
                  <a:lnTo>
                    <a:pt x="1248" y="21"/>
                  </a:lnTo>
                  <a:lnTo>
                    <a:pt x="1250" y="32"/>
                  </a:lnTo>
                  <a:lnTo>
                    <a:pt x="1247" y="42"/>
                  </a:lnTo>
                  <a:lnTo>
                    <a:pt x="1239" y="51"/>
                  </a:lnTo>
                  <a:lnTo>
                    <a:pt x="1229" y="57"/>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707" name="Freeform 1155">
              <a:extLst>
                <a:ext uri="{FF2B5EF4-FFF2-40B4-BE49-F238E27FC236}">
                  <a16:creationId xmlns:a16="http://schemas.microsoft.com/office/drawing/2014/main" id="{25B29225-2146-46F0-8187-15724FE17289}"/>
                </a:ext>
              </a:extLst>
            </p:cNvPr>
            <p:cNvSpPr>
              <a:spLocks noChangeAspect="1"/>
            </p:cNvSpPr>
            <p:nvPr/>
          </p:nvSpPr>
          <p:spPr bwMode="auto">
            <a:xfrm>
              <a:off x="6788151" y="1339216"/>
              <a:ext cx="212725" cy="119063"/>
            </a:xfrm>
            <a:custGeom>
              <a:avLst/>
              <a:gdLst>
                <a:gd name="T0" fmla="*/ 1229 w 1250"/>
                <a:gd name="T1" fmla="*/ 57 h 526"/>
                <a:gd name="T2" fmla="*/ 107 w 1250"/>
                <a:gd name="T3" fmla="*/ 525 h 526"/>
                <a:gd name="T4" fmla="*/ 99 w 1250"/>
                <a:gd name="T5" fmla="*/ 526 h 526"/>
                <a:gd name="T6" fmla="*/ 92 w 1250"/>
                <a:gd name="T7" fmla="*/ 524 h 526"/>
                <a:gd name="T8" fmla="*/ 0 w 1250"/>
                <a:gd name="T9" fmla="*/ 473 h 526"/>
                <a:gd name="T10" fmla="*/ 54 w 1250"/>
                <a:gd name="T11" fmla="*/ 419 h 526"/>
                <a:gd name="T12" fmla="*/ 10 w 1250"/>
                <a:gd name="T13" fmla="*/ 395 h 526"/>
                <a:gd name="T14" fmla="*/ 316 w 1250"/>
                <a:gd name="T15" fmla="*/ 93 h 526"/>
                <a:gd name="T16" fmla="*/ 592 w 1250"/>
                <a:gd name="T17" fmla="*/ 93 h 526"/>
                <a:gd name="T18" fmla="*/ 1205 w 1250"/>
                <a:gd name="T19" fmla="*/ 0 h 526"/>
                <a:gd name="T20" fmla="*/ 1219 w 1250"/>
                <a:gd name="T21" fmla="*/ 1 h 526"/>
                <a:gd name="T22" fmla="*/ 1232 w 1250"/>
                <a:gd name="T23" fmla="*/ 5 h 526"/>
                <a:gd name="T24" fmla="*/ 1242 w 1250"/>
                <a:gd name="T25" fmla="*/ 13 h 526"/>
                <a:gd name="T26" fmla="*/ 1248 w 1250"/>
                <a:gd name="T27" fmla="*/ 21 h 526"/>
                <a:gd name="T28" fmla="*/ 1250 w 1250"/>
                <a:gd name="T29" fmla="*/ 32 h 526"/>
                <a:gd name="T30" fmla="*/ 1247 w 1250"/>
                <a:gd name="T31" fmla="*/ 42 h 526"/>
                <a:gd name="T32" fmla="*/ 1239 w 1250"/>
                <a:gd name="T33" fmla="*/ 51 h 526"/>
                <a:gd name="T34" fmla="*/ 1229 w 1250"/>
                <a:gd name="T35" fmla="*/ 57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50" h="526">
                  <a:moveTo>
                    <a:pt x="1229" y="57"/>
                  </a:moveTo>
                  <a:lnTo>
                    <a:pt x="107" y="525"/>
                  </a:lnTo>
                  <a:lnTo>
                    <a:pt x="99" y="526"/>
                  </a:lnTo>
                  <a:lnTo>
                    <a:pt x="92" y="524"/>
                  </a:lnTo>
                  <a:lnTo>
                    <a:pt x="0" y="473"/>
                  </a:lnTo>
                  <a:lnTo>
                    <a:pt x="54" y="419"/>
                  </a:lnTo>
                  <a:lnTo>
                    <a:pt x="10" y="395"/>
                  </a:lnTo>
                  <a:lnTo>
                    <a:pt x="316" y="93"/>
                  </a:lnTo>
                  <a:lnTo>
                    <a:pt x="592" y="93"/>
                  </a:lnTo>
                  <a:lnTo>
                    <a:pt x="1205" y="0"/>
                  </a:lnTo>
                  <a:lnTo>
                    <a:pt x="1219" y="1"/>
                  </a:lnTo>
                  <a:lnTo>
                    <a:pt x="1232" y="5"/>
                  </a:lnTo>
                  <a:lnTo>
                    <a:pt x="1242" y="13"/>
                  </a:lnTo>
                  <a:lnTo>
                    <a:pt x="1248" y="21"/>
                  </a:lnTo>
                  <a:lnTo>
                    <a:pt x="1250" y="32"/>
                  </a:lnTo>
                  <a:lnTo>
                    <a:pt x="1247" y="42"/>
                  </a:lnTo>
                  <a:lnTo>
                    <a:pt x="1239" y="51"/>
                  </a:lnTo>
                  <a:lnTo>
                    <a:pt x="1229" y="57"/>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08" name="Freeform 1156">
              <a:extLst>
                <a:ext uri="{FF2B5EF4-FFF2-40B4-BE49-F238E27FC236}">
                  <a16:creationId xmlns:a16="http://schemas.microsoft.com/office/drawing/2014/main" id="{98CB0A8C-80BE-43ED-BD2C-6FFF6A2EE01E}"/>
                </a:ext>
              </a:extLst>
            </p:cNvPr>
            <p:cNvSpPr>
              <a:spLocks noChangeAspect="1"/>
            </p:cNvSpPr>
            <p:nvPr/>
          </p:nvSpPr>
          <p:spPr bwMode="auto">
            <a:xfrm>
              <a:off x="6716714" y="1440815"/>
              <a:ext cx="85725" cy="90488"/>
            </a:xfrm>
            <a:custGeom>
              <a:avLst/>
              <a:gdLst>
                <a:gd name="T0" fmla="*/ 497 w 504"/>
                <a:gd name="T1" fmla="*/ 106 h 403"/>
                <a:gd name="T2" fmla="*/ 208 w 504"/>
                <a:gd name="T3" fmla="*/ 393 h 403"/>
                <a:gd name="T4" fmla="*/ 199 w 504"/>
                <a:gd name="T5" fmla="*/ 399 h 403"/>
                <a:gd name="T6" fmla="*/ 188 w 504"/>
                <a:gd name="T7" fmla="*/ 402 h 403"/>
                <a:gd name="T8" fmla="*/ 175 w 504"/>
                <a:gd name="T9" fmla="*/ 403 h 403"/>
                <a:gd name="T10" fmla="*/ 0 w 504"/>
                <a:gd name="T11" fmla="*/ 361 h 403"/>
                <a:gd name="T12" fmla="*/ 365 w 504"/>
                <a:gd name="T13" fmla="*/ 0 h 403"/>
                <a:gd name="T14" fmla="*/ 490 w 504"/>
                <a:gd name="T15" fmla="*/ 71 h 403"/>
                <a:gd name="T16" fmla="*/ 498 w 504"/>
                <a:gd name="T17" fmla="*/ 77 h 403"/>
                <a:gd name="T18" fmla="*/ 503 w 504"/>
                <a:gd name="T19" fmla="*/ 84 h 403"/>
                <a:gd name="T20" fmla="*/ 504 w 504"/>
                <a:gd name="T21" fmla="*/ 91 h 403"/>
                <a:gd name="T22" fmla="*/ 502 w 504"/>
                <a:gd name="T23" fmla="*/ 99 h 403"/>
                <a:gd name="T24" fmla="*/ 497 w 504"/>
                <a:gd name="T25" fmla="*/ 106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403">
                  <a:moveTo>
                    <a:pt x="497" y="106"/>
                  </a:moveTo>
                  <a:lnTo>
                    <a:pt x="208" y="393"/>
                  </a:lnTo>
                  <a:lnTo>
                    <a:pt x="199" y="399"/>
                  </a:lnTo>
                  <a:lnTo>
                    <a:pt x="188" y="402"/>
                  </a:lnTo>
                  <a:lnTo>
                    <a:pt x="175" y="403"/>
                  </a:lnTo>
                  <a:lnTo>
                    <a:pt x="0" y="361"/>
                  </a:lnTo>
                  <a:lnTo>
                    <a:pt x="365" y="0"/>
                  </a:lnTo>
                  <a:lnTo>
                    <a:pt x="490" y="71"/>
                  </a:lnTo>
                  <a:lnTo>
                    <a:pt x="498" y="77"/>
                  </a:lnTo>
                  <a:lnTo>
                    <a:pt x="503" y="84"/>
                  </a:lnTo>
                  <a:lnTo>
                    <a:pt x="504" y="91"/>
                  </a:lnTo>
                  <a:lnTo>
                    <a:pt x="502" y="99"/>
                  </a:lnTo>
                  <a:lnTo>
                    <a:pt x="497" y="106"/>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709" name="Freeform 1157">
              <a:extLst>
                <a:ext uri="{FF2B5EF4-FFF2-40B4-BE49-F238E27FC236}">
                  <a16:creationId xmlns:a16="http://schemas.microsoft.com/office/drawing/2014/main" id="{A58C688D-CB81-4268-863E-8A532C30D468}"/>
                </a:ext>
              </a:extLst>
            </p:cNvPr>
            <p:cNvSpPr>
              <a:spLocks noChangeAspect="1"/>
            </p:cNvSpPr>
            <p:nvPr/>
          </p:nvSpPr>
          <p:spPr bwMode="auto">
            <a:xfrm>
              <a:off x="6716714" y="1440815"/>
              <a:ext cx="85725" cy="90488"/>
            </a:xfrm>
            <a:custGeom>
              <a:avLst/>
              <a:gdLst>
                <a:gd name="T0" fmla="*/ 497 w 504"/>
                <a:gd name="T1" fmla="*/ 106 h 403"/>
                <a:gd name="T2" fmla="*/ 208 w 504"/>
                <a:gd name="T3" fmla="*/ 393 h 403"/>
                <a:gd name="T4" fmla="*/ 199 w 504"/>
                <a:gd name="T5" fmla="*/ 399 h 403"/>
                <a:gd name="T6" fmla="*/ 188 w 504"/>
                <a:gd name="T7" fmla="*/ 402 h 403"/>
                <a:gd name="T8" fmla="*/ 175 w 504"/>
                <a:gd name="T9" fmla="*/ 403 h 403"/>
                <a:gd name="T10" fmla="*/ 0 w 504"/>
                <a:gd name="T11" fmla="*/ 361 h 403"/>
                <a:gd name="T12" fmla="*/ 365 w 504"/>
                <a:gd name="T13" fmla="*/ 0 h 403"/>
                <a:gd name="T14" fmla="*/ 490 w 504"/>
                <a:gd name="T15" fmla="*/ 71 h 403"/>
                <a:gd name="T16" fmla="*/ 498 w 504"/>
                <a:gd name="T17" fmla="*/ 77 h 403"/>
                <a:gd name="T18" fmla="*/ 503 w 504"/>
                <a:gd name="T19" fmla="*/ 84 h 403"/>
                <a:gd name="T20" fmla="*/ 504 w 504"/>
                <a:gd name="T21" fmla="*/ 91 h 403"/>
                <a:gd name="T22" fmla="*/ 502 w 504"/>
                <a:gd name="T23" fmla="*/ 99 h 403"/>
                <a:gd name="T24" fmla="*/ 497 w 504"/>
                <a:gd name="T25" fmla="*/ 106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403">
                  <a:moveTo>
                    <a:pt x="497" y="106"/>
                  </a:moveTo>
                  <a:lnTo>
                    <a:pt x="208" y="393"/>
                  </a:lnTo>
                  <a:lnTo>
                    <a:pt x="199" y="399"/>
                  </a:lnTo>
                  <a:lnTo>
                    <a:pt x="188" y="402"/>
                  </a:lnTo>
                  <a:lnTo>
                    <a:pt x="175" y="403"/>
                  </a:lnTo>
                  <a:lnTo>
                    <a:pt x="0" y="361"/>
                  </a:lnTo>
                  <a:lnTo>
                    <a:pt x="365" y="0"/>
                  </a:lnTo>
                  <a:lnTo>
                    <a:pt x="490" y="71"/>
                  </a:lnTo>
                  <a:lnTo>
                    <a:pt x="498" y="77"/>
                  </a:lnTo>
                  <a:lnTo>
                    <a:pt x="503" y="84"/>
                  </a:lnTo>
                  <a:lnTo>
                    <a:pt x="504" y="91"/>
                  </a:lnTo>
                  <a:lnTo>
                    <a:pt x="502" y="99"/>
                  </a:lnTo>
                  <a:lnTo>
                    <a:pt x="497" y="106"/>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10" name="Freeform 1158">
              <a:extLst>
                <a:ext uri="{FF2B5EF4-FFF2-40B4-BE49-F238E27FC236}">
                  <a16:creationId xmlns:a16="http://schemas.microsoft.com/office/drawing/2014/main" id="{0FCEA3EE-B7AF-45A5-99BA-51B6DE70D5E2}"/>
                </a:ext>
              </a:extLst>
            </p:cNvPr>
            <p:cNvSpPr>
              <a:spLocks noChangeAspect="1"/>
            </p:cNvSpPr>
            <p:nvPr/>
          </p:nvSpPr>
          <p:spPr bwMode="auto">
            <a:xfrm>
              <a:off x="6661151" y="1523365"/>
              <a:ext cx="85725" cy="82550"/>
            </a:xfrm>
            <a:custGeom>
              <a:avLst/>
              <a:gdLst>
                <a:gd name="T0" fmla="*/ 498 w 505"/>
                <a:gd name="T1" fmla="*/ 68 h 363"/>
                <a:gd name="T2" fmla="*/ 221 w 505"/>
                <a:gd name="T3" fmla="*/ 342 h 363"/>
                <a:gd name="T4" fmla="*/ 209 w 505"/>
                <a:gd name="T5" fmla="*/ 353 h 363"/>
                <a:gd name="T6" fmla="*/ 202 w 505"/>
                <a:gd name="T7" fmla="*/ 358 h 363"/>
                <a:gd name="T8" fmla="*/ 193 w 505"/>
                <a:gd name="T9" fmla="*/ 362 h 363"/>
                <a:gd name="T10" fmla="*/ 184 w 505"/>
                <a:gd name="T11" fmla="*/ 363 h 363"/>
                <a:gd name="T12" fmla="*/ 174 w 505"/>
                <a:gd name="T13" fmla="*/ 363 h 363"/>
                <a:gd name="T14" fmla="*/ 165 w 505"/>
                <a:gd name="T15" fmla="*/ 361 h 363"/>
                <a:gd name="T16" fmla="*/ 0 w 505"/>
                <a:gd name="T17" fmla="*/ 323 h 363"/>
                <a:gd name="T18" fmla="*/ 327 w 505"/>
                <a:gd name="T19" fmla="*/ 0 h 363"/>
                <a:gd name="T20" fmla="*/ 486 w 505"/>
                <a:gd name="T21" fmla="*/ 30 h 363"/>
                <a:gd name="T22" fmla="*/ 496 w 505"/>
                <a:gd name="T23" fmla="*/ 35 h 363"/>
                <a:gd name="T24" fmla="*/ 503 w 505"/>
                <a:gd name="T25" fmla="*/ 42 h 363"/>
                <a:gd name="T26" fmla="*/ 505 w 505"/>
                <a:gd name="T27" fmla="*/ 51 h 363"/>
                <a:gd name="T28" fmla="*/ 504 w 505"/>
                <a:gd name="T29" fmla="*/ 61 h 363"/>
                <a:gd name="T30" fmla="*/ 498 w 505"/>
                <a:gd name="T31" fmla="*/ 68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63">
                  <a:moveTo>
                    <a:pt x="498" y="68"/>
                  </a:moveTo>
                  <a:lnTo>
                    <a:pt x="221" y="342"/>
                  </a:lnTo>
                  <a:lnTo>
                    <a:pt x="209" y="353"/>
                  </a:lnTo>
                  <a:lnTo>
                    <a:pt x="202" y="358"/>
                  </a:lnTo>
                  <a:lnTo>
                    <a:pt x="193" y="362"/>
                  </a:lnTo>
                  <a:lnTo>
                    <a:pt x="184" y="363"/>
                  </a:lnTo>
                  <a:lnTo>
                    <a:pt x="174" y="363"/>
                  </a:lnTo>
                  <a:lnTo>
                    <a:pt x="165" y="361"/>
                  </a:lnTo>
                  <a:lnTo>
                    <a:pt x="0" y="323"/>
                  </a:lnTo>
                  <a:lnTo>
                    <a:pt x="327" y="0"/>
                  </a:lnTo>
                  <a:lnTo>
                    <a:pt x="486" y="30"/>
                  </a:lnTo>
                  <a:lnTo>
                    <a:pt x="496" y="35"/>
                  </a:lnTo>
                  <a:lnTo>
                    <a:pt x="503" y="42"/>
                  </a:lnTo>
                  <a:lnTo>
                    <a:pt x="505" y="51"/>
                  </a:lnTo>
                  <a:lnTo>
                    <a:pt x="504" y="61"/>
                  </a:lnTo>
                  <a:lnTo>
                    <a:pt x="498" y="68"/>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711" name="Freeform 1159">
              <a:extLst>
                <a:ext uri="{FF2B5EF4-FFF2-40B4-BE49-F238E27FC236}">
                  <a16:creationId xmlns:a16="http://schemas.microsoft.com/office/drawing/2014/main" id="{92F78B2B-0729-4F2A-8B24-92C2B74D88D6}"/>
                </a:ext>
              </a:extLst>
            </p:cNvPr>
            <p:cNvSpPr>
              <a:spLocks noChangeAspect="1"/>
            </p:cNvSpPr>
            <p:nvPr/>
          </p:nvSpPr>
          <p:spPr bwMode="auto">
            <a:xfrm>
              <a:off x="6661151" y="1523365"/>
              <a:ext cx="85725" cy="82550"/>
            </a:xfrm>
            <a:custGeom>
              <a:avLst/>
              <a:gdLst>
                <a:gd name="T0" fmla="*/ 498 w 505"/>
                <a:gd name="T1" fmla="*/ 68 h 363"/>
                <a:gd name="T2" fmla="*/ 221 w 505"/>
                <a:gd name="T3" fmla="*/ 342 h 363"/>
                <a:gd name="T4" fmla="*/ 209 w 505"/>
                <a:gd name="T5" fmla="*/ 353 h 363"/>
                <a:gd name="T6" fmla="*/ 202 w 505"/>
                <a:gd name="T7" fmla="*/ 358 h 363"/>
                <a:gd name="T8" fmla="*/ 193 w 505"/>
                <a:gd name="T9" fmla="*/ 362 h 363"/>
                <a:gd name="T10" fmla="*/ 184 w 505"/>
                <a:gd name="T11" fmla="*/ 363 h 363"/>
                <a:gd name="T12" fmla="*/ 174 w 505"/>
                <a:gd name="T13" fmla="*/ 363 h 363"/>
                <a:gd name="T14" fmla="*/ 165 w 505"/>
                <a:gd name="T15" fmla="*/ 361 h 363"/>
                <a:gd name="T16" fmla="*/ 0 w 505"/>
                <a:gd name="T17" fmla="*/ 323 h 363"/>
                <a:gd name="T18" fmla="*/ 327 w 505"/>
                <a:gd name="T19" fmla="*/ 0 h 363"/>
                <a:gd name="T20" fmla="*/ 486 w 505"/>
                <a:gd name="T21" fmla="*/ 30 h 363"/>
                <a:gd name="T22" fmla="*/ 496 w 505"/>
                <a:gd name="T23" fmla="*/ 35 h 363"/>
                <a:gd name="T24" fmla="*/ 503 w 505"/>
                <a:gd name="T25" fmla="*/ 42 h 363"/>
                <a:gd name="T26" fmla="*/ 505 w 505"/>
                <a:gd name="T27" fmla="*/ 51 h 363"/>
                <a:gd name="T28" fmla="*/ 504 w 505"/>
                <a:gd name="T29" fmla="*/ 61 h 363"/>
                <a:gd name="T30" fmla="*/ 498 w 505"/>
                <a:gd name="T31" fmla="*/ 68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63">
                  <a:moveTo>
                    <a:pt x="498" y="68"/>
                  </a:moveTo>
                  <a:lnTo>
                    <a:pt x="221" y="342"/>
                  </a:lnTo>
                  <a:lnTo>
                    <a:pt x="209" y="353"/>
                  </a:lnTo>
                  <a:lnTo>
                    <a:pt x="202" y="358"/>
                  </a:lnTo>
                  <a:lnTo>
                    <a:pt x="193" y="362"/>
                  </a:lnTo>
                  <a:lnTo>
                    <a:pt x="184" y="363"/>
                  </a:lnTo>
                  <a:lnTo>
                    <a:pt x="174" y="363"/>
                  </a:lnTo>
                  <a:lnTo>
                    <a:pt x="165" y="361"/>
                  </a:lnTo>
                  <a:lnTo>
                    <a:pt x="0" y="323"/>
                  </a:lnTo>
                  <a:lnTo>
                    <a:pt x="327" y="0"/>
                  </a:lnTo>
                  <a:lnTo>
                    <a:pt x="486" y="30"/>
                  </a:lnTo>
                  <a:lnTo>
                    <a:pt x="496" y="35"/>
                  </a:lnTo>
                  <a:lnTo>
                    <a:pt x="503" y="42"/>
                  </a:lnTo>
                  <a:lnTo>
                    <a:pt x="505" y="51"/>
                  </a:lnTo>
                  <a:lnTo>
                    <a:pt x="504" y="61"/>
                  </a:lnTo>
                  <a:lnTo>
                    <a:pt x="498" y="68"/>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12" name="Freeform 1160">
              <a:extLst>
                <a:ext uri="{FF2B5EF4-FFF2-40B4-BE49-F238E27FC236}">
                  <a16:creationId xmlns:a16="http://schemas.microsoft.com/office/drawing/2014/main" id="{0A456F79-E20F-4F77-9453-85747D9C0592}"/>
                </a:ext>
              </a:extLst>
            </p:cNvPr>
            <p:cNvSpPr>
              <a:spLocks noChangeAspect="1"/>
            </p:cNvSpPr>
            <p:nvPr/>
          </p:nvSpPr>
          <p:spPr bwMode="auto">
            <a:xfrm>
              <a:off x="6610350" y="1596390"/>
              <a:ext cx="82550" cy="95250"/>
            </a:xfrm>
            <a:custGeom>
              <a:avLst/>
              <a:gdLst>
                <a:gd name="T0" fmla="*/ 484 w 486"/>
                <a:gd name="T1" fmla="*/ 73 h 429"/>
                <a:gd name="T2" fmla="*/ 284 w 486"/>
                <a:gd name="T3" fmla="*/ 415 h 429"/>
                <a:gd name="T4" fmla="*/ 284 w 486"/>
                <a:gd name="T5" fmla="*/ 416 h 429"/>
                <a:gd name="T6" fmla="*/ 281 w 486"/>
                <a:gd name="T7" fmla="*/ 420 h 429"/>
                <a:gd name="T8" fmla="*/ 277 w 486"/>
                <a:gd name="T9" fmla="*/ 423 h 429"/>
                <a:gd name="T10" fmla="*/ 273 w 486"/>
                <a:gd name="T11" fmla="*/ 425 h 429"/>
                <a:gd name="T12" fmla="*/ 268 w 486"/>
                <a:gd name="T13" fmla="*/ 427 h 429"/>
                <a:gd name="T14" fmla="*/ 262 w 486"/>
                <a:gd name="T15" fmla="*/ 429 h 429"/>
                <a:gd name="T16" fmla="*/ 257 w 486"/>
                <a:gd name="T17" fmla="*/ 429 h 429"/>
                <a:gd name="T18" fmla="*/ 252 w 486"/>
                <a:gd name="T19" fmla="*/ 429 h 429"/>
                <a:gd name="T20" fmla="*/ 246 w 486"/>
                <a:gd name="T21" fmla="*/ 429 h 429"/>
                <a:gd name="T22" fmla="*/ 241 w 486"/>
                <a:gd name="T23" fmla="*/ 428 h 429"/>
                <a:gd name="T24" fmla="*/ 236 w 486"/>
                <a:gd name="T25" fmla="*/ 426 h 429"/>
                <a:gd name="T26" fmla="*/ 233 w 486"/>
                <a:gd name="T27" fmla="*/ 425 h 429"/>
                <a:gd name="T28" fmla="*/ 0 w 486"/>
                <a:gd name="T29" fmla="*/ 294 h 429"/>
                <a:gd name="T30" fmla="*/ 297 w 486"/>
                <a:gd name="T31" fmla="*/ 0 h 429"/>
                <a:gd name="T32" fmla="*/ 462 w 486"/>
                <a:gd name="T33" fmla="*/ 38 h 429"/>
                <a:gd name="T34" fmla="*/ 464 w 486"/>
                <a:gd name="T35" fmla="*/ 39 h 429"/>
                <a:gd name="T36" fmla="*/ 469 w 486"/>
                <a:gd name="T37" fmla="*/ 41 h 429"/>
                <a:gd name="T38" fmla="*/ 475 w 486"/>
                <a:gd name="T39" fmla="*/ 43 h 429"/>
                <a:gd name="T40" fmla="*/ 478 w 486"/>
                <a:gd name="T41" fmla="*/ 46 h 429"/>
                <a:gd name="T42" fmla="*/ 481 w 486"/>
                <a:gd name="T43" fmla="*/ 49 h 429"/>
                <a:gd name="T44" fmla="*/ 484 w 486"/>
                <a:gd name="T45" fmla="*/ 54 h 429"/>
                <a:gd name="T46" fmla="*/ 485 w 486"/>
                <a:gd name="T47" fmla="*/ 58 h 429"/>
                <a:gd name="T48" fmla="*/ 486 w 486"/>
                <a:gd name="T49" fmla="*/ 62 h 429"/>
                <a:gd name="T50" fmla="*/ 485 w 486"/>
                <a:gd name="T51" fmla="*/ 67 h 429"/>
                <a:gd name="T52" fmla="*/ 484 w 486"/>
                <a:gd name="T53" fmla="*/ 71 h 429"/>
                <a:gd name="T54" fmla="*/ 484 w 486"/>
                <a:gd name="T55" fmla="*/ 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6" h="429">
                  <a:moveTo>
                    <a:pt x="484" y="73"/>
                  </a:moveTo>
                  <a:lnTo>
                    <a:pt x="284" y="415"/>
                  </a:lnTo>
                  <a:lnTo>
                    <a:pt x="284" y="416"/>
                  </a:lnTo>
                  <a:lnTo>
                    <a:pt x="281" y="420"/>
                  </a:lnTo>
                  <a:lnTo>
                    <a:pt x="277" y="423"/>
                  </a:lnTo>
                  <a:lnTo>
                    <a:pt x="273" y="425"/>
                  </a:lnTo>
                  <a:lnTo>
                    <a:pt x="268" y="427"/>
                  </a:lnTo>
                  <a:lnTo>
                    <a:pt x="262" y="429"/>
                  </a:lnTo>
                  <a:lnTo>
                    <a:pt x="257" y="429"/>
                  </a:lnTo>
                  <a:lnTo>
                    <a:pt x="252" y="429"/>
                  </a:lnTo>
                  <a:lnTo>
                    <a:pt x="246" y="429"/>
                  </a:lnTo>
                  <a:lnTo>
                    <a:pt x="241" y="428"/>
                  </a:lnTo>
                  <a:lnTo>
                    <a:pt x="236" y="426"/>
                  </a:lnTo>
                  <a:lnTo>
                    <a:pt x="233" y="425"/>
                  </a:lnTo>
                  <a:lnTo>
                    <a:pt x="0" y="294"/>
                  </a:lnTo>
                  <a:lnTo>
                    <a:pt x="297" y="0"/>
                  </a:lnTo>
                  <a:lnTo>
                    <a:pt x="462" y="38"/>
                  </a:lnTo>
                  <a:lnTo>
                    <a:pt x="464" y="39"/>
                  </a:lnTo>
                  <a:lnTo>
                    <a:pt x="469" y="41"/>
                  </a:lnTo>
                  <a:lnTo>
                    <a:pt x="475" y="43"/>
                  </a:lnTo>
                  <a:lnTo>
                    <a:pt x="478" y="46"/>
                  </a:lnTo>
                  <a:lnTo>
                    <a:pt x="481" y="49"/>
                  </a:lnTo>
                  <a:lnTo>
                    <a:pt x="484" y="54"/>
                  </a:lnTo>
                  <a:lnTo>
                    <a:pt x="485" y="58"/>
                  </a:lnTo>
                  <a:lnTo>
                    <a:pt x="486" y="62"/>
                  </a:lnTo>
                  <a:lnTo>
                    <a:pt x="485" y="67"/>
                  </a:lnTo>
                  <a:lnTo>
                    <a:pt x="484" y="71"/>
                  </a:lnTo>
                  <a:lnTo>
                    <a:pt x="484" y="73"/>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713" name="Freeform 1161">
              <a:extLst>
                <a:ext uri="{FF2B5EF4-FFF2-40B4-BE49-F238E27FC236}">
                  <a16:creationId xmlns:a16="http://schemas.microsoft.com/office/drawing/2014/main" id="{F7A75D21-BA56-4E85-A098-2BB095F8CFD5}"/>
                </a:ext>
              </a:extLst>
            </p:cNvPr>
            <p:cNvSpPr>
              <a:spLocks noChangeAspect="1"/>
            </p:cNvSpPr>
            <p:nvPr/>
          </p:nvSpPr>
          <p:spPr bwMode="auto">
            <a:xfrm>
              <a:off x="6610350" y="1596390"/>
              <a:ext cx="82550" cy="95250"/>
            </a:xfrm>
            <a:custGeom>
              <a:avLst/>
              <a:gdLst>
                <a:gd name="T0" fmla="*/ 484 w 486"/>
                <a:gd name="T1" fmla="*/ 73 h 429"/>
                <a:gd name="T2" fmla="*/ 284 w 486"/>
                <a:gd name="T3" fmla="*/ 415 h 429"/>
                <a:gd name="T4" fmla="*/ 284 w 486"/>
                <a:gd name="T5" fmla="*/ 416 h 429"/>
                <a:gd name="T6" fmla="*/ 281 w 486"/>
                <a:gd name="T7" fmla="*/ 420 h 429"/>
                <a:gd name="T8" fmla="*/ 277 w 486"/>
                <a:gd name="T9" fmla="*/ 423 h 429"/>
                <a:gd name="T10" fmla="*/ 273 w 486"/>
                <a:gd name="T11" fmla="*/ 425 h 429"/>
                <a:gd name="T12" fmla="*/ 268 w 486"/>
                <a:gd name="T13" fmla="*/ 427 h 429"/>
                <a:gd name="T14" fmla="*/ 262 w 486"/>
                <a:gd name="T15" fmla="*/ 429 h 429"/>
                <a:gd name="T16" fmla="*/ 257 w 486"/>
                <a:gd name="T17" fmla="*/ 429 h 429"/>
                <a:gd name="T18" fmla="*/ 252 w 486"/>
                <a:gd name="T19" fmla="*/ 429 h 429"/>
                <a:gd name="T20" fmla="*/ 246 w 486"/>
                <a:gd name="T21" fmla="*/ 429 h 429"/>
                <a:gd name="T22" fmla="*/ 241 w 486"/>
                <a:gd name="T23" fmla="*/ 428 h 429"/>
                <a:gd name="T24" fmla="*/ 236 w 486"/>
                <a:gd name="T25" fmla="*/ 426 h 429"/>
                <a:gd name="T26" fmla="*/ 233 w 486"/>
                <a:gd name="T27" fmla="*/ 425 h 429"/>
                <a:gd name="T28" fmla="*/ 0 w 486"/>
                <a:gd name="T29" fmla="*/ 294 h 429"/>
                <a:gd name="T30" fmla="*/ 297 w 486"/>
                <a:gd name="T31" fmla="*/ 0 h 429"/>
                <a:gd name="T32" fmla="*/ 462 w 486"/>
                <a:gd name="T33" fmla="*/ 38 h 429"/>
                <a:gd name="T34" fmla="*/ 464 w 486"/>
                <a:gd name="T35" fmla="*/ 39 h 429"/>
                <a:gd name="T36" fmla="*/ 469 w 486"/>
                <a:gd name="T37" fmla="*/ 41 h 429"/>
                <a:gd name="T38" fmla="*/ 475 w 486"/>
                <a:gd name="T39" fmla="*/ 43 h 429"/>
                <a:gd name="T40" fmla="*/ 478 w 486"/>
                <a:gd name="T41" fmla="*/ 46 h 429"/>
                <a:gd name="T42" fmla="*/ 481 w 486"/>
                <a:gd name="T43" fmla="*/ 49 h 429"/>
                <a:gd name="T44" fmla="*/ 484 w 486"/>
                <a:gd name="T45" fmla="*/ 54 h 429"/>
                <a:gd name="T46" fmla="*/ 485 w 486"/>
                <a:gd name="T47" fmla="*/ 58 h 429"/>
                <a:gd name="T48" fmla="*/ 486 w 486"/>
                <a:gd name="T49" fmla="*/ 62 h 429"/>
                <a:gd name="T50" fmla="*/ 485 w 486"/>
                <a:gd name="T51" fmla="*/ 67 h 429"/>
                <a:gd name="T52" fmla="*/ 484 w 486"/>
                <a:gd name="T53" fmla="*/ 71 h 429"/>
                <a:gd name="T54" fmla="*/ 484 w 486"/>
                <a:gd name="T55" fmla="*/ 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6" h="429">
                  <a:moveTo>
                    <a:pt x="484" y="73"/>
                  </a:moveTo>
                  <a:lnTo>
                    <a:pt x="284" y="415"/>
                  </a:lnTo>
                  <a:lnTo>
                    <a:pt x="284" y="416"/>
                  </a:lnTo>
                  <a:lnTo>
                    <a:pt x="281" y="420"/>
                  </a:lnTo>
                  <a:lnTo>
                    <a:pt x="277" y="423"/>
                  </a:lnTo>
                  <a:lnTo>
                    <a:pt x="273" y="425"/>
                  </a:lnTo>
                  <a:lnTo>
                    <a:pt x="268" y="427"/>
                  </a:lnTo>
                  <a:lnTo>
                    <a:pt x="262" y="429"/>
                  </a:lnTo>
                  <a:lnTo>
                    <a:pt x="257" y="429"/>
                  </a:lnTo>
                  <a:lnTo>
                    <a:pt x="252" y="429"/>
                  </a:lnTo>
                  <a:lnTo>
                    <a:pt x="246" y="429"/>
                  </a:lnTo>
                  <a:lnTo>
                    <a:pt x="241" y="428"/>
                  </a:lnTo>
                  <a:lnTo>
                    <a:pt x="236" y="426"/>
                  </a:lnTo>
                  <a:lnTo>
                    <a:pt x="233" y="425"/>
                  </a:lnTo>
                  <a:lnTo>
                    <a:pt x="0" y="294"/>
                  </a:lnTo>
                  <a:lnTo>
                    <a:pt x="297" y="0"/>
                  </a:lnTo>
                  <a:lnTo>
                    <a:pt x="462" y="38"/>
                  </a:lnTo>
                  <a:lnTo>
                    <a:pt x="464" y="39"/>
                  </a:lnTo>
                  <a:lnTo>
                    <a:pt x="469" y="41"/>
                  </a:lnTo>
                  <a:lnTo>
                    <a:pt x="475" y="43"/>
                  </a:lnTo>
                  <a:lnTo>
                    <a:pt x="478" y="46"/>
                  </a:lnTo>
                  <a:lnTo>
                    <a:pt x="481" y="49"/>
                  </a:lnTo>
                  <a:lnTo>
                    <a:pt x="484" y="54"/>
                  </a:lnTo>
                  <a:lnTo>
                    <a:pt x="485" y="58"/>
                  </a:lnTo>
                  <a:lnTo>
                    <a:pt x="486" y="62"/>
                  </a:lnTo>
                  <a:lnTo>
                    <a:pt x="485" y="67"/>
                  </a:lnTo>
                  <a:lnTo>
                    <a:pt x="484" y="71"/>
                  </a:lnTo>
                  <a:lnTo>
                    <a:pt x="484" y="73"/>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14" name="Freeform 1162">
              <a:extLst>
                <a:ext uri="{FF2B5EF4-FFF2-40B4-BE49-F238E27FC236}">
                  <a16:creationId xmlns:a16="http://schemas.microsoft.com/office/drawing/2014/main" id="{EBE82553-97B0-4600-B7C8-54CB0C5B9C40}"/>
                </a:ext>
              </a:extLst>
            </p:cNvPr>
            <p:cNvSpPr>
              <a:spLocks noChangeAspect="1"/>
            </p:cNvSpPr>
            <p:nvPr/>
          </p:nvSpPr>
          <p:spPr bwMode="auto">
            <a:xfrm>
              <a:off x="6557963" y="1663066"/>
              <a:ext cx="95250" cy="130175"/>
            </a:xfrm>
            <a:custGeom>
              <a:avLst/>
              <a:gdLst>
                <a:gd name="T0" fmla="*/ 572 w 573"/>
                <a:gd name="T1" fmla="*/ 169 h 579"/>
                <a:gd name="T2" fmla="*/ 413 w 573"/>
                <a:gd name="T3" fmla="*/ 478 h 579"/>
                <a:gd name="T4" fmla="*/ 409 w 573"/>
                <a:gd name="T5" fmla="*/ 485 h 579"/>
                <a:gd name="T6" fmla="*/ 407 w 573"/>
                <a:gd name="T7" fmla="*/ 489 h 579"/>
                <a:gd name="T8" fmla="*/ 401 w 573"/>
                <a:gd name="T9" fmla="*/ 495 h 579"/>
                <a:gd name="T10" fmla="*/ 398 w 573"/>
                <a:gd name="T11" fmla="*/ 498 h 579"/>
                <a:gd name="T12" fmla="*/ 327 w 573"/>
                <a:gd name="T13" fmla="*/ 569 h 579"/>
                <a:gd name="T14" fmla="*/ 324 w 573"/>
                <a:gd name="T15" fmla="*/ 571 h 579"/>
                <a:gd name="T16" fmla="*/ 321 w 573"/>
                <a:gd name="T17" fmla="*/ 573 h 579"/>
                <a:gd name="T18" fmla="*/ 315 w 573"/>
                <a:gd name="T19" fmla="*/ 576 h 579"/>
                <a:gd name="T20" fmla="*/ 311 w 573"/>
                <a:gd name="T21" fmla="*/ 577 h 579"/>
                <a:gd name="T22" fmla="*/ 305 w 573"/>
                <a:gd name="T23" fmla="*/ 579 h 579"/>
                <a:gd name="T24" fmla="*/ 300 w 573"/>
                <a:gd name="T25" fmla="*/ 579 h 579"/>
                <a:gd name="T26" fmla="*/ 293 w 573"/>
                <a:gd name="T27" fmla="*/ 579 h 579"/>
                <a:gd name="T28" fmla="*/ 288 w 573"/>
                <a:gd name="T29" fmla="*/ 578 h 579"/>
                <a:gd name="T30" fmla="*/ 283 w 573"/>
                <a:gd name="T31" fmla="*/ 576 h 579"/>
                <a:gd name="T32" fmla="*/ 278 w 573"/>
                <a:gd name="T33" fmla="*/ 574 h 579"/>
                <a:gd name="T34" fmla="*/ 278 w 573"/>
                <a:gd name="T35" fmla="*/ 574 h 579"/>
                <a:gd name="T36" fmla="*/ 0 w 573"/>
                <a:gd name="T37" fmla="*/ 418 h 579"/>
                <a:gd name="T38" fmla="*/ 152 w 573"/>
                <a:gd name="T39" fmla="*/ 267 h 579"/>
                <a:gd name="T40" fmla="*/ 81 w 573"/>
                <a:gd name="T41" fmla="*/ 226 h 579"/>
                <a:gd name="T42" fmla="*/ 312 w 573"/>
                <a:gd name="T43" fmla="*/ 0 h 579"/>
                <a:gd name="T44" fmla="*/ 560 w 573"/>
                <a:gd name="T45" fmla="*/ 139 h 579"/>
                <a:gd name="T46" fmla="*/ 562 w 573"/>
                <a:gd name="T47" fmla="*/ 140 h 579"/>
                <a:gd name="T48" fmla="*/ 565 w 573"/>
                <a:gd name="T49" fmla="*/ 143 h 579"/>
                <a:gd name="T50" fmla="*/ 569 w 573"/>
                <a:gd name="T51" fmla="*/ 146 h 579"/>
                <a:gd name="T52" fmla="*/ 572 w 573"/>
                <a:gd name="T53" fmla="*/ 150 h 579"/>
                <a:gd name="T54" fmla="*/ 573 w 573"/>
                <a:gd name="T55" fmla="*/ 155 h 579"/>
                <a:gd name="T56" fmla="*/ 573 w 573"/>
                <a:gd name="T57" fmla="*/ 159 h 579"/>
                <a:gd name="T58" fmla="*/ 573 w 573"/>
                <a:gd name="T59" fmla="*/ 163 h 579"/>
                <a:gd name="T60" fmla="*/ 572 w 573"/>
                <a:gd name="T61" fmla="*/ 167 h 579"/>
                <a:gd name="T62" fmla="*/ 572 w 573"/>
                <a:gd name="T63" fmla="*/ 169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3" h="579">
                  <a:moveTo>
                    <a:pt x="572" y="169"/>
                  </a:moveTo>
                  <a:lnTo>
                    <a:pt x="413" y="478"/>
                  </a:lnTo>
                  <a:lnTo>
                    <a:pt x="409" y="485"/>
                  </a:lnTo>
                  <a:lnTo>
                    <a:pt x="407" y="489"/>
                  </a:lnTo>
                  <a:lnTo>
                    <a:pt x="401" y="495"/>
                  </a:lnTo>
                  <a:lnTo>
                    <a:pt x="398" y="498"/>
                  </a:lnTo>
                  <a:lnTo>
                    <a:pt x="327" y="569"/>
                  </a:lnTo>
                  <a:lnTo>
                    <a:pt x="324" y="571"/>
                  </a:lnTo>
                  <a:lnTo>
                    <a:pt x="321" y="573"/>
                  </a:lnTo>
                  <a:lnTo>
                    <a:pt x="315" y="576"/>
                  </a:lnTo>
                  <a:lnTo>
                    <a:pt x="311" y="577"/>
                  </a:lnTo>
                  <a:lnTo>
                    <a:pt x="305" y="579"/>
                  </a:lnTo>
                  <a:lnTo>
                    <a:pt x="300" y="579"/>
                  </a:lnTo>
                  <a:lnTo>
                    <a:pt x="293" y="579"/>
                  </a:lnTo>
                  <a:lnTo>
                    <a:pt x="288" y="578"/>
                  </a:lnTo>
                  <a:lnTo>
                    <a:pt x="283" y="576"/>
                  </a:lnTo>
                  <a:lnTo>
                    <a:pt x="278" y="574"/>
                  </a:lnTo>
                  <a:lnTo>
                    <a:pt x="278" y="574"/>
                  </a:lnTo>
                  <a:lnTo>
                    <a:pt x="0" y="418"/>
                  </a:lnTo>
                  <a:lnTo>
                    <a:pt x="152" y="267"/>
                  </a:lnTo>
                  <a:lnTo>
                    <a:pt x="81" y="226"/>
                  </a:lnTo>
                  <a:lnTo>
                    <a:pt x="312" y="0"/>
                  </a:lnTo>
                  <a:lnTo>
                    <a:pt x="560" y="139"/>
                  </a:lnTo>
                  <a:lnTo>
                    <a:pt x="562" y="140"/>
                  </a:lnTo>
                  <a:lnTo>
                    <a:pt x="565" y="143"/>
                  </a:lnTo>
                  <a:lnTo>
                    <a:pt x="569" y="146"/>
                  </a:lnTo>
                  <a:lnTo>
                    <a:pt x="572" y="150"/>
                  </a:lnTo>
                  <a:lnTo>
                    <a:pt x="573" y="155"/>
                  </a:lnTo>
                  <a:lnTo>
                    <a:pt x="573" y="159"/>
                  </a:lnTo>
                  <a:lnTo>
                    <a:pt x="573" y="163"/>
                  </a:lnTo>
                  <a:lnTo>
                    <a:pt x="572" y="167"/>
                  </a:lnTo>
                  <a:lnTo>
                    <a:pt x="572" y="169"/>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715" name="Freeform 1163">
              <a:extLst>
                <a:ext uri="{FF2B5EF4-FFF2-40B4-BE49-F238E27FC236}">
                  <a16:creationId xmlns:a16="http://schemas.microsoft.com/office/drawing/2014/main" id="{A7EC0DFA-213B-4E9E-9A7E-1EE76F36C4EA}"/>
                </a:ext>
              </a:extLst>
            </p:cNvPr>
            <p:cNvSpPr>
              <a:spLocks noChangeAspect="1"/>
            </p:cNvSpPr>
            <p:nvPr/>
          </p:nvSpPr>
          <p:spPr bwMode="auto">
            <a:xfrm>
              <a:off x="6557963" y="1663066"/>
              <a:ext cx="95250" cy="130175"/>
            </a:xfrm>
            <a:custGeom>
              <a:avLst/>
              <a:gdLst>
                <a:gd name="T0" fmla="*/ 572 w 573"/>
                <a:gd name="T1" fmla="*/ 169 h 579"/>
                <a:gd name="T2" fmla="*/ 413 w 573"/>
                <a:gd name="T3" fmla="*/ 478 h 579"/>
                <a:gd name="T4" fmla="*/ 409 w 573"/>
                <a:gd name="T5" fmla="*/ 485 h 579"/>
                <a:gd name="T6" fmla="*/ 407 w 573"/>
                <a:gd name="T7" fmla="*/ 489 h 579"/>
                <a:gd name="T8" fmla="*/ 401 w 573"/>
                <a:gd name="T9" fmla="*/ 495 h 579"/>
                <a:gd name="T10" fmla="*/ 398 w 573"/>
                <a:gd name="T11" fmla="*/ 498 h 579"/>
                <a:gd name="T12" fmla="*/ 327 w 573"/>
                <a:gd name="T13" fmla="*/ 569 h 579"/>
                <a:gd name="T14" fmla="*/ 324 w 573"/>
                <a:gd name="T15" fmla="*/ 571 h 579"/>
                <a:gd name="T16" fmla="*/ 321 w 573"/>
                <a:gd name="T17" fmla="*/ 573 h 579"/>
                <a:gd name="T18" fmla="*/ 315 w 573"/>
                <a:gd name="T19" fmla="*/ 576 h 579"/>
                <a:gd name="T20" fmla="*/ 311 w 573"/>
                <a:gd name="T21" fmla="*/ 577 h 579"/>
                <a:gd name="T22" fmla="*/ 305 w 573"/>
                <a:gd name="T23" fmla="*/ 579 h 579"/>
                <a:gd name="T24" fmla="*/ 300 w 573"/>
                <a:gd name="T25" fmla="*/ 579 h 579"/>
                <a:gd name="T26" fmla="*/ 293 w 573"/>
                <a:gd name="T27" fmla="*/ 579 h 579"/>
                <a:gd name="T28" fmla="*/ 288 w 573"/>
                <a:gd name="T29" fmla="*/ 578 h 579"/>
                <a:gd name="T30" fmla="*/ 283 w 573"/>
                <a:gd name="T31" fmla="*/ 576 h 579"/>
                <a:gd name="T32" fmla="*/ 278 w 573"/>
                <a:gd name="T33" fmla="*/ 574 h 579"/>
                <a:gd name="T34" fmla="*/ 278 w 573"/>
                <a:gd name="T35" fmla="*/ 574 h 579"/>
                <a:gd name="T36" fmla="*/ 0 w 573"/>
                <a:gd name="T37" fmla="*/ 418 h 579"/>
                <a:gd name="T38" fmla="*/ 152 w 573"/>
                <a:gd name="T39" fmla="*/ 267 h 579"/>
                <a:gd name="T40" fmla="*/ 81 w 573"/>
                <a:gd name="T41" fmla="*/ 226 h 579"/>
                <a:gd name="T42" fmla="*/ 312 w 573"/>
                <a:gd name="T43" fmla="*/ 0 h 579"/>
                <a:gd name="T44" fmla="*/ 560 w 573"/>
                <a:gd name="T45" fmla="*/ 139 h 579"/>
                <a:gd name="T46" fmla="*/ 562 w 573"/>
                <a:gd name="T47" fmla="*/ 140 h 579"/>
                <a:gd name="T48" fmla="*/ 565 w 573"/>
                <a:gd name="T49" fmla="*/ 143 h 579"/>
                <a:gd name="T50" fmla="*/ 569 w 573"/>
                <a:gd name="T51" fmla="*/ 146 h 579"/>
                <a:gd name="T52" fmla="*/ 572 w 573"/>
                <a:gd name="T53" fmla="*/ 150 h 579"/>
                <a:gd name="T54" fmla="*/ 573 w 573"/>
                <a:gd name="T55" fmla="*/ 155 h 579"/>
                <a:gd name="T56" fmla="*/ 573 w 573"/>
                <a:gd name="T57" fmla="*/ 159 h 579"/>
                <a:gd name="T58" fmla="*/ 573 w 573"/>
                <a:gd name="T59" fmla="*/ 163 h 579"/>
                <a:gd name="T60" fmla="*/ 572 w 573"/>
                <a:gd name="T61" fmla="*/ 167 h 579"/>
                <a:gd name="T62" fmla="*/ 572 w 573"/>
                <a:gd name="T63" fmla="*/ 169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3" h="579">
                  <a:moveTo>
                    <a:pt x="572" y="169"/>
                  </a:moveTo>
                  <a:lnTo>
                    <a:pt x="413" y="478"/>
                  </a:lnTo>
                  <a:lnTo>
                    <a:pt x="409" y="485"/>
                  </a:lnTo>
                  <a:lnTo>
                    <a:pt x="407" y="489"/>
                  </a:lnTo>
                  <a:lnTo>
                    <a:pt x="401" y="495"/>
                  </a:lnTo>
                  <a:lnTo>
                    <a:pt x="398" y="498"/>
                  </a:lnTo>
                  <a:lnTo>
                    <a:pt x="327" y="569"/>
                  </a:lnTo>
                  <a:lnTo>
                    <a:pt x="324" y="571"/>
                  </a:lnTo>
                  <a:lnTo>
                    <a:pt x="321" y="573"/>
                  </a:lnTo>
                  <a:lnTo>
                    <a:pt x="315" y="576"/>
                  </a:lnTo>
                  <a:lnTo>
                    <a:pt x="311" y="577"/>
                  </a:lnTo>
                  <a:lnTo>
                    <a:pt x="305" y="579"/>
                  </a:lnTo>
                  <a:lnTo>
                    <a:pt x="300" y="579"/>
                  </a:lnTo>
                  <a:lnTo>
                    <a:pt x="293" y="579"/>
                  </a:lnTo>
                  <a:lnTo>
                    <a:pt x="288" y="578"/>
                  </a:lnTo>
                  <a:lnTo>
                    <a:pt x="283" y="576"/>
                  </a:lnTo>
                  <a:lnTo>
                    <a:pt x="278" y="574"/>
                  </a:lnTo>
                  <a:lnTo>
                    <a:pt x="278" y="574"/>
                  </a:lnTo>
                  <a:lnTo>
                    <a:pt x="0" y="418"/>
                  </a:lnTo>
                  <a:lnTo>
                    <a:pt x="152" y="267"/>
                  </a:lnTo>
                  <a:lnTo>
                    <a:pt x="81" y="226"/>
                  </a:lnTo>
                  <a:lnTo>
                    <a:pt x="312" y="0"/>
                  </a:lnTo>
                  <a:lnTo>
                    <a:pt x="560" y="139"/>
                  </a:lnTo>
                  <a:lnTo>
                    <a:pt x="562" y="140"/>
                  </a:lnTo>
                  <a:lnTo>
                    <a:pt x="565" y="143"/>
                  </a:lnTo>
                  <a:lnTo>
                    <a:pt x="569" y="146"/>
                  </a:lnTo>
                  <a:lnTo>
                    <a:pt x="572" y="150"/>
                  </a:lnTo>
                  <a:lnTo>
                    <a:pt x="573" y="155"/>
                  </a:lnTo>
                  <a:lnTo>
                    <a:pt x="573" y="159"/>
                  </a:lnTo>
                  <a:lnTo>
                    <a:pt x="573" y="163"/>
                  </a:lnTo>
                  <a:lnTo>
                    <a:pt x="572" y="167"/>
                  </a:lnTo>
                  <a:lnTo>
                    <a:pt x="572" y="16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16" name="Freeform 1164">
              <a:extLst>
                <a:ext uri="{FF2B5EF4-FFF2-40B4-BE49-F238E27FC236}">
                  <a16:creationId xmlns:a16="http://schemas.microsoft.com/office/drawing/2014/main" id="{F91D7D3B-27AC-4D3E-AF56-D17B88AA27A6}"/>
                </a:ext>
              </a:extLst>
            </p:cNvPr>
            <p:cNvSpPr>
              <a:spLocks noChangeAspect="1"/>
            </p:cNvSpPr>
            <p:nvPr/>
          </p:nvSpPr>
          <p:spPr bwMode="auto">
            <a:xfrm>
              <a:off x="7432676" y="1604329"/>
              <a:ext cx="142875" cy="104775"/>
            </a:xfrm>
            <a:custGeom>
              <a:avLst/>
              <a:gdLst>
                <a:gd name="T0" fmla="*/ 415 w 851"/>
                <a:gd name="T1" fmla="*/ 465 h 465"/>
                <a:gd name="T2" fmla="*/ 11 w 851"/>
                <a:gd name="T3" fmla="*/ 196 h 465"/>
                <a:gd name="T4" fmla="*/ 3 w 851"/>
                <a:gd name="T5" fmla="*/ 188 h 465"/>
                <a:gd name="T6" fmla="*/ 0 w 851"/>
                <a:gd name="T7" fmla="*/ 179 h 465"/>
                <a:gd name="T8" fmla="*/ 1 w 851"/>
                <a:gd name="T9" fmla="*/ 170 h 465"/>
                <a:gd name="T10" fmla="*/ 6 w 851"/>
                <a:gd name="T11" fmla="*/ 162 h 465"/>
                <a:gd name="T12" fmla="*/ 15 w 851"/>
                <a:gd name="T13" fmla="*/ 156 h 465"/>
                <a:gd name="T14" fmla="*/ 300 w 851"/>
                <a:gd name="T15" fmla="*/ 4 h 465"/>
                <a:gd name="T16" fmla="*/ 307 w 851"/>
                <a:gd name="T17" fmla="*/ 1 h 465"/>
                <a:gd name="T18" fmla="*/ 317 w 851"/>
                <a:gd name="T19" fmla="*/ 0 h 465"/>
                <a:gd name="T20" fmla="*/ 326 w 851"/>
                <a:gd name="T21" fmla="*/ 0 h 465"/>
                <a:gd name="T22" fmla="*/ 335 w 851"/>
                <a:gd name="T23" fmla="*/ 2 h 465"/>
                <a:gd name="T24" fmla="*/ 342 w 851"/>
                <a:gd name="T25" fmla="*/ 6 h 465"/>
                <a:gd name="T26" fmla="*/ 851 w 851"/>
                <a:gd name="T27" fmla="*/ 346 h 465"/>
                <a:gd name="T28" fmla="*/ 851 w 851"/>
                <a:gd name="T29" fmla="*/ 465 h 465"/>
                <a:gd name="T30" fmla="*/ 415 w 851"/>
                <a:gd name="T31" fmla="*/ 465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1" h="465">
                  <a:moveTo>
                    <a:pt x="415" y="465"/>
                  </a:moveTo>
                  <a:lnTo>
                    <a:pt x="11" y="196"/>
                  </a:lnTo>
                  <a:lnTo>
                    <a:pt x="3" y="188"/>
                  </a:lnTo>
                  <a:lnTo>
                    <a:pt x="0" y="179"/>
                  </a:lnTo>
                  <a:lnTo>
                    <a:pt x="1" y="170"/>
                  </a:lnTo>
                  <a:lnTo>
                    <a:pt x="6" y="162"/>
                  </a:lnTo>
                  <a:lnTo>
                    <a:pt x="15" y="156"/>
                  </a:lnTo>
                  <a:lnTo>
                    <a:pt x="300" y="4"/>
                  </a:lnTo>
                  <a:lnTo>
                    <a:pt x="307" y="1"/>
                  </a:lnTo>
                  <a:lnTo>
                    <a:pt x="317" y="0"/>
                  </a:lnTo>
                  <a:lnTo>
                    <a:pt x="326" y="0"/>
                  </a:lnTo>
                  <a:lnTo>
                    <a:pt x="335" y="2"/>
                  </a:lnTo>
                  <a:lnTo>
                    <a:pt x="342" y="6"/>
                  </a:lnTo>
                  <a:lnTo>
                    <a:pt x="851" y="346"/>
                  </a:lnTo>
                  <a:lnTo>
                    <a:pt x="851" y="465"/>
                  </a:lnTo>
                  <a:lnTo>
                    <a:pt x="415" y="465"/>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717" name="Freeform 1165">
              <a:extLst>
                <a:ext uri="{FF2B5EF4-FFF2-40B4-BE49-F238E27FC236}">
                  <a16:creationId xmlns:a16="http://schemas.microsoft.com/office/drawing/2014/main" id="{5F588B30-3BD2-4DD6-B85F-7498CEC668A9}"/>
                </a:ext>
              </a:extLst>
            </p:cNvPr>
            <p:cNvSpPr>
              <a:spLocks noChangeAspect="1"/>
            </p:cNvSpPr>
            <p:nvPr/>
          </p:nvSpPr>
          <p:spPr bwMode="auto">
            <a:xfrm>
              <a:off x="7432676" y="1604329"/>
              <a:ext cx="142875" cy="104775"/>
            </a:xfrm>
            <a:custGeom>
              <a:avLst/>
              <a:gdLst>
                <a:gd name="T0" fmla="*/ 415 w 851"/>
                <a:gd name="T1" fmla="*/ 465 h 465"/>
                <a:gd name="T2" fmla="*/ 11 w 851"/>
                <a:gd name="T3" fmla="*/ 196 h 465"/>
                <a:gd name="T4" fmla="*/ 3 w 851"/>
                <a:gd name="T5" fmla="*/ 188 h 465"/>
                <a:gd name="T6" fmla="*/ 0 w 851"/>
                <a:gd name="T7" fmla="*/ 179 h 465"/>
                <a:gd name="T8" fmla="*/ 1 w 851"/>
                <a:gd name="T9" fmla="*/ 170 h 465"/>
                <a:gd name="T10" fmla="*/ 6 w 851"/>
                <a:gd name="T11" fmla="*/ 162 h 465"/>
                <a:gd name="T12" fmla="*/ 15 w 851"/>
                <a:gd name="T13" fmla="*/ 156 h 465"/>
                <a:gd name="T14" fmla="*/ 300 w 851"/>
                <a:gd name="T15" fmla="*/ 4 h 465"/>
                <a:gd name="T16" fmla="*/ 307 w 851"/>
                <a:gd name="T17" fmla="*/ 1 h 465"/>
                <a:gd name="T18" fmla="*/ 317 w 851"/>
                <a:gd name="T19" fmla="*/ 0 h 465"/>
                <a:gd name="T20" fmla="*/ 326 w 851"/>
                <a:gd name="T21" fmla="*/ 0 h 465"/>
                <a:gd name="T22" fmla="*/ 335 w 851"/>
                <a:gd name="T23" fmla="*/ 2 h 465"/>
                <a:gd name="T24" fmla="*/ 342 w 851"/>
                <a:gd name="T25" fmla="*/ 6 h 465"/>
                <a:gd name="T26" fmla="*/ 851 w 851"/>
                <a:gd name="T27" fmla="*/ 346 h 465"/>
                <a:gd name="T28" fmla="*/ 851 w 851"/>
                <a:gd name="T29" fmla="*/ 465 h 465"/>
                <a:gd name="T30" fmla="*/ 415 w 851"/>
                <a:gd name="T31" fmla="*/ 465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1" h="465">
                  <a:moveTo>
                    <a:pt x="415" y="465"/>
                  </a:moveTo>
                  <a:lnTo>
                    <a:pt x="11" y="196"/>
                  </a:lnTo>
                  <a:lnTo>
                    <a:pt x="3" y="188"/>
                  </a:lnTo>
                  <a:lnTo>
                    <a:pt x="0" y="179"/>
                  </a:lnTo>
                  <a:lnTo>
                    <a:pt x="1" y="170"/>
                  </a:lnTo>
                  <a:lnTo>
                    <a:pt x="6" y="162"/>
                  </a:lnTo>
                  <a:lnTo>
                    <a:pt x="15" y="156"/>
                  </a:lnTo>
                  <a:lnTo>
                    <a:pt x="300" y="4"/>
                  </a:lnTo>
                  <a:lnTo>
                    <a:pt x="307" y="1"/>
                  </a:lnTo>
                  <a:lnTo>
                    <a:pt x="317" y="0"/>
                  </a:lnTo>
                  <a:lnTo>
                    <a:pt x="326" y="0"/>
                  </a:lnTo>
                  <a:lnTo>
                    <a:pt x="335" y="2"/>
                  </a:lnTo>
                  <a:lnTo>
                    <a:pt x="342" y="6"/>
                  </a:lnTo>
                  <a:lnTo>
                    <a:pt x="851" y="346"/>
                  </a:lnTo>
                  <a:lnTo>
                    <a:pt x="851" y="465"/>
                  </a:lnTo>
                  <a:lnTo>
                    <a:pt x="415" y="465"/>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18" name="Freeform 1166">
              <a:extLst>
                <a:ext uri="{FF2B5EF4-FFF2-40B4-BE49-F238E27FC236}">
                  <a16:creationId xmlns:a16="http://schemas.microsoft.com/office/drawing/2014/main" id="{1CE0B059-7012-422B-8E60-91ABA9D7162A}"/>
                </a:ext>
              </a:extLst>
            </p:cNvPr>
            <p:cNvSpPr>
              <a:spLocks noChangeAspect="1"/>
            </p:cNvSpPr>
            <p:nvPr/>
          </p:nvSpPr>
          <p:spPr bwMode="auto">
            <a:xfrm>
              <a:off x="7310438" y="1455104"/>
              <a:ext cx="163512" cy="173037"/>
            </a:xfrm>
            <a:custGeom>
              <a:avLst/>
              <a:gdLst>
                <a:gd name="T0" fmla="*/ 640 w 981"/>
                <a:gd name="T1" fmla="*/ 768 h 778"/>
                <a:gd name="T2" fmla="*/ 5 w 981"/>
                <a:gd name="T3" fmla="*/ 121 h 778"/>
                <a:gd name="T4" fmla="*/ 0 w 981"/>
                <a:gd name="T5" fmla="*/ 112 h 778"/>
                <a:gd name="T6" fmla="*/ 0 w 981"/>
                <a:gd name="T7" fmla="*/ 102 h 778"/>
                <a:gd name="T8" fmla="*/ 4 w 981"/>
                <a:gd name="T9" fmla="*/ 92 h 778"/>
                <a:gd name="T10" fmla="*/ 13 w 981"/>
                <a:gd name="T11" fmla="*/ 85 h 778"/>
                <a:gd name="T12" fmla="*/ 63 w 981"/>
                <a:gd name="T13" fmla="*/ 59 h 778"/>
                <a:gd name="T14" fmla="*/ 184 w 981"/>
                <a:gd name="T15" fmla="*/ 92 h 778"/>
                <a:gd name="T16" fmla="*/ 188 w 981"/>
                <a:gd name="T17" fmla="*/ 92 h 778"/>
                <a:gd name="T18" fmla="*/ 192 w 981"/>
                <a:gd name="T19" fmla="*/ 92 h 778"/>
                <a:gd name="T20" fmla="*/ 198 w 981"/>
                <a:gd name="T21" fmla="*/ 93 h 778"/>
                <a:gd name="T22" fmla="*/ 203 w 981"/>
                <a:gd name="T23" fmla="*/ 92 h 778"/>
                <a:gd name="T24" fmla="*/ 209 w 981"/>
                <a:gd name="T25" fmla="*/ 91 h 778"/>
                <a:gd name="T26" fmla="*/ 215 w 981"/>
                <a:gd name="T27" fmla="*/ 89 h 778"/>
                <a:gd name="T28" fmla="*/ 219 w 981"/>
                <a:gd name="T29" fmla="*/ 87 h 778"/>
                <a:gd name="T30" fmla="*/ 222 w 981"/>
                <a:gd name="T31" fmla="*/ 84 h 778"/>
                <a:gd name="T32" fmla="*/ 226 w 981"/>
                <a:gd name="T33" fmla="*/ 80 h 778"/>
                <a:gd name="T34" fmla="*/ 228 w 981"/>
                <a:gd name="T35" fmla="*/ 77 h 778"/>
                <a:gd name="T36" fmla="*/ 266 w 981"/>
                <a:gd name="T37" fmla="*/ 0 h 778"/>
                <a:gd name="T38" fmla="*/ 442 w 981"/>
                <a:gd name="T39" fmla="*/ 47 h 778"/>
                <a:gd name="T40" fmla="*/ 974 w 981"/>
                <a:gd name="T41" fmla="*/ 591 h 778"/>
                <a:gd name="T42" fmla="*/ 980 w 981"/>
                <a:gd name="T43" fmla="*/ 601 h 778"/>
                <a:gd name="T44" fmla="*/ 981 w 981"/>
                <a:gd name="T45" fmla="*/ 611 h 778"/>
                <a:gd name="T46" fmla="*/ 975 w 981"/>
                <a:gd name="T47" fmla="*/ 620 h 778"/>
                <a:gd name="T48" fmla="*/ 966 w 981"/>
                <a:gd name="T49" fmla="*/ 627 h 778"/>
                <a:gd name="T50" fmla="*/ 687 w 981"/>
                <a:gd name="T51" fmla="*/ 774 h 778"/>
                <a:gd name="T52" fmla="*/ 675 w 981"/>
                <a:gd name="T53" fmla="*/ 778 h 778"/>
                <a:gd name="T54" fmla="*/ 661 w 981"/>
                <a:gd name="T55" fmla="*/ 778 h 778"/>
                <a:gd name="T56" fmla="*/ 649 w 981"/>
                <a:gd name="T57" fmla="*/ 775 h 778"/>
                <a:gd name="T58" fmla="*/ 640 w 981"/>
                <a:gd name="T59" fmla="*/ 768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1" h="778">
                  <a:moveTo>
                    <a:pt x="640" y="768"/>
                  </a:moveTo>
                  <a:lnTo>
                    <a:pt x="5" y="121"/>
                  </a:lnTo>
                  <a:lnTo>
                    <a:pt x="0" y="112"/>
                  </a:lnTo>
                  <a:lnTo>
                    <a:pt x="0" y="102"/>
                  </a:lnTo>
                  <a:lnTo>
                    <a:pt x="4" y="92"/>
                  </a:lnTo>
                  <a:lnTo>
                    <a:pt x="13" y="85"/>
                  </a:lnTo>
                  <a:lnTo>
                    <a:pt x="63" y="59"/>
                  </a:lnTo>
                  <a:lnTo>
                    <a:pt x="184" y="92"/>
                  </a:lnTo>
                  <a:lnTo>
                    <a:pt x="188" y="92"/>
                  </a:lnTo>
                  <a:lnTo>
                    <a:pt x="192" y="92"/>
                  </a:lnTo>
                  <a:lnTo>
                    <a:pt x="198" y="93"/>
                  </a:lnTo>
                  <a:lnTo>
                    <a:pt x="203" y="92"/>
                  </a:lnTo>
                  <a:lnTo>
                    <a:pt x="209" y="91"/>
                  </a:lnTo>
                  <a:lnTo>
                    <a:pt x="215" y="89"/>
                  </a:lnTo>
                  <a:lnTo>
                    <a:pt x="219" y="87"/>
                  </a:lnTo>
                  <a:lnTo>
                    <a:pt x="222" y="84"/>
                  </a:lnTo>
                  <a:lnTo>
                    <a:pt x="226" y="80"/>
                  </a:lnTo>
                  <a:lnTo>
                    <a:pt x="228" y="77"/>
                  </a:lnTo>
                  <a:lnTo>
                    <a:pt x="266" y="0"/>
                  </a:lnTo>
                  <a:lnTo>
                    <a:pt x="442" y="47"/>
                  </a:lnTo>
                  <a:lnTo>
                    <a:pt x="974" y="591"/>
                  </a:lnTo>
                  <a:lnTo>
                    <a:pt x="980" y="601"/>
                  </a:lnTo>
                  <a:lnTo>
                    <a:pt x="981" y="611"/>
                  </a:lnTo>
                  <a:lnTo>
                    <a:pt x="975" y="620"/>
                  </a:lnTo>
                  <a:lnTo>
                    <a:pt x="966" y="627"/>
                  </a:lnTo>
                  <a:lnTo>
                    <a:pt x="687" y="774"/>
                  </a:lnTo>
                  <a:lnTo>
                    <a:pt x="675" y="778"/>
                  </a:lnTo>
                  <a:lnTo>
                    <a:pt x="661" y="778"/>
                  </a:lnTo>
                  <a:lnTo>
                    <a:pt x="649" y="775"/>
                  </a:lnTo>
                  <a:lnTo>
                    <a:pt x="640" y="768"/>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719" name="Freeform 1167">
              <a:extLst>
                <a:ext uri="{FF2B5EF4-FFF2-40B4-BE49-F238E27FC236}">
                  <a16:creationId xmlns:a16="http://schemas.microsoft.com/office/drawing/2014/main" id="{C515622F-2DAD-4E3C-97F8-3DE52ACABDF2}"/>
                </a:ext>
              </a:extLst>
            </p:cNvPr>
            <p:cNvSpPr>
              <a:spLocks noChangeAspect="1"/>
            </p:cNvSpPr>
            <p:nvPr/>
          </p:nvSpPr>
          <p:spPr bwMode="auto">
            <a:xfrm>
              <a:off x="7310438" y="1455104"/>
              <a:ext cx="163512" cy="173037"/>
            </a:xfrm>
            <a:custGeom>
              <a:avLst/>
              <a:gdLst>
                <a:gd name="T0" fmla="*/ 640 w 981"/>
                <a:gd name="T1" fmla="*/ 768 h 778"/>
                <a:gd name="T2" fmla="*/ 5 w 981"/>
                <a:gd name="T3" fmla="*/ 121 h 778"/>
                <a:gd name="T4" fmla="*/ 0 w 981"/>
                <a:gd name="T5" fmla="*/ 112 h 778"/>
                <a:gd name="T6" fmla="*/ 0 w 981"/>
                <a:gd name="T7" fmla="*/ 102 h 778"/>
                <a:gd name="T8" fmla="*/ 4 w 981"/>
                <a:gd name="T9" fmla="*/ 92 h 778"/>
                <a:gd name="T10" fmla="*/ 13 w 981"/>
                <a:gd name="T11" fmla="*/ 85 h 778"/>
                <a:gd name="T12" fmla="*/ 63 w 981"/>
                <a:gd name="T13" fmla="*/ 59 h 778"/>
                <a:gd name="T14" fmla="*/ 184 w 981"/>
                <a:gd name="T15" fmla="*/ 92 h 778"/>
                <a:gd name="T16" fmla="*/ 188 w 981"/>
                <a:gd name="T17" fmla="*/ 92 h 778"/>
                <a:gd name="T18" fmla="*/ 192 w 981"/>
                <a:gd name="T19" fmla="*/ 92 h 778"/>
                <a:gd name="T20" fmla="*/ 198 w 981"/>
                <a:gd name="T21" fmla="*/ 93 h 778"/>
                <a:gd name="T22" fmla="*/ 203 w 981"/>
                <a:gd name="T23" fmla="*/ 92 h 778"/>
                <a:gd name="T24" fmla="*/ 209 w 981"/>
                <a:gd name="T25" fmla="*/ 91 h 778"/>
                <a:gd name="T26" fmla="*/ 215 w 981"/>
                <a:gd name="T27" fmla="*/ 89 h 778"/>
                <a:gd name="T28" fmla="*/ 219 w 981"/>
                <a:gd name="T29" fmla="*/ 87 h 778"/>
                <a:gd name="T30" fmla="*/ 222 w 981"/>
                <a:gd name="T31" fmla="*/ 84 h 778"/>
                <a:gd name="T32" fmla="*/ 226 w 981"/>
                <a:gd name="T33" fmla="*/ 80 h 778"/>
                <a:gd name="T34" fmla="*/ 228 w 981"/>
                <a:gd name="T35" fmla="*/ 77 h 778"/>
                <a:gd name="T36" fmla="*/ 266 w 981"/>
                <a:gd name="T37" fmla="*/ 0 h 778"/>
                <a:gd name="T38" fmla="*/ 442 w 981"/>
                <a:gd name="T39" fmla="*/ 47 h 778"/>
                <a:gd name="T40" fmla="*/ 974 w 981"/>
                <a:gd name="T41" fmla="*/ 591 h 778"/>
                <a:gd name="T42" fmla="*/ 980 w 981"/>
                <a:gd name="T43" fmla="*/ 601 h 778"/>
                <a:gd name="T44" fmla="*/ 981 w 981"/>
                <a:gd name="T45" fmla="*/ 611 h 778"/>
                <a:gd name="T46" fmla="*/ 975 w 981"/>
                <a:gd name="T47" fmla="*/ 620 h 778"/>
                <a:gd name="T48" fmla="*/ 966 w 981"/>
                <a:gd name="T49" fmla="*/ 627 h 778"/>
                <a:gd name="T50" fmla="*/ 687 w 981"/>
                <a:gd name="T51" fmla="*/ 774 h 778"/>
                <a:gd name="T52" fmla="*/ 675 w 981"/>
                <a:gd name="T53" fmla="*/ 778 h 778"/>
                <a:gd name="T54" fmla="*/ 661 w 981"/>
                <a:gd name="T55" fmla="*/ 778 h 778"/>
                <a:gd name="T56" fmla="*/ 649 w 981"/>
                <a:gd name="T57" fmla="*/ 775 h 778"/>
                <a:gd name="T58" fmla="*/ 640 w 981"/>
                <a:gd name="T59" fmla="*/ 768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1" h="778">
                  <a:moveTo>
                    <a:pt x="640" y="768"/>
                  </a:moveTo>
                  <a:lnTo>
                    <a:pt x="5" y="121"/>
                  </a:lnTo>
                  <a:lnTo>
                    <a:pt x="0" y="112"/>
                  </a:lnTo>
                  <a:lnTo>
                    <a:pt x="0" y="102"/>
                  </a:lnTo>
                  <a:lnTo>
                    <a:pt x="4" y="92"/>
                  </a:lnTo>
                  <a:lnTo>
                    <a:pt x="13" y="85"/>
                  </a:lnTo>
                  <a:lnTo>
                    <a:pt x="63" y="59"/>
                  </a:lnTo>
                  <a:lnTo>
                    <a:pt x="184" y="92"/>
                  </a:lnTo>
                  <a:lnTo>
                    <a:pt x="188" y="92"/>
                  </a:lnTo>
                  <a:lnTo>
                    <a:pt x="192" y="92"/>
                  </a:lnTo>
                  <a:lnTo>
                    <a:pt x="198" y="93"/>
                  </a:lnTo>
                  <a:lnTo>
                    <a:pt x="203" y="92"/>
                  </a:lnTo>
                  <a:lnTo>
                    <a:pt x="209" y="91"/>
                  </a:lnTo>
                  <a:lnTo>
                    <a:pt x="215" y="89"/>
                  </a:lnTo>
                  <a:lnTo>
                    <a:pt x="219" y="87"/>
                  </a:lnTo>
                  <a:lnTo>
                    <a:pt x="222" y="84"/>
                  </a:lnTo>
                  <a:lnTo>
                    <a:pt x="226" y="80"/>
                  </a:lnTo>
                  <a:lnTo>
                    <a:pt x="228" y="77"/>
                  </a:lnTo>
                  <a:lnTo>
                    <a:pt x="266" y="0"/>
                  </a:lnTo>
                  <a:lnTo>
                    <a:pt x="442" y="47"/>
                  </a:lnTo>
                  <a:lnTo>
                    <a:pt x="974" y="591"/>
                  </a:lnTo>
                  <a:lnTo>
                    <a:pt x="980" y="601"/>
                  </a:lnTo>
                  <a:lnTo>
                    <a:pt x="981" y="611"/>
                  </a:lnTo>
                  <a:lnTo>
                    <a:pt x="975" y="620"/>
                  </a:lnTo>
                  <a:lnTo>
                    <a:pt x="966" y="627"/>
                  </a:lnTo>
                  <a:lnTo>
                    <a:pt x="687" y="774"/>
                  </a:lnTo>
                  <a:lnTo>
                    <a:pt x="675" y="778"/>
                  </a:lnTo>
                  <a:lnTo>
                    <a:pt x="661" y="778"/>
                  </a:lnTo>
                  <a:lnTo>
                    <a:pt x="649" y="775"/>
                  </a:lnTo>
                  <a:lnTo>
                    <a:pt x="640" y="768"/>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20" name="Freeform 1168">
              <a:extLst>
                <a:ext uri="{FF2B5EF4-FFF2-40B4-BE49-F238E27FC236}">
                  <a16:creationId xmlns:a16="http://schemas.microsoft.com/office/drawing/2014/main" id="{42CA9A93-9A75-4578-B392-DE3F8A66C86B}"/>
                </a:ext>
              </a:extLst>
            </p:cNvPr>
            <p:cNvSpPr>
              <a:spLocks noChangeAspect="1"/>
            </p:cNvSpPr>
            <p:nvPr/>
          </p:nvSpPr>
          <p:spPr bwMode="auto">
            <a:xfrm>
              <a:off x="7256464" y="1413829"/>
              <a:ext cx="96837" cy="58737"/>
            </a:xfrm>
            <a:custGeom>
              <a:avLst/>
              <a:gdLst>
                <a:gd name="T0" fmla="*/ 479 w 573"/>
                <a:gd name="T1" fmla="*/ 259 h 260"/>
                <a:gd name="T2" fmla="*/ 22 w 573"/>
                <a:gd name="T3" fmla="*/ 135 h 260"/>
                <a:gd name="T4" fmla="*/ 13 w 573"/>
                <a:gd name="T5" fmla="*/ 131 h 260"/>
                <a:gd name="T6" fmla="*/ 5 w 573"/>
                <a:gd name="T7" fmla="*/ 125 h 260"/>
                <a:gd name="T8" fmla="*/ 1 w 573"/>
                <a:gd name="T9" fmla="*/ 118 h 260"/>
                <a:gd name="T10" fmla="*/ 0 w 573"/>
                <a:gd name="T11" fmla="*/ 111 h 260"/>
                <a:gd name="T12" fmla="*/ 2 w 573"/>
                <a:gd name="T13" fmla="*/ 103 h 260"/>
                <a:gd name="T14" fmla="*/ 52 w 573"/>
                <a:gd name="T15" fmla="*/ 0 h 260"/>
                <a:gd name="T16" fmla="*/ 573 w 573"/>
                <a:gd name="T17" fmla="*/ 141 h 260"/>
                <a:gd name="T18" fmla="*/ 523 w 573"/>
                <a:gd name="T19" fmla="*/ 244 h 260"/>
                <a:gd name="T20" fmla="*/ 518 w 573"/>
                <a:gd name="T21" fmla="*/ 251 h 260"/>
                <a:gd name="T22" fmla="*/ 509 w 573"/>
                <a:gd name="T23" fmla="*/ 256 h 260"/>
                <a:gd name="T24" fmla="*/ 500 w 573"/>
                <a:gd name="T25" fmla="*/ 259 h 260"/>
                <a:gd name="T26" fmla="*/ 490 w 573"/>
                <a:gd name="T27" fmla="*/ 260 h 260"/>
                <a:gd name="T28" fmla="*/ 479 w 573"/>
                <a:gd name="T29" fmla="*/ 25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3" h="260">
                  <a:moveTo>
                    <a:pt x="479" y="259"/>
                  </a:moveTo>
                  <a:lnTo>
                    <a:pt x="22" y="135"/>
                  </a:lnTo>
                  <a:lnTo>
                    <a:pt x="13" y="131"/>
                  </a:lnTo>
                  <a:lnTo>
                    <a:pt x="5" y="125"/>
                  </a:lnTo>
                  <a:lnTo>
                    <a:pt x="1" y="118"/>
                  </a:lnTo>
                  <a:lnTo>
                    <a:pt x="0" y="111"/>
                  </a:lnTo>
                  <a:lnTo>
                    <a:pt x="2" y="103"/>
                  </a:lnTo>
                  <a:lnTo>
                    <a:pt x="52" y="0"/>
                  </a:lnTo>
                  <a:lnTo>
                    <a:pt x="573" y="141"/>
                  </a:lnTo>
                  <a:lnTo>
                    <a:pt x="523" y="244"/>
                  </a:lnTo>
                  <a:lnTo>
                    <a:pt x="518" y="251"/>
                  </a:lnTo>
                  <a:lnTo>
                    <a:pt x="509" y="256"/>
                  </a:lnTo>
                  <a:lnTo>
                    <a:pt x="500" y="259"/>
                  </a:lnTo>
                  <a:lnTo>
                    <a:pt x="490" y="260"/>
                  </a:lnTo>
                  <a:lnTo>
                    <a:pt x="479" y="259"/>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721" name="Freeform 1169">
              <a:extLst>
                <a:ext uri="{FF2B5EF4-FFF2-40B4-BE49-F238E27FC236}">
                  <a16:creationId xmlns:a16="http://schemas.microsoft.com/office/drawing/2014/main" id="{929C40BF-9112-4E3D-88D7-1866398B70AE}"/>
                </a:ext>
              </a:extLst>
            </p:cNvPr>
            <p:cNvSpPr>
              <a:spLocks noChangeAspect="1"/>
            </p:cNvSpPr>
            <p:nvPr/>
          </p:nvSpPr>
          <p:spPr bwMode="auto">
            <a:xfrm>
              <a:off x="7256464" y="1413829"/>
              <a:ext cx="96837" cy="58737"/>
            </a:xfrm>
            <a:custGeom>
              <a:avLst/>
              <a:gdLst>
                <a:gd name="T0" fmla="*/ 479 w 573"/>
                <a:gd name="T1" fmla="*/ 259 h 260"/>
                <a:gd name="T2" fmla="*/ 22 w 573"/>
                <a:gd name="T3" fmla="*/ 135 h 260"/>
                <a:gd name="T4" fmla="*/ 13 w 573"/>
                <a:gd name="T5" fmla="*/ 131 h 260"/>
                <a:gd name="T6" fmla="*/ 5 w 573"/>
                <a:gd name="T7" fmla="*/ 125 h 260"/>
                <a:gd name="T8" fmla="*/ 1 w 573"/>
                <a:gd name="T9" fmla="*/ 118 h 260"/>
                <a:gd name="T10" fmla="*/ 0 w 573"/>
                <a:gd name="T11" fmla="*/ 111 h 260"/>
                <a:gd name="T12" fmla="*/ 2 w 573"/>
                <a:gd name="T13" fmla="*/ 103 h 260"/>
                <a:gd name="T14" fmla="*/ 52 w 573"/>
                <a:gd name="T15" fmla="*/ 0 h 260"/>
                <a:gd name="T16" fmla="*/ 573 w 573"/>
                <a:gd name="T17" fmla="*/ 141 h 260"/>
                <a:gd name="T18" fmla="*/ 523 w 573"/>
                <a:gd name="T19" fmla="*/ 244 h 260"/>
                <a:gd name="T20" fmla="*/ 518 w 573"/>
                <a:gd name="T21" fmla="*/ 251 h 260"/>
                <a:gd name="T22" fmla="*/ 509 w 573"/>
                <a:gd name="T23" fmla="*/ 256 h 260"/>
                <a:gd name="T24" fmla="*/ 500 w 573"/>
                <a:gd name="T25" fmla="*/ 259 h 260"/>
                <a:gd name="T26" fmla="*/ 490 w 573"/>
                <a:gd name="T27" fmla="*/ 260 h 260"/>
                <a:gd name="T28" fmla="*/ 479 w 573"/>
                <a:gd name="T29" fmla="*/ 25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3" h="260">
                  <a:moveTo>
                    <a:pt x="479" y="259"/>
                  </a:moveTo>
                  <a:lnTo>
                    <a:pt x="22" y="135"/>
                  </a:lnTo>
                  <a:lnTo>
                    <a:pt x="13" y="131"/>
                  </a:lnTo>
                  <a:lnTo>
                    <a:pt x="5" y="125"/>
                  </a:lnTo>
                  <a:lnTo>
                    <a:pt x="1" y="118"/>
                  </a:lnTo>
                  <a:lnTo>
                    <a:pt x="0" y="111"/>
                  </a:lnTo>
                  <a:lnTo>
                    <a:pt x="2" y="103"/>
                  </a:lnTo>
                  <a:lnTo>
                    <a:pt x="52" y="0"/>
                  </a:lnTo>
                  <a:lnTo>
                    <a:pt x="573" y="141"/>
                  </a:lnTo>
                  <a:lnTo>
                    <a:pt x="523" y="244"/>
                  </a:lnTo>
                  <a:lnTo>
                    <a:pt x="518" y="251"/>
                  </a:lnTo>
                  <a:lnTo>
                    <a:pt x="509" y="256"/>
                  </a:lnTo>
                  <a:lnTo>
                    <a:pt x="500" y="259"/>
                  </a:lnTo>
                  <a:lnTo>
                    <a:pt x="490" y="260"/>
                  </a:lnTo>
                  <a:lnTo>
                    <a:pt x="479" y="25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22" name="Freeform 1170">
              <a:extLst>
                <a:ext uri="{FF2B5EF4-FFF2-40B4-BE49-F238E27FC236}">
                  <a16:creationId xmlns:a16="http://schemas.microsoft.com/office/drawing/2014/main" id="{203054AF-0231-4942-A6A5-D76CB10F57C7}"/>
                </a:ext>
              </a:extLst>
            </p:cNvPr>
            <p:cNvSpPr>
              <a:spLocks noChangeAspect="1"/>
            </p:cNvSpPr>
            <p:nvPr/>
          </p:nvSpPr>
          <p:spPr bwMode="auto">
            <a:xfrm>
              <a:off x="7165976" y="1382078"/>
              <a:ext cx="98425" cy="57150"/>
            </a:xfrm>
            <a:custGeom>
              <a:avLst/>
              <a:gdLst>
                <a:gd name="T0" fmla="*/ 478 w 572"/>
                <a:gd name="T1" fmla="*/ 259 h 260"/>
                <a:gd name="T2" fmla="*/ 23 w 572"/>
                <a:gd name="T3" fmla="*/ 135 h 260"/>
                <a:gd name="T4" fmla="*/ 11 w 572"/>
                <a:gd name="T5" fmla="*/ 130 h 260"/>
                <a:gd name="T6" fmla="*/ 3 w 572"/>
                <a:gd name="T7" fmla="*/ 122 h 260"/>
                <a:gd name="T8" fmla="*/ 0 w 572"/>
                <a:gd name="T9" fmla="*/ 113 h 260"/>
                <a:gd name="T10" fmla="*/ 2 w 572"/>
                <a:gd name="T11" fmla="*/ 102 h 260"/>
                <a:gd name="T12" fmla="*/ 52 w 572"/>
                <a:gd name="T13" fmla="*/ 0 h 260"/>
                <a:gd name="T14" fmla="*/ 572 w 572"/>
                <a:gd name="T15" fmla="*/ 140 h 260"/>
                <a:gd name="T16" fmla="*/ 522 w 572"/>
                <a:gd name="T17" fmla="*/ 243 h 260"/>
                <a:gd name="T18" fmla="*/ 515 w 572"/>
                <a:gd name="T19" fmla="*/ 252 h 260"/>
                <a:gd name="T20" fmla="*/ 504 w 572"/>
                <a:gd name="T21" fmla="*/ 258 h 260"/>
                <a:gd name="T22" fmla="*/ 492 w 572"/>
                <a:gd name="T23" fmla="*/ 260 h 260"/>
                <a:gd name="T24" fmla="*/ 478 w 572"/>
                <a:gd name="T25" fmla="*/ 25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2" h="260">
                  <a:moveTo>
                    <a:pt x="478" y="259"/>
                  </a:moveTo>
                  <a:lnTo>
                    <a:pt x="23" y="135"/>
                  </a:lnTo>
                  <a:lnTo>
                    <a:pt x="11" y="130"/>
                  </a:lnTo>
                  <a:lnTo>
                    <a:pt x="3" y="122"/>
                  </a:lnTo>
                  <a:lnTo>
                    <a:pt x="0" y="113"/>
                  </a:lnTo>
                  <a:lnTo>
                    <a:pt x="2" y="102"/>
                  </a:lnTo>
                  <a:lnTo>
                    <a:pt x="52" y="0"/>
                  </a:lnTo>
                  <a:lnTo>
                    <a:pt x="572" y="140"/>
                  </a:lnTo>
                  <a:lnTo>
                    <a:pt x="522" y="243"/>
                  </a:lnTo>
                  <a:lnTo>
                    <a:pt x="515" y="252"/>
                  </a:lnTo>
                  <a:lnTo>
                    <a:pt x="504" y="258"/>
                  </a:lnTo>
                  <a:lnTo>
                    <a:pt x="492" y="260"/>
                  </a:lnTo>
                  <a:lnTo>
                    <a:pt x="478" y="259"/>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723" name="Freeform 1171">
              <a:extLst>
                <a:ext uri="{FF2B5EF4-FFF2-40B4-BE49-F238E27FC236}">
                  <a16:creationId xmlns:a16="http://schemas.microsoft.com/office/drawing/2014/main" id="{1C278554-FAF4-4F67-93BB-E037CA1354BE}"/>
                </a:ext>
              </a:extLst>
            </p:cNvPr>
            <p:cNvSpPr>
              <a:spLocks noChangeAspect="1"/>
            </p:cNvSpPr>
            <p:nvPr/>
          </p:nvSpPr>
          <p:spPr bwMode="auto">
            <a:xfrm>
              <a:off x="7165976" y="1382078"/>
              <a:ext cx="98425" cy="57150"/>
            </a:xfrm>
            <a:custGeom>
              <a:avLst/>
              <a:gdLst>
                <a:gd name="T0" fmla="*/ 478 w 572"/>
                <a:gd name="T1" fmla="*/ 259 h 260"/>
                <a:gd name="T2" fmla="*/ 23 w 572"/>
                <a:gd name="T3" fmla="*/ 135 h 260"/>
                <a:gd name="T4" fmla="*/ 11 w 572"/>
                <a:gd name="T5" fmla="*/ 130 h 260"/>
                <a:gd name="T6" fmla="*/ 3 w 572"/>
                <a:gd name="T7" fmla="*/ 122 h 260"/>
                <a:gd name="T8" fmla="*/ 0 w 572"/>
                <a:gd name="T9" fmla="*/ 113 h 260"/>
                <a:gd name="T10" fmla="*/ 2 w 572"/>
                <a:gd name="T11" fmla="*/ 102 h 260"/>
                <a:gd name="T12" fmla="*/ 52 w 572"/>
                <a:gd name="T13" fmla="*/ 0 h 260"/>
                <a:gd name="T14" fmla="*/ 572 w 572"/>
                <a:gd name="T15" fmla="*/ 140 h 260"/>
                <a:gd name="T16" fmla="*/ 522 w 572"/>
                <a:gd name="T17" fmla="*/ 243 h 260"/>
                <a:gd name="T18" fmla="*/ 515 w 572"/>
                <a:gd name="T19" fmla="*/ 252 h 260"/>
                <a:gd name="T20" fmla="*/ 504 w 572"/>
                <a:gd name="T21" fmla="*/ 258 h 260"/>
                <a:gd name="T22" fmla="*/ 492 w 572"/>
                <a:gd name="T23" fmla="*/ 260 h 260"/>
                <a:gd name="T24" fmla="*/ 478 w 572"/>
                <a:gd name="T25" fmla="*/ 25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2" h="260">
                  <a:moveTo>
                    <a:pt x="478" y="259"/>
                  </a:moveTo>
                  <a:lnTo>
                    <a:pt x="23" y="135"/>
                  </a:lnTo>
                  <a:lnTo>
                    <a:pt x="11" y="130"/>
                  </a:lnTo>
                  <a:lnTo>
                    <a:pt x="3" y="122"/>
                  </a:lnTo>
                  <a:lnTo>
                    <a:pt x="0" y="113"/>
                  </a:lnTo>
                  <a:lnTo>
                    <a:pt x="2" y="102"/>
                  </a:lnTo>
                  <a:lnTo>
                    <a:pt x="52" y="0"/>
                  </a:lnTo>
                  <a:lnTo>
                    <a:pt x="572" y="140"/>
                  </a:lnTo>
                  <a:lnTo>
                    <a:pt x="522" y="243"/>
                  </a:lnTo>
                  <a:lnTo>
                    <a:pt x="515" y="252"/>
                  </a:lnTo>
                  <a:lnTo>
                    <a:pt x="504" y="258"/>
                  </a:lnTo>
                  <a:lnTo>
                    <a:pt x="492" y="260"/>
                  </a:lnTo>
                  <a:lnTo>
                    <a:pt x="478" y="25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24" name="Freeform 1172">
              <a:extLst>
                <a:ext uri="{FF2B5EF4-FFF2-40B4-BE49-F238E27FC236}">
                  <a16:creationId xmlns:a16="http://schemas.microsoft.com/office/drawing/2014/main" id="{E85E7260-769F-4121-86E5-9242A0B4ABCF}"/>
                </a:ext>
              </a:extLst>
            </p:cNvPr>
            <p:cNvSpPr>
              <a:spLocks noChangeAspect="1"/>
            </p:cNvSpPr>
            <p:nvPr/>
          </p:nvSpPr>
          <p:spPr bwMode="auto">
            <a:xfrm>
              <a:off x="6988176" y="1316991"/>
              <a:ext cx="187325" cy="92075"/>
            </a:xfrm>
            <a:custGeom>
              <a:avLst/>
              <a:gdLst>
                <a:gd name="T0" fmla="*/ 1030 w 1105"/>
                <a:gd name="T1" fmla="*/ 406 h 407"/>
                <a:gd name="T2" fmla="*/ 110 w 1105"/>
                <a:gd name="T3" fmla="*/ 134 h 407"/>
                <a:gd name="T4" fmla="*/ 103 w 1105"/>
                <a:gd name="T5" fmla="*/ 127 h 407"/>
                <a:gd name="T6" fmla="*/ 92 w 1105"/>
                <a:gd name="T7" fmla="*/ 110 h 407"/>
                <a:gd name="T8" fmla="*/ 91 w 1105"/>
                <a:gd name="T9" fmla="*/ 108 h 407"/>
                <a:gd name="T10" fmla="*/ 79 w 1105"/>
                <a:gd name="T11" fmla="*/ 94 h 407"/>
                <a:gd name="T12" fmla="*/ 56 w 1105"/>
                <a:gd name="T13" fmla="*/ 82 h 407"/>
                <a:gd name="T14" fmla="*/ 9 w 1105"/>
                <a:gd name="T15" fmla="*/ 66 h 407"/>
                <a:gd name="T16" fmla="*/ 4 w 1105"/>
                <a:gd name="T17" fmla="*/ 64 h 407"/>
                <a:gd name="T18" fmla="*/ 0 w 1105"/>
                <a:gd name="T19" fmla="*/ 60 h 407"/>
                <a:gd name="T20" fmla="*/ 0 w 1105"/>
                <a:gd name="T21" fmla="*/ 55 h 407"/>
                <a:gd name="T22" fmla="*/ 4 w 1105"/>
                <a:gd name="T23" fmla="*/ 51 h 407"/>
                <a:gd name="T24" fmla="*/ 56 w 1105"/>
                <a:gd name="T25" fmla="*/ 0 h 407"/>
                <a:gd name="T26" fmla="*/ 1105 w 1105"/>
                <a:gd name="T27" fmla="*/ 283 h 407"/>
                <a:gd name="T28" fmla="*/ 1048 w 1105"/>
                <a:gd name="T29" fmla="*/ 401 h 407"/>
                <a:gd name="T30" fmla="*/ 1044 w 1105"/>
                <a:gd name="T31" fmla="*/ 404 h 407"/>
                <a:gd name="T32" fmla="*/ 1040 w 1105"/>
                <a:gd name="T33" fmla="*/ 406 h 407"/>
                <a:gd name="T34" fmla="*/ 1035 w 1105"/>
                <a:gd name="T35" fmla="*/ 407 h 407"/>
                <a:gd name="T36" fmla="*/ 1030 w 1105"/>
                <a:gd name="T37" fmla="*/ 40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5" h="407">
                  <a:moveTo>
                    <a:pt x="1030" y="406"/>
                  </a:moveTo>
                  <a:lnTo>
                    <a:pt x="110" y="134"/>
                  </a:lnTo>
                  <a:lnTo>
                    <a:pt x="103" y="127"/>
                  </a:lnTo>
                  <a:lnTo>
                    <a:pt x="92" y="110"/>
                  </a:lnTo>
                  <a:lnTo>
                    <a:pt x="91" y="108"/>
                  </a:lnTo>
                  <a:lnTo>
                    <a:pt x="79" y="94"/>
                  </a:lnTo>
                  <a:lnTo>
                    <a:pt x="56" y="82"/>
                  </a:lnTo>
                  <a:lnTo>
                    <a:pt x="9" y="66"/>
                  </a:lnTo>
                  <a:lnTo>
                    <a:pt x="4" y="64"/>
                  </a:lnTo>
                  <a:lnTo>
                    <a:pt x="0" y="60"/>
                  </a:lnTo>
                  <a:lnTo>
                    <a:pt x="0" y="55"/>
                  </a:lnTo>
                  <a:lnTo>
                    <a:pt x="4" y="51"/>
                  </a:lnTo>
                  <a:lnTo>
                    <a:pt x="56" y="0"/>
                  </a:lnTo>
                  <a:lnTo>
                    <a:pt x="1105" y="283"/>
                  </a:lnTo>
                  <a:lnTo>
                    <a:pt x="1048" y="401"/>
                  </a:lnTo>
                  <a:lnTo>
                    <a:pt x="1044" y="404"/>
                  </a:lnTo>
                  <a:lnTo>
                    <a:pt x="1040" y="406"/>
                  </a:lnTo>
                  <a:lnTo>
                    <a:pt x="1035" y="407"/>
                  </a:lnTo>
                  <a:lnTo>
                    <a:pt x="1030" y="406"/>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8725" name="Freeform 1173">
              <a:extLst>
                <a:ext uri="{FF2B5EF4-FFF2-40B4-BE49-F238E27FC236}">
                  <a16:creationId xmlns:a16="http://schemas.microsoft.com/office/drawing/2014/main" id="{F8625B25-14C7-466B-835A-F9537F8CD98C}"/>
                </a:ext>
              </a:extLst>
            </p:cNvPr>
            <p:cNvSpPr>
              <a:spLocks noChangeAspect="1"/>
            </p:cNvSpPr>
            <p:nvPr/>
          </p:nvSpPr>
          <p:spPr bwMode="auto">
            <a:xfrm>
              <a:off x="6988176" y="1316991"/>
              <a:ext cx="187325" cy="92075"/>
            </a:xfrm>
            <a:custGeom>
              <a:avLst/>
              <a:gdLst>
                <a:gd name="T0" fmla="*/ 1030 w 1105"/>
                <a:gd name="T1" fmla="*/ 406 h 407"/>
                <a:gd name="T2" fmla="*/ 110 w 1105"/>
                <a:gd name="T3" fmla="*/ 134 h 407"/>
                <a:gd name="T4" fmla="*/ 103 w 1105"/>
                <a:gd name="T5" fmla="*/ 127 h 407"/>
                <a:gd name="T6" fmla="*/ 92 w 1105"/>
                <a:gd name="T7" fmla="*/ 110 h 407"/>
                <a:gd name="T8" fmla="*/ 91 w 1105"/>
                <a:gd name="T9" fmla="*/ 108 h 407"/>
                <a:gd name="T10" fmla="*/ 79 w 1105"/>
                <a:gd name="T11" fmla="*/ 94 h 407"/>
                <a:gd name="T12" fmla="*/ 56 w 1105"/>
                <a:gd name="T13" fmla="*/ 82 h 407"/>
                <a:gd name="T14" fmla="*/ 9 w 1105"/>
                <a:gd name="T15" fmla="*/ 66 h 407"/>
                <a:gd name="T16" fmla="*/ 4 w 1105"/>
                <a:gd name="T17" fmla="*/ 64 h 407"/>
                <a:gd name="T18" fmla="*/ 0 w 1105"/>
                <a:gd name="T19" fmla="*/ 60 h 407"/>
                <a:gd name="T20" fmla="*/ 0 w 1105"/>
                <a:gd name="T21" fmla="*/ 55 h 407"/>
                <a:gd name="T22" fmla="*/ 4 w 1105"/>
                <a:gd name="T23" fmla="*/ 51 h 407"/>
                <a:gd name="T24" fmla="*/ 56 w 1105"/>
                <a:gd name="T25" fmla="*/ 0 h 407"/>
                <a:gd name="T26" fmla="*/ 1105 w 1105"/>
                <a:gd name="T27" fmla="*/ 283 h 407"/>
                <a:gd name="T28" fmla="*/ 1048 w 1105"/>
                <a:gd name="T29" fmla="*/ 401 h 407"/>
                <a:gd name="T30" fmla="*/ 1044 w 1105"/>
                <a:gd name="T31" fmla="*/ 404 h 407"/>
                <a:gd name="T32" fmla="*/ 1040 w 1105"/>
                <a:gd name="T33" fmla="*/ 406 h 407"/>
                <a:gd name="T34" fmla="*/ 1035 w 1105"/>
                <a:gd name="T35" fmla="*/ 407 h 407"/>
                <a:gd name="T36" fmla="*/ 1030 w 1105"/>
                <a:gd name="T37" fmla="*/ 40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5" h="407">
                  <a:moveTo>
                    <a:pt x="1030" y="406"/>
                  </a:moveTo>
                  <a:lnTo>
                    <a:pt x="110" y="134"/>
                  </a:lnTo>
                  <a:lnTo>
                    <a:pt x="103" y="127"/>
                  </a:lnTo>
                  <a:lnTo>
                    <a:pt x="92" y="110"/>
                  </a:lnTo>
                  <a:lnTo>
                    <a:pt x="91" y="108"/>
                  </a:lnTo>
                  <a:lnTo>
                    <a:pt x="79" y="94"/>
                  </a:lnTo>
                  <a:lnTo>
                    <a:pt x="56" y="82"/>
                  </a:lnTo>
                  <a:lnTo>
                    <a:pt x="9" y="66"/>
                  </a:lnTo>
                  <a:lnTo>
                    <a:pt x="4" y="64"/>
                  </a:lnTo>
                  <a:lnTo>
                    <a:pt x="0" y="60"/>
                  </a:lnTo>
                  <a:lnTo>
                    <a:pt x="0" y="55"/>
                  </a:lnTo>
                  <a:lnTo>
                    <a:pt x="4" y="51"/>
                  </a:lnTo>
                  <a:lnTo>
                    <a:pt x="56" y="0"/>
                  </a:lnTo>
                  <a:lnTo>
                    <a:pt x="1105" y="283"/>
                  </a:lnTo>
                  <a:lnTo>
                    <a:pt x="1048" y="401"/>
                  </a:lnTo>
                  <a:lnTo>
                    <a:pt x="1044" y="404"/>
                  </a:lnTo>
                  <a:lnTo>
                    <a:pt x="1040" y="406"/>
                  </a:lnTo>
                  <a:lnTo>
                    <a:pt x="1035" y="407"/>
                  </a:lnTo>
                  <a:lnTo>
                    <a:pt x="1030" y="406"/>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26" name="Freeform 1174">
              <a:extLst>
                <a:ext uri="{FF2B5EF4-FFF2-40B4-BE49-F238E27FC236}">
                  <a16:creationId xmlns:a16="http://schemas.microsoft.com/office/drawing/2014/main" id="{A1D08927-CC37-472F-A2F3-9EAA23A34581}"/>
                </a:ext>
              </a:extLst>
            </p:cNvPr>
            <p:cNvSpPr>
              <a:spLocks noChangeAspect="1"/>
            </p:cNvSpPr>
            <p:nvPr/>
          </p:nvSpPr>
          <p:spPr bwMode="auto">
            <a:xfrm>
              <a:off x="6419850" y="3914141"/>
              <a:ext cx="800100" cy="352425"/>
            </a:xfrm>
            <a:custGeom>
              <a:avLst/>
              <a:gdLst>
                <a:gd name="T0" fmla="*/ 0 w 4748"/>
                <a:gd name="T1" fmla="*/ 1258 h 1566"/>
                <a:gd name="T2" fmla="*/ 194 w 4748"/>
                <a:gd name="T3" fmla="*/ 1159 h 1566"/>
                <a:gd name="T4" fmla="*/ 273 w 4748"/>
                <a:gd name="T5" fmla="*/ 1114 h 1566"/>
                <a:gd name="T6" fmla="*/ 547 w 4748"/>
                <a:gd name="T7" fmla="*/ 971 h 1566"/>
                <a:gd name="T8" fmla="*/ 579 w 4748"/>
                <a:gd name="T9" fmla="*/ 955 h 1566"/>
                <a:gd name="T10" fmla="*/ 820 w 4748"/>
                <a:gd name="T11" fmla="*/ 826 h 1566"/>
                <a:gd name="T12" fmla="*/ 974 w 4748"/>
                <a:gd name="T13" fmla="*/ 752 h 1566"/>
                <a:gd name="T14" fmla="*/ 1092 w 4748"/>
                <a:gd name="T15" fmla="*/ 685 h 1566"/>
                <a:gd name="T16" fmla="*/ 1366 w 4748"/>
                <a:gd name="T17" fmla="*/ 548 h 1566"/>
                <a:gd name="T18" fmla="*/ 1367 w 4748"/>
                <a:gd name="T19" fmla="*/ 548 h 1566"/>
                <a:gd name="T20" fmla="*/ 1639 w 4748"/>
                <a:gd name="T21" fmla="*/ 408 h 1566"/>
                <a:gd name="T22" fmla="*/ 1789 w 4748"/>
                <a:gd name="T23" fmla="*/ 345 h 1566"/>
                <a:gd name="T24" fmla="*/ 1912 w 4748"/>
                <a:gd name="T25" fmla="*/ 276 h 1566"/>
                <a:gd name="T26" fmla="*/ 2186 w 4748"/>
                <a:gd name="T27" fmla="*/ 156 h 1566"/>
                <a:gd name="T28" fmla="*/ 2240 w 4748"/>
                <a:gd name="T29" fmla="*/ 141 h 1566"/>
                <a:gd name="T30" fmla="*/ 2459 w 4748"/>
                <a:gd name="T31" fmla="*/ 47 h 1566"/>
                <a:gd name="T32" fmla="*/ 2733 w 4748"/>
                <a:gd name="T33" fmla="*/ 0 h 1566"/>
                <a:gd name="T34" fmla="*/ 3006 w 4748"/>
                <a:gd name="T35" fmla="*/ 69 h 1566"/>
                <a:gd name="T36" fmla="*/ 3084 w 4748"/>
                <a:gd name="T37" fmla="*/ 141 h 1566"/>
                <a:gd name="T38" fmla="*/ 3278 w 4748"/>
                <a:gd name="T39" fmla="*/ 257 h 1566"/>
                <a:gd name="T40" fmla="*/ 3364 w 4748"/>
                <a:gd name="T41" fmla="*/ 345 h 1566"/>
                <a:gd name="T42" fmla="*/ 3552 w 4748"/>
                <a:gd name="T43" fmla="*/ 488 h 1566"/>
                <a:gd name="T44" fmla="*/ 3608 w 4748"/>
                <a:gd name="T45" fmla="*/ 548 h 1566"/>
                <a:gd name="T46" fmla="*/ 3825 w 4748"/>
                <a:gd name="T47" fmla="*/ 732 h 1566"/>
                <a:gd name="T48" fmla="*/ 3843 w 4748"/>
                <a:gd name="T49" fmla="*/ 752 h 1566"/>
                <a:gd name="T50" fmla="*/ 4068 w 4748"/>
                <a:gd name="T51" fmla="*/ 955 h 1566"/>
                <a:gd name="T52" fmla="*/ 4098 w 4748"/>
                <a:gd name="T53" fmla="*/ 978 h 1566"/>
                <a:gd name="T54" fmla="*/ 4292 w 4748"/>
                <a:gd name="T55" fmla="*/ 1159 h 1566"/>
                <a:gd name="T56" fmla="*/ 4372 w 4748"/>
                <a:gd name="T57" fmla="*/ 1222 h 1566"/>
                <a:gd name="T58" fmla="*/ 4519 w 4748"/>
                <a:gd name="T59" fmla="*/ 1362 h 1566"/>
                <a:gd name="T60" fmla="*/ 4645 w 4748"/>
                <a:gd name="T61" fmla="*/ 1467 h 1566"/>
                <a:gd name="T62" fmla="*/ 4748 w 4748"/>
                <a:gd name="T63" fmla="*/ 1566 h 1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48" h="1566">
                  <a:moveTo>
                    <a:pt x="0" y="1258"/>
                  </a:moveTo>
                  <a:lnTo>
                    <a:pt x="194" y="1159"/>
                  </a:lnTo>
                  <a:lnTo>
                    <a:pt x="273" y="1114"/>
                  </a:lnTo>
                  <a:lnTo>
                    <a:pt x="547" y="971"/>
                  </a:lnTo>
                  <a:lnTo>
                    <a:pt x="579" y="955"/>
                  </a:lnTo>
                  <a:lnTo>
                    <a:pt x="820" y="826"/>
                  </a:lnTo>
                  <a:lnTo>
                    <a:pt x="974" y="752"/>
                  </a:lnTo>
                  <a:lnTo>
                    <a:pt x="1092" y="685"/>
                  </a:lnTo>
                  <a:lnTo>
                    <a:pt x="1366" y="548"/>
                  </a:lnTo>
                  <a:lnTo>
                    <a:pt x="1367" y="548"/>
                  </a:lnTo>
                  <a:lnTo>
                    <a:pt x="1639" y="408"/>
                  </a:lnTo>
                  <a:lnTo>
                    <a:pt x="1789" y="345"/>
                  </a:lnTo>
                  <a:lnTo>
                    <a:pt x="1912" y="276"/>
                  </a:lnTo>
                  <a:lnTo>
                    <a:pt x="2186" y="156"/>
                  </a:lnTo>
                  <a:lnTo>
                    <a:pt x="2240" y="141"/>
                  </a:lnTo>
                  <a:lnTo>
                    <a:pt x="2459" y="47"/>
                  </a:lnTo>
                  <a:lnTo>
                    <a:pt x="2733" y="0"/>
                  </a:lnTo>
                  <a:lnTo>
                    <a:pt x="3006" y="69"/>
                  </a:lnTo>
                  <a:lnTo>
                    <a:pt x="3084" y="141"/>
                  </a:lnTo>
                  <a:lnTo>
                    <a:pt x="3278" y="257"/>
                  </a:lnTo>
                  <a:lnTo>
                    <a:pt x="3364" y="345"/>
                  </a:lnTo>
                  <a:lnTo>
                    <a:pt x="3552" y="488"/>
                  </a:lnTo>
                  <a:lnTo>
                    <a:pt x="3608" y="548"/>
                  </a:lnTo>
                  <a:lnTo>
                    <a:pt x="3825" y="732"/>
                  </a:lnTo>
                  <a:lnTo>
                    <a:pt x="3843" y="752"/>
                  </a:lnTo>
                  <a:lnTo>
                    <a:pt x="4068" y="955"/>
                  </a:lnTo>
                  <a:lnTo>
                    <a:pt x="4098" y="978"/>
                  </a:lnTo>
                  <a:lnTo>
                    <a:pt x="4292" y="1159"/>
                  </a:lnTo>
                  <a:lnTo>
                    <a:pt x="4372" y="1222"/>
                  </a:lnTo>
                  <a:lnTo>
                    <a:pt x="4519" y="1362"/>
                  </a:lnTo>
                  <a:lnTo>
                    <a:pt x="4645" y="1467"/>
                  </a:lnTo>
                  <a:lnTo>
                    <a:pt x="4748" y="1566"/>
                  </a:lnTo>
                </a:path>
              </a:pathLst>
            </a:custGeom>
            <a:noFill/>
            <a:ln w="7938">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27" name="Freeform 1175">
              <a:extLst>
                <a:ext uri="{FF2B5EF4-FFF2-40B4-BE49-F238E27FC236}">
                  <a16:creationId xmlns:a16="http://schemas.microsoft.com/office/drawing/2014/main" id="{B3EE4205-5611-4E56-AAE6-C5D3DD7D75A9}"/>
                </a:ext>
              </a:extLst>
            </p:cNvPr>
            <p:cNvSpPr>
              <a:spLocks noChangeAspect="1"/>
            </p:cNvSpPr>
            <p:nvPr/>
          </p:nvSpPr>
          <p:spPr bwMode="auto">
            <a:xfrm>
              <a:off x="7192964" y="2598103"/>
              <a:ext cx="52387" cy="61912"/>
            </a:xfrm>
            <a:custGeom>
              <a:avLst/>
              <a:gdLst>
                <a:gd name="T0" fmla="*/ 0 w 307"/>
                <a:gd name="T1" fmla="*/ 140 h 279"/>
                <a:gd name="T2" fmla="*/ 307 w 307"/>
                <a:gd name="T3" fmla="*/ 140 h 279"/>
                <a:gd name="T4" fmla="*/ 153 w 307"/>
                <a:gd name="T5" fmla="*/ 140 h 279"/>
                <a:gd name="T6" fmla="*/ 153 w 307"/>
                <a:gd name="T7" fmla="*/ 0 h 279"/>
                <a:gd name="T8" fmla="*/ 153 w 307"/>
                <a:gd name="T9" fmla="*/ 279 h 279"/>
              </a:gdLst>
              <a:ahLst/>
              <a:cxnLst>
                <a:cxn ang="0">
                  <a:pos x="T0" y="T1"/>
                </a:cxn>
                <a:cxn ang="0">
                  <a:pos x="T2" y="T3"/>
                </a:cxn>
                <a:cxn ang="0">
                  <a:pos x="T4" y="T5"/>
                </a:cxn>
                <a:cxn ang="0">
                  <a:pos x="T6" y="T7"/>
                </a:cxn>
                <a:cxn ang="0">
                  <a:pos x="T8" y="T9"/>
                </a:cxn>
              </a:cxnLst>
              <a:rect l="0" t="0" r="r" b="b"/>
              <a:pathLst>
                <a:path w="307" h="279">
                  <a:moveTo>
                    <a:pt x="0" y="140"/>
                  </a:moveTo>
                  <a:lnTo>
                    <a:pt x="307" y="140"/>
                  </a:lnTo>
                  <a:lnTo>
                    <a:pt x="153" y="140"/>
                  </a:lnTo>
                  <a:lnTo>
                    <a:pt x="153" y="0"/>
                  </a:lnTo>
                  <a:lnTo>
                    <a:pt x="153" y="279"/>
                  </a:lnTo>
                </a:path>
              </a:pathLst>
            </a:custGeom>
            <a:noFill/>
            <a:ln w="3175">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28" name="Freeform 1176">
              <a:extLst>
                <a:ext uri="{FF2B5EF4-FFF2-40B4-BE49-F238E27FC236}">
                  <a16:creationId xmlns:a16="http://schemas.microsoft.com/office/drawing/2014/main" id="{F0B76FE7-2818-4A3E-B00E-6E4227197CD0}"/>
                </a:ext>
              </a:extLst>
            </p:cNvPr>
            <p:cNvSpPr>
              <a:spLocks noChangeAspect="1"/>
            </p:cNvSpPr>
            <p:nvPr/>
          </p:nvSpPr>
          <p:spPr bwMode="auto">
            <a:xfrm>
              <a:off x="7192964" y="2598103"/>
              <a:ext cx="52387" cy="61912"/>
            </a:xfrm>
            <a:custGeom>
              <a:avLst/>
              <a:gdLst>
                <a:gd name="T0" fmla="*/ 0 w 307"/>
                <a:gd name="T1" fmla="*/ 140 h 279"/>
                <a:gd name="T2" fmla="*/ 307 w 307"/>
                <a:gd name="T3" fmla="*/ 140 h 279"/>
                <a:gd name="T4" fmla="*/ 153 w 307"/>
                <a:gd name="T5" fmla="*/ 140 h 279"/>
                <a:gd name="T6" fmla="*/ 153 w 307"/>
                <a:gd name="T7" fmla="*/ 0 h 279"/>
                <a:gd name="T8" fmla="*/ 153 w 307"/>
                <a:gd name="T9" fmla="*/ 279 h 279"/>
              </a:gdLst>
              <a:ahLst/>
              <a:cxnLst>
                <a:cxn ang="0">
                  <a:pos x="T0" y="T1"/>
                </a:cxn>
                <a:cxn ang="0">
                  <a:pos x="T2" y="T3"/>
                </a:cxn>
                <a:cxn ang="0">
                  <a:pos x="T4" y="T5"/>
                </a:cxn>
                <a:cxn ang="0">
                  <a:pos x="T6" y="T7"/>
                </a:cxn>
                <a:cxn ang="0">
                  <a:pos x="T8" y="T9"/>
                </a:cxn>
              </a:cxnLst>
              <a:rect l="0" t="0" r="r" b="b"/>
              <a:pathLst>
                <a:path w="307" h="279">
                  <a:moveTo>
                    <a:pt x="0" y="140"/>
                  </a:moveTo>
                  <a:lnTo>
                    <a:pt x="307" y="140"/>
                  </a:lnTo>
                  <a:lnTo>
                    <a:pt x="153" y="140"/>
                  </a:lnTo>
                  <a:lnTo>
                    <a:pt x="153" y="0"/>
                  </a:lnTo>
                  <a:lnTo>
                    <a:pt x="153" y="279"/>
                  </a:lnTo>
                </a:path>
              </a:pathLst>
            </a:custGeom>
            <a:noFill/>
            <a:ln w="3175">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29" name="Freeform 1177">
              <a:extLst>
                <a:ext uri="{FF2B5EF4-FFF2-40B4-BE49-F238E27FC236}">
                  <a16:creationId xmlns:a16="http://schemas.microsoft.com/office/drawing/2014/main" id="{9E9CD56A-5A4C-442B-8C52-67400B05F3CF}"/>
                </a:ext>
              </a:extLst>
            </p:cNvPr>
            <p:cNvSpPr>
              <a:spLocks noChangeAspect="1"/>
            </p:cNvSpPr>
            <p:nvPr/>
          </p:nvSpPr>
          <p:spPr bwMode="auto">
            <a:xfrm>
              <a:off x="6654800" y="4242753"/>
              <a:ext cx="298450" cy="23812"/>
            </a:xfrm>
            <a:custGeom>
              <a:avLst/>
              <a:gdLst>
                <a:gd name="T0" fmla="*/ 0 w 1765"/>
                <a:gd name="T1" fmla="*/ 108 h 108"/>
                <a:gd name="T2" fmla="*/ 245 w 1765"/>
                <a:gd name="T3" fmla="*/ 59 h 108"/>
                <a:gd name="T4" fmla="*/ 518 w 1765"/>
                <a:gd name="T5" fmla="*/ 20 h 108"/>
                <a:gd name="T6" fmla="*/ 792 w 1765"/>
                <a:gd name="T7" fmla="*/ 0 h 108"/>
                <a:gd name="T8" fmla="*/ 1065 w 1765"/>
                <a:gd name="T9" fmla="*/ 0 h 108"/>
                <a:gd name="T10" fmla="*/ 1339 w 1765"/>
                <a:gd name="T11" fmla="*/ 21 h 108"/>
                <a:gd name="T12" fmla="*/ 1612 w 1765"/>
                <a:gd name="T13" fmla="*/ 67 h 108"/>
                <a:gd name="T14" fmla="*/ 1765 w 1765"/>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65" h="108">
                  <a:moveTo>
                    <a:pt x="0" y="108"/>
                  </a:moveTo>
                  <a:lnTo>
                    <a:pt x="245" y="59"/>
                  </a:lnTo>
                  <a:lnTo>
                    <a:pt x="518" y="20"/>
                  </a:lnTo>
                  <a:lnTo>
                    <a:pt x="792" y="0"/>
                  </a:lnTo>
                  <a:lnTo>
                    <a:pt x="1065" y="0"/>
                  </a:lnTo>
                  <a:lnTo>
                    <a:pt x="1339" y="21"/>
                  </a:lnTo>
                  <a:lnTo>
                    <a:pt x="1612" y="67"/>
                  </a:lnTo>
                  <a:lnTo>
                    <a:pt x="1765" y="108"/>
                  </a:lnTo>
                </a:path>
              </a:pathLst>
            </a:custGeom>
            <a:noFill/>
            <a:ln w="3175">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30" name="Freeform 1178">
              <a:extLst>
                <a:ext uri="{FF2B5EF4-FFF2-40B4-BE49-F238E27FC236}">
                  <a16:creationId xmlns:a16="http://schemas.microsoft.com/office/drawing/2014/main" id="{92CA02FE-A089-471D-99C3-7EE08382352F}"/>
                </a:ext>
              </a:extLst>
            </p:cNvPr>
            <p:cNvSpPr>
              <a:spLocks noChangeAspect="1"/>
            </p:cNvSpPr>
            <p:nvPr/>
          </p:nvSpPr>
          <p:spPr bwMode="auto">
            <a:xfrm>
              <a:off x="6550025" y="1883728"/>
              <a:ext cx="1212850" cy="1631950"/>
            </a:xfrm>
            <a:custGeom>
              <a:avLst/>
              <a:gdLst>
                <a:gd name="T0" fmla="*/ 2163 w 7191"/>
                <a:gd name="T1" fmla="*/ 7129 h 7250"/>
                <a:gd name="T2" fmla="*/ 1726 w 7191"/>
                <a:gd name="T3" fmla="*/ 6925 h 7250"/>
                <a:gd name="T4" fmla="*/ 1431 w 7191"/>
                <a:gd name="T5" fmla="*/ 6721 h 7250"/>
                <a:gd name="T6" fmla="*/ 1200 w 7191"/>
                <a:gd name="T7" fmla="*/ 6518 h 7250"/>
                <a:gd name="T8" fmla="*/ 1005 w 7191"/>
                <a:gd name="T9" fmla="*/ 6314 h 7250"/>
                <a:gd name="T10" fmla="*/ 837 w 7191"/>
                <a:gd name="T11" fmla="*/ 6111 h 7250"/>
                <a:gd name="T12" fmla="*/ 598 w 7191"/>
                <a:gd name="T13" fmla="*/ 5759 h 7250"/>
                <a:gd name="T14" fmla="*/ 451 w 7191"/>
                <a:gd name="T15" fmla="*/ 5500 h 7250"/>
                <a:gd name="T16" fmla="*/ 324 w 7191"/>
                <a:gd name="T17" fmla="*/ 5223 h 7250"/>
                <a:gd name="T18" fmla="*/ 197 w 7191"/>
                <a:gd name="T19" fmla="*/ 4889 h 7250"/>
                <a:gd name="T20" fmla="*/ 89 w 7191"/>
                <a:gd name="T21" fmla="*/ 4482 h 7250"/>
                <a:gd name="T22" fmla="*/ 52 w 7191"/>
                <a:gd name="T23" fmla="*/ 4271 h 7250"/>
                <a:gd name="T24" fmla="*/ 7 w 7191"/>
                <a:gd name="T25" fmla="*/ 3873 h 7250"/>
                <a:gd name="T26" fmla="*/ 6 w 7191"/>
                <a:gd name="T27" fmla="*/ 3466 h 7250"/>
                <a:gd name="T28" fmla="*/ 51 w 7191"/>
                <a:gd name="T29" fmla="*/ 3058 h 7250"/>
                <a:gd name="T30" fmla="*/ 88 w 7191"/>
                <a:gd name="T31" fmla="*/ 2855 h 7250"/>
                <a:gd name="T32" fmla="*/ 200 w 7191"/>
                <a:gd name="T33" fmla="*/ 2448 h 7250"/>
                <a:gd name="T34" fmla="*/ 324 w 7191"/>
                <a:gd name="T35" fmla="*/ 2140 h 7250"/>
                <a:gd name="T36" fmla="*/ 474 w 7191"/>
                <a:gd name="T37" fmla="*/ 1837 h 7250"/>
                <a:gd name="T38" fmla="*/ 599 w 7191"/>
                <a:gd name="T39" fmla="*/ 1634 h 7250"/>
                <a:gd name="T40" fmla="*/ 871 w 7191"/>
                <a:gd name="T41" fmla="*/ 1267 h 7250"/>
                <a:gd name="T42" fmla="*/ 1097 w 7191"/>
                <a:gd name="T43" fmla="*/ 1023 h 7250"/>
                <a:gd name="T44" fmla="*/ 1322 w 7191"/>
                <a:gd name="T45" fmla="*/ 819 h 7250"/>
                <a:gd name="T46" fmla="*/ 1592 w 7191"/>
                <a:gd name="T47" fmla="*/ 616 h 7250"/>
                <a:gd name="T48" fmla="*/ 1930 w 7191"/>
                <a:gd name="T49" fmla="*/ 412 h 7250"/>
                <a:gd name="T50" fmla="*/ 2238 w 7191"/>
                <a:gd name="T51" fmla="*/ 266 h 7250"/>
                <a:gd name="T52" fmla="*/ 2510 w 7191"/>
                <a:gd name="T53" fmla="*/ 167 h 7250"/>
                <a:gd name="T54" fmla="*/ 3057 w 7191"/>
                <a:gd name="T55" fmla="*/ 39 h 7250"/>
                <a:gd name="T56" fmla="*/ 3443 w 7191"/>
                <a:gd name="T57" fmla="*/ 6 h 7250"/>
                <a:gd name="T58" fmla="*/ 3737 w 7191"/>
                <a:gd name="T59" fmla="*/ 6 h 7250"/>
                <a:gd name="T60" fmla="*/ 4151 w 7191"/>
                <a:gd name="T61" fmla="*/ 42 h 7250"/>
                <a:gd name="T62" fmla="*/ 4696 w 7191"/>
                <a:gd name="T63" fmla="*/ 170 h 7250"/>
                <a:gd name="T64" fmla="*/ 4970 w 7191"/>
                <a:gd name="T65" fmla="*/ 268 h 7250"/>
                <a:gd name="T66" fmla="*/ 5284 w 7191"/>
                <a:gd name="T67" fmla="*/ 412 h 7250"/>
                <a:gd name="T68" fmla="*/ 5641 w 7191"/>
                <a:gd name="T69" fmla="*/ 616 h 7250"/>
                <a:gd name="T70" fmla="*/ 5936 w 7191"/>
                <a:gd name="T71" fmla="*/ 819 h 7250"/>
                <a:gd name="T72" fmla="*/ 6188 w 7191"/>
                <a:gd name="T73" fmla="*/ 1023 h 7250"/>
                <a:gd name="T74" fmla="*/ 6404 w 7191"/>
                <a:gd name="T75" fmla="*/ 1226 h 7250"/>
                <a:gd name="T76" fmla="*/ 6609 w 7191"/>
                <a:gd name="T77" fmla="*/ 1459 h 7250"/>
                <a:gd name="T78" fmla="*/ 6868 w 7191"/>
                <a:gd name="T79" fmla="*/ 1837 h 7250"/>
                <a:gd name="T80" fmla="*/ 6971 w 7191"/>
                <a:gd name="T81" fmla="*/ 2041 h 7250"/>
                <a:gd name="T82" fmla="*/ 7112 w 7191"/>
                <a:gd name="T83" fmla="*/ 2448 h 7250"/>
                <a:gd name="T84" fmla="*/ 7156 w 7191"/>
                <a:gd name="T85" fmla="*/ 2661 h 7250"/>
                <a:gd name="T86" fmla="*/ 7191 w 7191"/>
                <a:gd name="T87" fmla="*/ 3058 h 7250"/>
                <a:gd name="T88" fmla="*/ 7162 w 7191"/>
                <a:gd name="T89" fmla="*/ 3466 h 7250"/>
                <a:gd name="T90" fmla="*/ 7126 w 7191"/>
                <a:gd name="T91" fmla="*/ 3669 h 7250"/>
                <a:gd name="T92" fmla="*/ 7011 w 7191"/>
                <a:gd name="T93" fmla="*/ 4076 h 7250"/>
                <a:gd name="T94" fmla="*/ 6882 w 7191"/>
                <a:gd name="T95" fmla="*/ 4383 h 7250"/>
                <a:gd name="T96" fmla="*/ 6725 w 7191"/>
                <a:gd name="T97" fmla="*/ 4686 h 7250"/>
                <a:gd name="T98" fmla="*/ 6600 w 7191"/>
                <a:gd name="T99" fmla="*/ 4889 h 7250"/>
                <a:gd name="T100" fmla="*/ 6337 w 7191"/>
                <a:gd name="T101" fmla="*/ 5256 h 7250"/>
                <a:gd name="T102" fmla="*/ 6130 w 7191"/>
                <a:gd name="T103" fmla="*/ 5500 h 7250"/>
                <a:gd name="T104" fmla="*/ 5938 w 7191"/>
                <a:gd name="T105" fmla="*/ 5704 h 7250"/>
                <a:gd name="T106" fmla="*/ 5731 w 7191"/>
                <a:gd name="T107" fmla="*/ 5907 h 7250"/>
                <a:gd name="T108" fmla="*/ 5504 w 7191"/>
                <a:gd name="T109" fmla="*/ 6111 h 7250"/>
                <a:gd name="T110" fmla="*/ 5243 w 7191"/>
                <a:gd name="T111" fmla="*/ 6320 h 7250"/>
                <a:gd name="T112" fmla="*/ 4963 w 7191"/>
                <a:gd name="T113" fmla="*/ 6518 h 7250"/>
                <a:gd name="T114" fmla="*/ 4625 w 7191"/>
                <a:gd name="T115" fmla="*/ 6721 h 7250"/>
                <a:gd name="T116" fmla="*/ 4218 w 7191"/>
                <a:gd name="T117" fmla="*/ 6925 h 7250"/>
                <a:gd name="T118" fmla="*/ 3877 w 7191"/>
                <a:gd name="T119" fmla="*/ 7065 h 7250"/>
                <a:gd name="T120" fmla="*/ 3604 w 7191"/>
                <a:gd name="T121" fmla="*/ 7148 h 7250"/>
                <a:gd name="T122" fmla="*/ 3057 w 7191"/>
                <a:gd name="T123" fmla="*/ 7246 h 7250"/>
                <a:gd name="T124" fmla="*/ 2510 w 7191"/>
                <a:gd name="T125" fmla="*/ 7223 h 7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191" h="7250">
                  <a:moveTo>
                    <a:pt x="2238" y="7157"/>
                  </a:moveTo>
                  <a:lnTo>
                    <a:pt x="2163" y="7129"/>
                  </a:lnTo>
                  <a:lnTo>
                    <a:pt x="1965" y="7055"/>
                  </a:lnTo>
                  <a:lnTo>
                    <a:pt x="1726" y="6925"/>
                  </a:lnTo>
                  <a:lnTo>
                    <a:pt x="1691" y="6906"/>
                  </a:lnTo>
                  <a:lnTo>
                    <a:pt x="1431" y="6721"/>
                  </a:lnTo>
                  <a:lnTo>
                    <a:pt x="1418" y="6711"/>
                  </a:lnTo>
                  <a:lnTo>
                    <a:pt x="1200" y="6518"/>
                  </a:lnTo>
                  <a:lnTo>
                    <a:pt x="1144" y="6466"/>
                  </a:lnTo>
                  <a:lnTo>
                    <a:pt x="1005" y="6314"/>
                  </a:lnTo>
                  <a:lnTo>
                    <a:pt x="871" y="6155"/>
                  </a:lnTo>
                  <a:lnTo>
                    <a:pt x="837" y="6111"/>
                  </a:lnTo>
                  <a:lnTo>
                    <a:pt x="692" y="5907"/>
                  </a:lnTo>
                  <a:lnTo>
                    <a:pt x="598" y="5759"/>
                  </a:lnTo>
                  <a:lnTo>
                    <a:pt x="565" y="5704"/>
                  </a:lnTo>
                  <a:lnTo>
                    <a:pt x="451" y="5500"/>
                  </a:lnTo>
                  <a:lnTo>
                    <a:pt x="356" y="5297"/>
                  </a:lnTo>
                  <a:lnTo>
                    <a:pt x="324" y="5223"/>
                  </a:lnTo>
                  <a:lnTo>
                    <a:pt x="270" y="5093"/>
                  </a:lnTo>
                  <a:lnTo>
                    <a:pt x="197" y="4889"/>
                  </a:lnTo>
                  <a:lnTo>
                    <a:pt x="137" y="4686"/>
                  </a:lnTo>
                  <a:lnTo>
                    <a:pt x="89" y="4482"/>
                  </a:lnTo>
                  <a:lnTo>
                    <a:pt x="53" y="4279"/>
                  </a:lnTo>
                  <a:lnTo>
                    <a:pt x="52" y="4271"/>
                  </a:lnTo>
                  <a:lnTo>
                    <a:pt x="24" y="4076"/>
                  </a:lnTo>
                  <a:lnTo>
                    <a:pt x="7" y="3873"/>
                  </a:lnTo>
                  <a:lnTo>
                    <a:pt x="0" y="3669"/>
                  </a:lnTo>
                  <a:lnTo>
                    <a:pt x="6" y="3466"/>
                  </a:lnTo>
                  <a:lnTo>
                    <a:pt x="23" y="3262"/>
                  </a:lnTo>
                  <a:lnTo>
                    <a:pt x="51" y="3058"/>
                  </a:lnTo>
                  <a:lnTo>
                    <a:pt x="52" y="3055"/>
                  </a:lnTo>
                  <a:lnTo>
                    <a:pt x="88" y="2855"/>
                  </a:lnTo>
                  <a:lnTo>
                    <a:pt x="137" y="2651"/>
                  </a:lnTo>
                  <a:lnTo>
                    <a:pt x="200" y="2448"/>
                  </a:lnTo>
                  <a:lnTo>
                    <a:pt x="278" y="2244"/>
                  </a:lnTo>
                  <a:lnTo>
                    <a:pt x="324" y="2140"/>
                  </a:lnTo>
                  <a:lnTo>
                    <a:pt x="369" y="2041"/>
                  </a:lnTo>
                  <a:lnTo>
                    <a:pt x="474" y="1837"/>
                  </a:lnTo>
                  <a:lnTo>
                    <a:pt x="598" y="1636"/>
                  </a:lnTo>
                  <a:lnTo>
                    <a:pt x="599" y="1634"/>
                  </a:lnTo>
                  <a:lnTo>
                    <a:pt x="741" y="1430"/>
                  </a:lnTo>
                  <a:lnTo>
                    <a:pt x="871" y="1267"/>
                  </a:lnTo>
                  <a:lnTo>
                    <a:pt x="906" y="1226"/>
                  </a:lnTo>
                  <a:lnTo>
                    <a:pt x="1097" y="1023"/>
                  </a:lnTo>
                  <a:lnTo>
                    <a:pt x="1144" y="977"/>
                  </a:lnTo>
                  <a:lnTo>
                    <a:pt x="1322" y="819"/>
                  </a:lnTo>
                  <a:lnTo>
                    <a:pt x="1418" y="742"/>
                  </a:lnTo>
                  <a:lnTo>
                    <a:pt x="1592" y="616"/>
                  </a:lnTo>
                  <a:lnTo>
                    <a:pt x="1691" y="549"/>
                  </a:lnTo>
                  <a:lnTo>
                    <a:pt x="1930" y="412"/>
                  </a:lnTo>
                  <a:lnTo>
                    <a:pt x="1965" y="394"/>
                  </a:lnTo>
                  <a:lnTo>
                    <a:pt x="2238" y="266"/>
                  </a:lnTo>
                  <a:lnTo>
                    <a:pt x="2392" y="210"/>
                  </a:lnTo>
                  <a:lnTo>
                    <a:pt x="2510" y="167"/>
                  </a:lnTo>
                  <a:lnTo>
                    <a:pt x="2784" y="90"/>
                  </a:lnTo>
                  <a:lnTo>
                    <a:pt x="3057" y="39"/>
                  </a:lnTo>
                  <a:lnTo>
                    <a:pt x="3330" y="9"/>
                  </a:lnTo>
                  <a:lnTo>
                    <a:pt x="3443" y="6"/>
                  </a:lnTo>
                  <a:lnTo>
                    <a:pt x="3604" y="0"/>
                  </a:lnTo>
                  <a:lnTo>
                    <a:pt x="3737" y="6"/>
                  </a:lnTo>
                  <a:lnTo>
                    <a:pt x="3877" y="11"/>
                  </a:lnTo>
                  <a:lnTo>
                    <a:pt x="4151" y="42"/>
                  </a:lnTo>
                  <a:lnTo>
                    <a:pt x="4424" y="94"/>
                  </a:lnTo>
                  <a:lnTo>
                    <a:pt x="4696" y="170"/>
                  </a:lnTo>
                  <a:lnTo>
                    <a:pt x="4800" y="210"/>
                  </a:lnTo>
                  <a:lnTo>
                    <a:pt x="4970" y="268"/>
                  </a:lnTo>
                  <a:lnTo>
                    <a:pt x="5243" y="391"/>
                  </a:lnTo>
                  <a:lnTo>
                    <a:pt x="5284" y="412"/>
                  </a:lnTo>
                  <a:lnTo>
                    <a:pt x="5516" y="536"/>
                  </a:lnTo>
                  <a:lnTo>
                    <a:pt x="5641" y="616"/>
                  </a:lnTo>
                  <a:lnTo>
                    <a:pt x="5790" y="711"/>
                  </a:lnTo>
                  <a:lnTo>
                    <a:pt x="5936" y="819"/>
                  </a:lnTo>
                  <a:lnTo>
                    <a:pt x="6063" y="917"/>
                  </a:lnTo>
                  <a:lnTo>
                    <a:pt x="6188" y="1023"/>
                  </a:lnTo>
                  <a:lnTo>
                    <a:pt x="6337" y="1159"/>
                  </a:lnTo>
                  <a:lnTo>
                    <a:pt x="6404" y="1226"/>
                  </a:lnTo>
                  <a:lnTo>
                    <a:pt x="6586" y="1430"/>
                  </a:lnTo>
                  <a:lnTo>
                    <a:pt x="6609" y="1459"/>
                  </a:lnTo>
                  <a:lnTo>
                    <a:pt x="6742" y="1634"/>
                  </a:lnTo>
                  <a:lnTo>
                    <a:pt x="6868" y="1837"/>
                  </a:lnTo>
                  <a:lnTo>
                    <a:pt x="6882" y="1866"/>
                  </a:lnTo>
                  <a:lnTo>
                    <a:pt x="6971" y="2041"/>
                  </a:lnTo>
                  <a:lnTo>
                    <a:pt x="7052" y="2244"/>
                  </a:lnTo>
                  <a:lnTo>
                    <a:pt x="7112" y="2448"/>
                  </a:lnTo>
                  <a:lnTo>
                    <a:pt x="7155" y="2651"/>
                  </a:lnTo>
                  <a:lnTo>
                    <a:pt x="7156" y="2661"/>
                  </a:lnTo>
                  <a:lnTo>
                    <a:pt x="7180" y="2855"/>
                  </a:lnTo>
                  <a:lnTo>
                    <a:pt x="7191" y="3058"/>
                  </a:lnTo>
                  <a:lnTo>
                    <a:pt x="7184" y="3262"/>
                  </a:lnTo>
                  <a:lnTo>
                    <a:pt x="7162" y="3466"/>
                  </a:lnTo>
                  <a:lnTo>
                    <a:pt x="7156" y="3501"/>
                  </a:lnTo>
                  <a:lnTo>
                    <a:pt x="7126" y="3669"/>
                  </a:lnTo>
                  <a:lnTo>
                    <a:pt x="7076" y="3873"/>
                  </a:lnTo>
                  <a:lnTo>
                    <a:pt x="7011" y="4076"/>
                  </a:lnTo>
                  <a:lnTo>
                    <a:pt x="6931" y="4279"/>
                  </a:lnTo>
                  <a:lnTo>
                    <a:pt x="6882" y="4383"/>
                  </a:lnTo>
                  <a:lnTo>
                    <a:pt x="6835" y="4482"/>
                  </a:lnTo>
                  <a:lnTo>
                    <a:pt x="6725" y="4686"/>
                  </a:lnTo>
                  <a:lnTo>
                    <a:pt x="6609" y="4875"/>
                  </a:lnTo>
                  <a:lnTo>
                    <a:pt x="6600" y="4889"/>
                  </a:lnTo>
                  <a:lnTo>
                    <a:pt x="6459" y="5093"/>
                  </a:lnTo>
                  <a:lnTo>
                    <a:pt x="6337" y="5256"/>
                  </a:lnTo>
                  <a:lnTo>
                    <a:pt x="6302" y="5297"/>
                  </a:lnTo>
                  <a:lnTo>
                    <a:pt x="6130" y="5500"/>
                  </a:lnTo>
                  <a:lnTo>
                    <a:pt x="6063" y="5577"/>
                  </a:lnTo>
                  <a:lnTo>
                    <a:pt x="5938" y="5704"/>
                  </a:lnTo>
                  <a:lnTo>
                    <a:pt x="5790" y="5855"/>
                  </a:lnTo>
                  <a:lnTo>
                    <a:pt x="5731" y="5907"/>
                  </a:lnTo>
                  <a:lnTo>
                    <a:pt x="5516" y="6102"/>
                  </a:lnTo>
                  <a:lnTo>
                    <a:pt x="5504" y="6111"/>
                  </a:lnTo>
                  <a:lnTo>
                    <a:pt x="5251" y="6314"/>
                  </a:lnTo>
                  <a:lnTo>
                    <a:pt x="5243" y="6320"/>
                  </a:lnTo>
                  <a:lnTo>
                    <a:pt x="4970" y="6514"/>
                  </a:lnTo>
                  <a:lnTo>
                    <a:pt x="4963" y="6518"/>
                  </a:lnTo>
                  <a:lnTo>
                    <a:pt x="4696" y="6685"/>
                  </a:lnTo>
                  <a:lnTo>
                    <a:pt x="4625" y="6721"/>
                  </a:lnTo>
                  <a:lnTo>
                    <a:pt x="4424" y="6833"/>
                  </a:lnTo>
                  <a:lnTo>
                    <a:pt x="4218" y="6925"/>
                  </a:lnTo>
                  <a:lnTo>
                    <a:pt x="4151" y="6959"/>
                  </a:lnTo>
                  <a:lnTo>
                    <a:pt x="3877" y="7065"/>
                  </a:lnTo>
                  <a:lnTo>
                    <a:pt x="3661" y="7129"/>
                  </a:lnTo>
                  <a:lnTo>
                    <a:pt x="3604" y="7148"/>
                  </a:lnTo>
                  <a:lnTo>
                    <a:pt x="3330" y="7210"/>
                  </a:lnTo>
                  <a:lnTo>
                    <a:pt x="3057" y="7246"/>
                  </a:lnTo>
                  <a:lnTo>
                    <a:pt x="2784" y="7250"/>
                  </a:lnTo>
                  <a:lnTo>
                    <a:pt x="2510" y="7223"/>
                  </a:lnTo>
                  <a:lnTo>
                    <a:pt x="2238" y="7157"/>
                  </a:lnTo>
                </a:path>
              </a:pathLst>
            </a:custGeom>
            <a:noFill/>
            <a:ln w="12700" cmpd="sng">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31" name="Freeform 1179">
              <a:extLst>
                <a:ext uri="{FF2B5EF4-FFF2-40B4-BE49-F238E27FC236}">
                  <a16:creationId xmlns:a16="http://schemas.microsoft.com/office/drawing/2014/main" id="{3F69CE4B-B8CF-4466-BDAD-71FDDF645D4B}"/>
                </a:ext>
              </a:extLst>
            </p:cNvPr>
            <p:cNvSpPr>
              <a:spLocks noChangeAspect="1"/>
            </p:cNvSpPr>
            <p:nvPr/>
          </p:nvSpPr>
          <p:spPr bwMode="auto">
            <a:xfrm>
              <a:off x="6680200" y="2034541"/>
              <a:ext cx="998538" cy="1273175"/>
            </a:xfrm>
            <a:custGeom>
              <a:avLst/>
              <a:gdLst>
                <a:gd name="T0" fmla="*/ 2201 w 5907"/>
                <a:gd name="T1" fmla="*/ 5643 h 5657"/>
                <a:gd name="T2" fmla="*/ 1732 w 5907"/>
                <a:gd name="T3" fmla="*/ 5548 h 5657"/>
                <a:gd name="T4" fmla="*/ 1460 w 5907"/>
                <a:gd name="T5" fmla="*/ 5436 h 5657"/>
                <a:gd name="T6" fmla="*/ 1126 w 5907"/>
                <a:gd name="T7" fmla="*/ 5236 h 5657"/>
                <a:gd name="T8" fmla="*/ 875 w 5907"/>
                <a:gd name="T9" fmla="*/ 5033 h 5657"/>
                <a:gd name="T10" fmla="*/ 640 w 5907"/>
                <a:gd name="T11" fmla="*/ 4784 h 5657"/>
                <a:gd name="T12" fmla="*/ 384 w 5907"/>
                <a:gd name="T13" fmla="*/ 4422 h 5657"/>
                <a:gd name="T14" fmla="*/ 273 w 5907"/>
                <a:gd name="T15" fmla="*/ 4218 h 5657"/>
                <a:gd name="T16" fmla="*/ 116 w 5907"/>
                <a:gd name="T17" fmla="*/ 3811 h 5657"/>
                <a:gd name="T18" fmla="*/ 63 w 5907"/>
                <a:gd name="T19" fmla="*/ 3608 h 5657"/>
                <a:gd name="T20" fmla="*/ 5 w 5907"/>
                <a:gd name="T21" fmla="*/ 3202 h 5657"/>
                <a:gd name="T22" fmla="*/ 11 w 5907"/>
                <a:gd name="T23" fmla="*/ 2795 h 5657"/>
                <a:gd name="T24" fmla="*/ 78 w 5907"/>
                <a:gd name="T25" fmla="*/ 2387 h 5657"/>
                <a:gd name="T26" fmla="*/ 135 w 5907"/>
                <a:gd name="T27" fmla="*/ 2184 h 5657"/>
                <a:gd name="T28" fmla="*/ 299 w 5907"/>
                <a:gd name="T29" fmla="*/ 1777 h 5657"/>
                <a:gd name="T30" fmla="*/ 410 w 5907"/>
                <a:gd name="T31" fmla="*/ 1573 h 5657"/>
                <a:gd name="T32" fmla="*/ 640 w 5907"/>
                <a:gd name="T33" fmla="*/ 1238 h 5657"/>
                <a:gd name="T34" fmla="*/ 877 w 5907"/>
                <a:gd name="T35" fmla="*/ 963 h 5657"/>
                <a:gd name="T36" fmla="*/ 1092 w 5907"/>
                <a:gd name="T37" fmla="*/ 759 h 5657"/>
                <a:gd name="T38" fmla="*/ 1354 w 5907"/>
                <a:gd name="T39" fmla="*/ 555 h 5657"/>
                <a:gd name="T40" fmla="*/ 1686 w 5907"/>
                <a:gd name="T41" fmla="*/ 352 h 5657"/>
                <a:gd name="T42" fmla="*/ 2006 w 5907"/>
                <a:gd name="T43" fmla="*/ 203 h 5657"/>
                <a:gd name="T44" fmla="*/ 2279 w 5907"/>
                <a:gd name="T45" fmla="*/ 109 h 5657"/>
                <a:gd name="T46" fmla="*/ 2826 w 5907"/>
                <a:gd name="T47" fmla="*/ 10 h 5657"/>
                <a:gd name="T48" fmla="*/ 3373 w 5907"/>
                <a:gd name="T49" fmla="*/ 16 h 5657"/>
                <a:gd name="T50" fmla="*/ 3918 w 5907"/>
                <a:gd name="T51" fmla="*/ 128 h 5657"/>
                <a:gd name="T52" fmla="*/ 4192 w 5907"/>
                <a:gd name="T53" fmla="*/ 223 h 5657"/>
                <a:gd name="T54" fmla="*/ 4468 w 5907"/>
                <a:gd name="T55" fmla="*/ 352 h 5657"/>
                <a:gd name="T56" fmla="*/ 4809 w 5907"/>
                <a:gd name="T57" fmla="*/ 555 h 5657"/>
                <a:gd name="T58" fmla="*/ 5076 w 5907"/>
                <a:gd name="T59" fmla="*/ 759 h 5657"/>
                <a:gd name="T60" fmla="*/ 5292 w 5907"/>
                <a:gd name="T61" fmla="*/ 963 h 5657"/>
                <a:gd name="T62" fmla="*/ 5559 w 5907"/>
                <a:gd name="T63" fmla="*/ 1297 h 5657"/>
                <a:gd name="T64" fmla="*/ 5715 w 5907"/>
                <a:gd name="T65" fmla="*/ 1573 h 5657"/>
                <a:gd name="T66" fmla="*/ 5831 w 5907"/>
                <a:gd name="T67" fmla="*/ 1901 h 5657"/>
                <a:gd name="T68" fmla="*/ 5892 w 5907"/>
                <a:gd name="T69" fmla="*/ 2184 h 5657"/>
                <a:gd name="T70" fmla="*/ 5905 w 5907"/>
                <a:gd name="T71" fmla="*/ 2591 h 5657"/>
                <a:gd name="T72" fmla="*/ 5847 w 5907"/>
                <a:gd name="T73" fmla="*/ 2998 h 5657"/>
                <a:gd name="T74" fmla="*/ 5788 w 5907"/>
                <a:gd name="T75" fmla="*/ 3202 h 5657"/>
                <a:gd name="T76" fmla="*/ 5619 w 5907"/>
                <a:gd name="T77" fmla="*/ 3608 h 5657"/>
                <a:gd name="T78" fmla="*/ 5508 w 5907"/>
                <a:gd name="T79" fmla="*/ 3811 h 5657"/>
                <a:gd name="T80" fmla="*/ 5285 w 5907"/>
                <a:gd name="T81" fmla="*/ 4150 h 5657"/>
                <a:gd name="T82" fmla="*/ 5061 w 5907"/>
                <a:gd name="T83" fmla="*/ 4422 h 5657"/>
                <a:gd name="T84" fmla="*/ 4861 w 5907"/>
                <a:gd name="T85" fmla="*/ 4626 h 5657"/>
                <a:gd name="T86" fmla="*/ 4627 w 5907"/>
                <a:gd name="T87" fmla="*/ 4829 h 5657"/>
                <a:gd name="T88" fmla="*/ 4345 w 5907"/>
                <a:gd name="T89" fmla="*/ 5033 h 5657"/>
                <a:gd name="T90" fmla="*/ 3997 w 5907"/>
                <a:gd name="T91" fmla="*/ 5236 h 5657"/>
                <a:gd name="T92" fmla="*/ 3646 w 5907"/>
                <a:gd name="T93" fmla="*/ 5401 h 5657"/>
                <a:gd name="T94" fmla="*/ 3373 w 5907"/>
                <a:gd name="T95" fmla="*/ 5501 h 5657"/>
                <a:gd name="T96" fmla="*/ 2826 w 5907"/>
                <a:gd name="T97" fmla="*/ 5630 h 5657"/>
                <a:gd name="T98" fmla="*/ 2552 w 5907"/>
                <a:gd name="T99" fmla="*/ 5657 h 5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07" h="5657">
                  <a:moveTo>
                    <a:pt x="2279" y="5654"/>
                  </a:moveTo>
                  <a:lnTo>
                    <a:pt x="2201" y="5643"/>
                  </a:lnTo>
                  <a:lnTo>
                    <a:pt x="2006" y="5618"/>
                  </a:lnTo>
                  <a:lnTo>
                    <a:pt x="1732" y="5548"/>
                  </a:lnTo>
                  <a:lnTo>
                    <a:pt x="1469" y="5440"/>
                  </a:lnTo>
                  <a:lnTo>
                    <a:pt x="1460" y="5436"/>
                  </a:lnTo>
                  <a:lnTo>
                    <a:pt x="1187" y="5280"/>
                  </a:lnTo>
                  <a:lnTo>
                    <a:pt x="1126" y="5236"/>
                  </a:lnTo>
                  <a:lnTo>
                    <a:pt x="913" y="5067"/>
                  </a:lnTo>
                  <a:lnTo>
                    <a:pt x="875" y="5033"/>
                  </a:lnTo>
                  <a:lnTo>
                    <a:pt x="678" y="4829"/>
                  </a:lnTo>
                  <a:lnTo>
                    <a:pt x="640" y="4784"/>
                  </a:lnTo>
                  <a:lnTo>
                    <a:pt x="516" y="4626"/>
                  </a:lnTo>
                  <a:lnTo>
                    <a:pt x="384" y="4422"/>
                  </a:lnTo>
                  <a:lnTo>
                    <a:pt x="366" y="4390"/>
                  </a:lnTo>
                  <a:lnTo>
                    <a:pt x="273" y="4218"/>
                  </a:lnTo>
                  <a:lnTo>
                    <a:pt x="184" y="4015"/>
                  </a:lnTo>
                  <a:lnTo>
                    <a:pt x="116" y="3811"/>
                  </a:lnTo>
                  <a:lnTo>
                    <a:pt x="93" y="3725"/>
                  </a:lnTo>
                  <a:lnTo>
                    <a:pt x="63" y="3608"/>
                  </a:lnTo>
                  <a:lnTo>
                    <a:pt x="26" y="3405"/>
                  </a:lnTo>
                  <a:lnTo>
                    <a:pt x="5" y="3202"/>
                  </a:lnTo>
                  <a:lnTo>
                    <a:pt x="0" y="2998"/>
                  </a:lnTo>
                  <a:lnTo>
                    <a:pt x="11" y="2795"/>
                  </a:lnTo>
                  <a:lnTo>
                    <a:pt x="37" y="2591"/>
                  </a:lnTo>
                  <a:lnTo>
                    <a:pt x="78" y="2387"/>
                  </a:lnTo>
                  <a:lnTo>
                    <a:pt x="93" y="2332"/>
                  </a:lnTo>
                  <a:lnTo>
                    <a:pt x="135" y="2184"/>
                  </a:lnTo>
                  <a:lnTo>
                    <a:pt x="208" y="1980"/>
                  </a:lnTo>
                  <a:lnTo>
                    <a:pt x="299" y="1777"/>
                  </a:lnTo>
                  <a:lnTo>
                    <a:pt x="366" y="1652"/>
                  </a:lnTo>
                  <a:lnTo>
                    <a:pt x="410" y="1573"/>
                  </a:lnTo>
                  <a:lnTo>
                    <a:pt x="541" y="1370"/>
                  </a:lnTo>
                  <a:lnTo>
                    <a:pt x="640" y="1238"/>
                  </a:lnTo>
                  <a:lnTo>
                    <a:pt x="695" y="1166"/>
                  </a:lnTo>
                  <a:lnTo>
                    <a:pt x="877" y="963"/>
                  </a:lnTo>
                  <a:lnTo>
                    <a:pt x="913" y="928"/>
                  </a:lnTo>
                  <a:lnTo>
                    <a:pt x="1092" y="759"/>
                  </a:lnTo>
                  <a:lnTo>
                    <a:pt x="1187" y="682"/>
                  </a:lnTo>
                  <a:lnTo>
                    <a:pt x="1354" y="555"/>
                  </a:lnTo>
                  <a:lnTo>
                    <a:pt x="1460" y="485"/>
                  </a:lnTo>
                  <a:lnTo>
                    <a:pt x="1686" y="352"/>
                  </a:lnTo>
                  <a:lnTo>
                    <a:pt x="1732" y="327"/>
                  </a:lnTo>
                  <a:lnTo>
                    <a:pt x="2006" y="203"/>
                  </a:lnTo>
                  <a:lnTo>
                    <a:pt x="2163" y="148"/>
                  </a:lnTo>
                  <a:lnTo>
                    <a:pt x="2279" y="109"/>
                  </a:lnTo>
                  <a:lnTo>
                    <a:pt x="2552" y="46"/>
                  </a:lnTo>
                  <a:lnTo>
                    <a:pt x="2826" y="10"/>
                  </a:lnTo>
                  <a:lnTo>
                    <a:pt x="3099" y="0"/>
                  </a:lnTo>
                  <a:lnTo>
                    <a:pt x="3373" y="16"/>
                  </a:lnTo>
                  <a:lnTo>
                    <a:pt x="3646" y="58"/>
                  </a:lnTo>
                  <a:lnTo>
                    <a:pt x="3918" y="128"/>
                  </a:lnTo>
                  <a:lnTo>
                    <a:pt x="3976" y="148"/>
                  </a:lnTo>
                  <a:lnTo>
                    <a:pt x="4192" y="223"/>
                  </a:lnTo>
                  <a:lnTo>
                    <a:pt x="4465" y="350"/>
                  </a:lnTo>
                  <a:lnTo>
                    <a:pt x="4468" y="352"/>
                  </a:lnTo>
                  <a:lnTo>
                    <a:pt x="4738" y="506"/>
                  </a:lnTo>
                  <a:lnTo>
                    <a:pt x="4809" y="555"/>
                  </a:lnTo>
                  <a:lnTo>
                    <a:pt x="5012" y="705"/>
                  </a:lnTo>
                  <a:lnTo>
                    <a:pt x="5076" y="759"/>
                  </a:lnTo>
                  <a:lnTo>
                    <a:pt x="5285" y="955"/>
                  </a:lnTo>
                  <a:lnTo>
                    <a:pt x="5292" y="963"/>
                  </a:lnTo>
                  <a:lnTo>
                    <a:pt x="5466" y="1166"/>
                  </a:lnTo>
                  <a:lnTo>
                    <a:pt x="5559" y="1297"/>
                  </a:lnTo>
                  <a:lnTo>
                    <a:pt x="5606" y="1370"/>
                  </a:lnTo>
                  <a:lnTo>
                    <a:pt x="5715" y="1573"/>
                  </a:lnTo>
                  <a:lnTo>
                    <a:pt x="5796" y="1777"/>
                  </a:lnTo>
                  <a:lnTo>
                    <a:pt x="5831" y="1901"/>
                  </a:lnTo>
                  <a:lnTo>
                    <a:pt x="5853" y="1980"/>
                  </a:lnTo>
                  <a:lnTo>
                    <a:pt x="5892" y="2184"/>
                  </a:lnTo>
                  <a:lnTo>
                    <a:pt x="5907" y="2387"/>
                  </a:lnTo>
                  <a:lnTo>
                    <a:pt x="5905" y="2591"/>
                  </a:lnTo>
                  <a:lnTo>
                    <a:pt x="5885" y="2795"/>
                  </a:lnTo>
                  <a:lnTo>
                    <a:pt x="5847" y="2998"/>
                  </a:lnTo>
                  <a:lnTo>
                    <a:pt x="5831" y="3052"/>
                  </a:lnTo>
                  <a:lnTo>
                    <a:pt x="5788" y="3202"/>
                  </a:lnTo>
                  <a:lnTo>
                    <a:pt x="5712" y="3405"/>
                  </a:lnTo>
                  <a:lnTo>
                    <a:pt x="5619" y="3608"/>
                  </a:lnTo>
                  <a:lnTo>
                    <a:pt x="5559" y="3724"/>
                  </a:lnTo>
                  <a:lnTo>
                    <a:pt x="5508" y="3811"/>
                  </a:lnTo>
                  <a:lnTo>
                    <a:pt x="5380" y="4015"/>
                  </a:lnTo>
                  <a:lnTo>
                    <a:pt x="5285" y="4150"/>
                  </a:lnTo>
                  <a:lnTo>
                    <a:pt x="5232" y="4218"/>
                  </a:lnTo>
                  <a:lnTo>
                    <a:pt x="5061" y="4422"/>
                  </a:lnTo>
                  <a:lnTo>
                    <a:pt x="5012" y="4476"/>
                  </a:lnTo>
                  <a:lnTo>
                    <a:pt x="4861" y="4626"/>
                  </a:lnTo>
                  <a:lnTo>
                    <a:pt x="4738" y="4738"/>
                  </a:lnTo>
                  <a:lnTo>
                    <a:pt x="4627" y="4829"/>
                  </a:lnTo>
                  <a:lnTo>
                    <a:pt x="4465" y="4953"/>
                  </a:lnTo>
                  <a:lnTo>
                    <a:pt x="4345" y="5033"/>
                  </a:lnTo>
                  <a:lnTo>
                    <a:pt x="4192" y="5131"/>
                  </a:lnTo>
                  <a:lnTo>
                    <a:pt x="3997" y="5236"/>
                  </a:lnTo>
                  <a:lnTo>
                    <a:pt x="3918" y="5279"/>
                  </a:lnTo>
                  <a:lnTo>
                    <a:pt x="3646" y="5401"/>
                  </a:lnTo>
                  <a:lnTo>
                    <a:pt x="3535" y="5440"/>
                  </a:lnTo>
                  <a:lnTo>
                    <a:pt x="3373" y="5501"/>
                  </a:lnTo>
                  <a:lnTo>
                    <a:pt x="3099" y="5579"/>
                  </a:lnTo>
                  <a:lnTo>
                    <a:pt x="2826" y="5630"/>
                  </a:lnTo>
                  <a:lnTo>
                    <a:pt x="2682" y="5643"/>
                  </a:lnTo>
                  <a:lnTo>
                    <a:pt x="2552" y="5657"/>
                  </a:lnTo>
                  <a:lnTo>
                    <a:pt x="2279" y="5654"/>
                  </a:lnTo>
                </a:path>
              </a:pathLst>
            </a:custGeom>
            <a:noFill/>
            <a:ln w="12700" cmpd="sng">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32" name="Freeform 1180">
              <a:extLst>
                <a:ext uri="{FF2B5EF4-FFF2-40B4-BE49-F238E27FC236}">
                  <a16:creationId xmlns:a16="http://schemas.microsoft.com/office/drawing/2014/main" id="{80015DFF-F32E-4716-BBDC-27629ADDCE47}"/>
                </a:ext>
              </a:extLst>
            </p:cNvPr>
            <p:cNvSpPr>
              <a:spLocks noChangeAspect="1"/>
            </p:cNvSpPr>
            <p:nvPr/>
          </p:nvSpPr>
          <p:spPr bwMode="auto">
            <a:xfrm>
              <a:off x="6797675" y="2150428"/>
              <a:ext cx="795338" cy="1003300"/>
            </a:xfrm>
            <a:custGeom>
              <a:avLst/>
              <a:gdLst>
                <a:gd name="T0" fmla="*/ 1084 w 4716"/>
                <a:gd name="T1" fmla="*/ 4315 h 4454"/>
                <a:gd name="T2" fmla="*/ 766 w 4716"/>
                <a:gd name="T3" fmla="*/ 4151 h 4454"/>
                <a:gd name="T4" fmla="*/ 493 w 4716"/>
                <a:gd name="T5" fmla="*/ 3919 h 4454"/>
                <a:gd name="T6" fmla="*/ 327 w 4716"/>
                <a:gd name="T7" fmla="*/ 3704 h 4454"/>
                <a:gd name="T8" fmla="*/ 202 w 4716"/>
                <a:gd name="T9" fmla="*/ 3501 h 4454"/>
                <a:gd name="T10" fmla="*/ 56 w 4716"/>
                <a:gd name="T11" fmla="*/ 3094 h 4454"/>
                <a:gd name="T12" fmla="*/ 0 w 4716"/>
                <a:gd name="T13" fmla="*/ 2688 h 4454"/>
                <a:gd name="T14" fmla="*/ 21 w 4716"/>
                <a:gd name="T15" fmla="*/ 2281 h 4454"/>
                <a:gd name="T16" fmla="*/ 115 w 4716"/>
                <a:gd name="T17" fmla="*/ 1873 h 4454"/>
                <a:gd name="T18" fmla="*/ 219 w 4716"/>
                <a:gd name="T19" fmla="*/ 1604 h 4454"/>
                <a:gd name="T20" fmla="*/ 389 w 4716"/>
                <a:gd name="T21" fmla="*/ 1263 h 4454"/>
                <a:gd name="T22" fmla="*/ 523 w 4716"/>
                <a:gd name="T23" fmla="*/ 1059 h 4454"/>
                <a:gd name="T24" fmla="*/ 766 w 4716"/>
                <a:gd name="T25" fmla="*/ 764 h 4454"/>
                <a:gd name="T26" fmla="*/ 1038 w 4716"/>
                <a:gd name="T27" fmla="*/ 511 h 4454"/>
                <a:gd name="T28" fmla="*/ 1312 w 4716"/>
                <a:gd name="T29" fmla="*/ 322 h 4454"/>
                <a:gd name="T30" fmla="*/ 1585 w 4716"/>
                <a:gd name="T31" fmla="*/ 183 h 4454"/>
                <a:gd name="T32" fmla="*/ 2060 w 4716"/>
                <a:gd name="T33" fmla="*/ 41 h 4454"/>
                <a:gd name="T34" fmla="*/ 2405 w 4716"/>
                <a:gd name="T35" fmla="*/ 0 h 4454"/>
                <a:gd name="T36" fmla="*/ 2933 w 4716"/>
                <a:gd name="T37" fmla="*/ 41 h 4454"/>
                <a:gd name="T38" fmla="*/ 3224 w 4716"/>
                <a:gd name="T39" fmla="*/ 114 h 4454"/>
                <a:gd name="T40" fmla="*/ 3551 w 4716"/>
                <a:gd name="T41" fmla="*/ 245 h 4454"/>
                <a:gd name="T42" fmla="*/ 3895 w 4716"/>
                <a:gd name="T43" fmla="*/ 449 h 4454"/>
                <a:gd name="T44" fmla="*/ 4142 w 4716"/>
                <a:gd name="T45" fmla="*/ 652 h 4454"/>
                <a:gd name="T46" fmla="*/ 4329 w 4716"/>
                <a:gd name="T47" fmla="*/ 856 h 4454"/>
                <a:gd name="T48" fmla="*/ 4574 w 4716"/>
                <a:gd name="T49" fmla="*/ 1263 h 4454"/>
                <a:gd name="T50" fmla="*/ 4649 w 4716"/>
                <a:gd name="T51" fmla="*/ 1466 h 4454"/>
                <a:gd name="T52" fmla="*/ 4716 w 4716"/>
                <a:gd name="T53" fmla="*/ 1873 h 4454"/>
                <a:gd name="T54" fmla="*/ 4683 w 4716"/>
                <a:gd name="T55" fmla="*/ 2281 h 4454"/>
                <a:gd name="T56" fmla="*/ 4591 w 4716"/>
                <a:gd name="T57" fmla="*/ 2601 h 4454"/>
                <a:gd name="T58" fmla="*/ 4462 w 4716"/>
                <a:gd name="T59" fmla="*/ 2891 h 4454"/>
                <a:gd name="T60" fmla="*/ 4318 w 4716"/>
                <a:gd name="T61" fmla="*/ 3136 h 4454"/>
                <a:gd name="T62" fmla="*/ 4044 w 4716"/>
                <a:gd name="T63" fmla="*/ 3477 h 4454"/>
                <a:gd name="T64" fmla="*/ 3804 w 4716"/>
                <a:gd name="T65" fmla="*/ 3704 h 4454"/>
                <a:gd name="T66" fmla="*/ 3539 w 4716"/>
                <a:gd name="T67" fmla="*/ 3908 h 4454"/>
                <a:gd name="T68" fmla="*/ 3224 w 4716"/>
                <a:gd name="T69" fmla="*/ 4103 h 4454"/>
                <a:gd name="T70" fmla="*/ 2952 w 4716"/>
                <a:gd name="T71" fmla="*/ 4233 h 4454"/>
                <a:gd name="T72" fmla="*/ 2679 w 4716"/>
                <a:gd name="T73" fmla="*/ 4331 h 4454"/>
                <a:gd name="T74" fmla="*/ 2132 w 4716"/>
                <a:gd name="T75" fmla="*/ 4441 h 4454"/>
                <a:gd name="T76" fmla="*/ 1585 w 4716"/>
                <a:gd name="T77" fmla="*/ 4438 h 4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16" h="4454">
                  <a:moveTo>
                    <a:pt x="1312" y="4389"/>
                  </a:moveTo>
                  <a:lnTo>
                    <a:pt x="1084" y="4315"/>
                  </a:lnTo>
                  <a:lnTo>
                    <a:pt x="1038" y="4299"/>
                  </a:lnTo>
                  <a:lnTo>
                    <a:pt x="766" y="4151"/>
                  </a:lnTo>
                  <a:lnTo>
                    <a:pt x="714" y="4112"/>
                  </a:lnTo>
                  <a:lnTo>
                    <a:pt x="493" y="3919"/>
                  </a:lnTo>
                  <a:lnTo>
                    <a:pt x="482" y="3908"/>
                  </a:lnTo>
                  <a:lnTo>
                    <a:pt x="327" y="3704"/>
                  </a:lnTo>
                  <a:lnTo>
                    <a:pt x="219" y="3532"/>
                  </a:lnTo>
                  <a:lnTo>
                    <a:pt x="202" y="3501"/>
                  </a:lnTo>
                  <a:lnTo>
                    <a:pt x="117" y="3297"/>
                  </a:lnTo>
                  <a:lnTo>
                    <a:pt x="56" y="3094"/>
                  </a:lnTo>
                  <a:lnTo>
                    <a:pt x="17" y="2891"/>
                  </a:lnTo>
                  <a:lnTo>
                    <a:pt x="0" y="2688"/>
                  </a:lnTo>
                  <a:lnTo>
                    <a:pt x="1" y="2484"/>
                  </a:lnTo>
                  <a:lnTo>
                    <a:pt x="21" y="2281"/>
                  </a:lnTo>
                  <a:lnTo>
                    <a:pt x="59" y="2077"/>
                  </a:lnTo>
                  <a:lnTo>
                    <a:pt x="115" y="1873"/>
                  </a:lnTo>
                  <a:lnTo>
                    <a:pt x="189" y="1670"/>
                  </a:lnTo>
                  <a:lnTo>
                    <a:pt x="219" y="1604"/>
                  </a:lnTo>
                  <a:lnTo>
                    <a:pt x="280" y="1466"/>
                  </a:lnTo>
                  <a:lnTo>
                    <a:pt x="389" y="1263"/>
                  </a:lnTo>
                  <a:lnTo>
                    <a:pt x="493" y="1106"/>
                  </a:lnTo>
                  <a:lnTo>
                    <a:pt x="523" y="1059"/>
                  </a:lnTo>
                  <a:lnTo>
                    <a:pt x="680" y="856"/>
                  </a:lnTo>
                  <a:lnTo>
                    <a:pt x="766" y="764"/>
                  </a:lnTo>
                  <a:lnTo>
                    <a:pt x="875" y="652"/>
                  </a:lnTo>
                  <a:lnTo>
                    <a:pt x="1038" y="511"/>
                  </a:lnTo>
                  <a:lnTo>
                    <a:pt x="1120" y="449"/>
                  </a:lnTo>
                  <a:lnTo>
                    <a:pt x="1312" y="322"/>
                  </a:lnTo>
                  <a:lnTo>
                    <a:pt x="1456" y="245"/>
                  </a:lnTo>
                  <a:lnTo>
                    <a:pt x="1585" y="183"/>
                  </a:lnTo>
                  <a:lnTo>
                    <a:pt x="1858" y="86"/>
                  </a:lnTo>
                  <a:lnTo>
                    <a:pt x="2060" y="41"/>
                  </a:lnTo>
                  <a:lnTo>
                    <a:pt x="2132" y="26"/>
                  </a:lnTo>
                  <a:lnTo>
                    <a:pt x="2405" y="0"/>
                  </a:lnTo>
                  <a:lnTo>
                    <a:pt x="2679" y="7"/>
                  </a:lnTo>
                  <a:lnTo>
                    <a:pt x="2933" y="41"/>
                  </a:lnTo>
                  <a:lnTo>
                    <a:pt x="2952" y="45"/>
                  </a:lnTo>
                  <a:lnTo>
                    <a:pt x="3224" y="114"/>
                  </a:lnTo>
                  <a:lnTo>
                    <a:pt x="3498" y="218"/>
                  </a:lnTo>
                  <a:lnTo>
                    <a:pt x="3551" y="245"/>
                  </a:lnTo>
                  <a:lnTo>
                    <a:pt x="3771" y="365"/>
                  </a:lnTo>
                  <a:lnTo>
                    <a:pt x="3895" y="449"/>
                  </a:lnTo>
                  <a:lnTo>
                    <a:pt x="4044" y="563"/>
                  </a:lnTo>
                  <a:lnTo>
                    <a:pt x="4142" y="652"/>
                  </a:lnTo>
                  <a:lnTo>
                    <a:pt x="4318" y="841"/>
                  </a:lnTo>
                  <a:lnTo>
                    <a:pt x="4329" y="856"/>
                  </a:lnTo>
                  <a:lnTo>
                    <a:pt x="4467" y="1059"/>
                  </a:lnTo>
                  <a:lnTo>
                    <a:pt x="4574" y="1263"/>
                  </a:lnTo>
                  <a:lnTo>
                    <a:pt x="4591" y="1306"/>
                  </a:lnTo>
                  <a:lnTo>
                    <a:pt x="4649" y="1466"/>
                  </a:lnTo>
                  <a:lnTo>
                    <a:pt x="4695" y="1670"/>
                  </a:lnTo>
                  <a:lnTo>
                    <a:pt x="4716" y="1873"/>
                  </a:lnTo>
                  <a:lnTo>
                    <a:pt x="4712" y="2077"/>
                  </a:lnTo>
                  <a:lnTo>
                    <a:pt x="4683" y="2281"/>
                  </a:lnTo>
                  <a:lnTo>
                    <a:pt x="4632" y="2484"/>
                  </a:lnTo>
                  <a:lnTo>
                    <a:pt x="4591" y="2601"/>
                  </a:lnTo>
                  <a:lnTo>
                    <a:pt x="4557" y="2688"/>
                  </a:lnTo>
                  <a:lnTo>
                    <a:pt x="4462" y="2891"/>
                  </a:lnTo>
                  <a:lnTo>
                    <a:pt x="4345" y="3094"/>
                  </a:lnTo>
                  <a:lnTo>
                    <a:pt x="4318" y="3136"/>
                  </a:lnTo>
                  <a:lnTo>
                    <a:pt x="4197" y="3297"/>
                  </a:lnTo>
                  <a:lnTo>
                    <a:pt x="4044" y="3477"/>
                  </a:lnTo>
                  <a:lnTo>
                    <a:pt x="4021" y="3501"/>
                  </a:lnTo>
                  <a:lnTo>
                    <a:pt x="3804" y="3704"/>
                  </a:lnTo>
                  <a:lnTo>
                    <a:pt x="3771" y="3734"/>
                  </a:lnTo>
                  <a:lnTo>
                    <a:pt x="3539" y="3908"/>
                  </a:lnTo>
                  <a:lnTo>
                    <a:pt x="3498" y="3939"/>
                  </a:lnTo>
                  <a:lnTo>
                    <a:pt x="3224" y="4103"/>
                  </a:lnTo>
                  <a:lnTo>
                    <a:pt x="3207" y="4112"/>
                  </a:lnTo>
                  <a:lnTo>
                    <a:pt x="2952" y="4233"/>
                  </a:lnTo>
                  <a:lnTo>
                    <a:pt x="2726" y="4315"/>
                  </a:lnTo>
                  <a:lnTo>
                    <a:pt x="2679" y="4331"/>
                  </a:lnTo>
                  <a:lnTo>
                    <a:pt x="2405" y="4401"/>
                  </a:lnTo>
                  <a:lnTo>
                    <a:pt x="2132" y="4441"/>
                  </a:lnTo>
                  <a:lnTo>
                    <a:pt x="1858" y="4454"/>
                  </a:lnTo>
                  <a:lnTo>
                    <a:pt x="1585" y="4438"/>
                  </a:lnTo>
                  <a:lnTo>
                    <a:pt x="1312" y="4389"/>
                  </a:lnTo>
                </a:path>
              </a:pathLst>
            </a:custGeom>
            <a:noFill/>
            <a:ln w="3175">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33" name="Freeform 1181">
              <a:extLst>
                <a:ext uri="{FF2B5EF4-FFF2-40B4-BE49-F238E27FC236}">
                  <a16:creationId xmlns:a16="http://schemas.microsoft.com/office/drawing/2014/main" id="{B1944EC9-D2F2-4B83-BCB1-1BC431DED2CD}"/>
                </a:ext>
              </a:extLst>
            </p:cNvPr>
            <p:cNvSpPr>
              <a:spLocks noChangeAspect="1"/>
            </p:cNvSpPr>
            <p:nvPr/>
          </p:nvSpPr>
          <p:spPr bwMode="auto">
            <a:xfrm>
              <a:off x="6919914" y="2272665"/>
              <a:ext cx="574675" cy="700088"/>
            </a:xfrm>
            <a:custGeom>
              <a:avLst/>
              <a:gdLst>
                <a:gd name="T0" fmla="*/ 867 w 3414"/>
                <a:gd name="T1" fmla="*/ 2998 h 3108"/>
                <a:gd name="T2" fmla="*/ 779 w 3414"/>
                <a:gd name="T3" fmla="*/ 2960 h 3108"/>
                <a:gd name="T4" fmla="*/ 594 w 3414"/>
                <a:gd name="T5" fmla="*/ 2868 h 3108"/>
                <a:gd name="T6" fmla="*/ 436 w 3414"/>
                <a:gd name="T7" fmla="*/ 2756 h 3108"/>
                <a:gd name="T8" fmla="*/ 320 w 3414"/>
                <a:gd name="T9" fmla="*/ 2654 h 3108"/>
                <a:gd name="T10" fmla="*/ 234 w 3414"/>
                <a:gd name="T11" fmla="*/ 2553 h 3108"/>
                <a:gd name="T12" fmla="*/ 108 w 3414"/>
                <a:gd name="T13" fmla="*/ 2350 h 3108"/>
                <a:gd name="T14" fmla="*/ 48 w 3414"/>
                <a:gd name="T15" fmla="*/ 2192 h 3108"/>
                <a:gd name="T16" fmla="*/ 33 w 3414"/>
                <a:gd name="T17" fmla="*/ 2147 h 3108"/>
                <a:gd name="T18" fmla="*/ 2 w 3414"/>
                <a:gd name="T19" fmla="*/ 1943 h 3108"/>
                <a:gd name="T20" fmla="*/ 0 w 3414"/>
                <a:gd name="T21" fmla="*/ 1740 h 3108"/>
                <a:gd name="T22" fmla="*/ 25 w 3414"/>
                <a:gd name="T23" fmla="*/ 1536 h 3108"/>
                <a:gd name="T24" fmla="*/ 48 w 3414"/>
                <a:gd name="T25" fmla="*/ 1448 h 3108"/>
                <a:gd name="T26" fmla="*/ 77 w 3414"/>
                <a:gd name="T27" fmla="*/ 1332 h 3108"/>
                <a:gd name="T28" fmla="*/ 155 w 3414"/>
                <a:gd name="T29" fmla="*/ 1129 h 3108"/>
                <a:gd name="T30" fmla="*/ 259 w 3414"/>
                <a:gd name="T31" fmla="*/ 925 h 3108"/>
                <a:gd name="T32" fmla="*/ 320 w 3414"/>
                <a:gd name="T33" fmla="*/ 829 h 3108"/>
                <a:gd name="T34" fmla="*/ 400 w 3414"/>
                <a:gd name="T35" fmla="*/ 722 h 3108"/>
                <a:gd name="T36" fmla="*/ 578 w 3414"/>
                <a:gd name="T37" fmla="*/ 518 h 3108"/>
                <a:gd name="T38" fmla="*/ 594 w 3414"/>
                <a:gd name="T39" fmla="*/ 503 h 3108"/>
                <a:gd name="T40" fmla="*/ 827 w 3414"/>
                <a:gd name="T41" fmla="*/ 315 h 3108"/>
                <a:gd name="T42" fmla="*/ 867 w 3414"/>
                <a:gd name="T43" fmla="*/ 286 h 3108"/>
                <a:gd name="T44" fmla="*/ 1140 w 3414"/>
                <a:gd name="T45" fmla="*/ 139 h 3108"/>
                <a:gd name="T46" fmla="*/ 1216 w 3414"/>
                <a:gd name="T47" fmla="*/ 111 h 3108"/>
                <a:gd name="T48" fmla="*/ 1414 w 3414"/>
                <a:gd name="T49" fmla="*/ 48 h 3108"/>
                <a:gd name="T50" fmla="*/ 1687 w 3414"/>
                <a:gd name="T51" fmla="*/ 2 h 3108"/>
                <a:gd name="T52" fmla="*/ 1961 w 3414"/>
                <a:gd name="T53" fmla="*/ 0 h 3108"/>
                <a:gd name="T54" fmla="*/ 2234 w 3414"/>
                <a:gd name="T55" fmla="*/ 40 h 3108"/>
                <a:gd name="T56" fmla="*/ 2470 w 3414"/>
                <a:gd name="T57" fmla="*/ 111 h 3108"/>
                <a:gd name="T58" fmla="*/ 2506 w 3414"/>
                <a:gd name="T59" fmla="*/ 123 h 3108"/>
                <a:gd name="T60" fmla="*/ 2780 w 3414"/>
                <a:gd name="T61" fmla="*/ 271 h 3108"/>
                <a:gd name="T62" fmla="*/ 2842 w 3414"/>
                <a:gd name="T63" fmla="*/ 315 h 3108"/>
                <a:gd name="T64" fmla="*/ 3053 w 3414"/>
                <a:gd name="T65" fmla="*/ 494 h 3108"/>
                <a:gd name="T66" fmla="*/ 3076 w 3414"/>
                <a:gd name="T67" fmla="*/ 518 h 3108"/>
                <a:gd name="T68" fmla="*/ 3226 w 3414"/>
                <a:gd name="T69" fmla="*/ 722 h 3108"/>
                <a:gd name="T70" fmla="*/ 3326 w 3414"/>
                <a:gd name="T71" fmla="*/ 909 h 3108"/>
                <a:gd name="T72" fmla="*/ 3334 w 3414"/>
                <a:gd name="T73" fmla="*/ 925 h 3108"/>
                <a:gd name="T74" fmla="*/ 3391 w 3414"/>
                <a:gd name="T75" fmla="*/ 1129 h 3108"/>
                <a:gd name="T76" fmla="*/ 3414 w 3414"/>
                <a:gd name="T77" fmla="*/ 1332 h 3108"/>
                <a:gd name="T78" fmla="*/ 3406 w 3414"/>
                <a:gd name="T79" fmla="*/ 1536 h 3108"/>
                <a:gd name="T80" fmla="*/ 3370 w 3414"/>
                <a:gd name="T81" fmla="*/ 1740 h 3108"/>
                <a:gd name="T82" fmla="*/ 3326 w 3414"/>
                <a:gd name="T83" fmla="*/ 1885 h 3108"/>
                <a:gd name="T84" fmla="*/ 3307 w 3414"/>
                <a:gd name="T85" fmla="*/ 1943 h 3108"/>
                <a:gd name="T86" fmla="*/ 3213 w 3414"/>
                <a:gd name="T87" fmla="*/ 2147 h 3108"/>
                <a:gd name="T88" fmla="*/ 3085 w 3414"/>
                <a:gd name="T89" fmla="*/ 2350 h 3108"/>
                <a:gd name="T90" fmla="*/ 3053 w 3414"/>
                <a:gd name="T91" fmla="*/ 2390 h 3108"/>
                <a:gd name="T92" fmla="*/ 2906 w 3414"/>
                <a:gd name="T93" fmla="*/ 2553 h 3108"/>
                <a:gd name="T94" fmla="*/ 2780 w 3414"/>
                <a:gd name="T95" fmla="*/ 2669 h 3108"/>
                <a:gd name="T96" fmla="*/ 2660 w 3414"/>
                <a:gd name="T97" fmla="*/ 2756 h 3108"/>
                <a:gd name="T98" fmla="*/ 2506 w 3414"/>
                <a:gd name="T99" fmla="*/ 2858 h 3108"/>
                <a:gd name="T100" fmla="*/ 2287 w 3414"/>
                <a:gd name="T101" fmla="*/ 2960 h 3108"/>
                <a:gd name="T102" fmla="*/ 2234 w 3414"/>
                <a:gd name="T103" fmla="*/ 2984 h 3108"/>
                <a:gd name="T104" fmla="*/ 1961 w 3414"/>
                <a:gd name="T105" fmla="*/ 3064 h 3108"/>
                <a:gd name="T106" fmla="*/ 1687 w 3414"/>
                <a:gd name="T107" fmla="*/ 3105 h 3108"/>
                <a:gd name="T108" fmla="*/ 1414 w 3414"/>
                <a:gd name="T109" fmla="*/ 3108 h 3108"/>
                <a:gd name="T110" fmla="*/ 1140 w 3414"/>
                <a:gd name="T111" fmla="*/ 3073 h 3108"/>
                <a:gd name="T112" fmla="*/ 867 w 3414"/>
                <a:gd name="T113" fmla="*/ 2998 h 3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14" h="3108">
                  <a:moveTo>
                    <a:pt x="867" y="2998"/>
                  </a:moveTo>
                  <a:lnTo>
                    <a:pt x="779" y="2960"/>
                  </a:lnTo>
                  <a:lnTo>
                    <a:pt x="594" y="2868"/>
                  </a:lnTo>
                  <a:lnTo>
                    <a:pt x="436" y="2756"/>
                  </a:lnTo>
                  <a:lnTo>
                    <a:pt x="320" y="2654"/>
                  </a:lnTo>
                  <a:lnTo>
                    <a:pt x="234" y="2553"/>
                  </a:lnTo>
                  <a:lnTo>
                    <a:pt x="108" y="2350"/>
                  </a:lnTo>
                  <a:lnTo>
                    <a:pt x="48" y="2192"/>
                  </a:lnTo>
                  <a:lnTo>
                    <a:pt x="33" y="2147"/>
                  </a:lnTo>
                  <a:lnTo>
                    <a:pt x="2" y="1943"/>
                  </a:lnTo>
                  <a:lnTo>
                    <a:pt x="0" y="1740"/>
                  </a:lnTo>
                  <a:lnTo>
                    <a:pt x="25" y="1536"/>
                  </a:lnTo>
                  <a:lnTo>
                    <a:pt x="48" y="1448"/>
                  </a:lnTo>
                  <a:lnTo>
                    <a:pt x="77" y="1332"/>
                  </a:lnTo>
                  <a:lnTo>
                    <a:pt x="155" y="1129"/>
                  </a:lnTo>
                  <a:lnTo>
                    <a:pt x="259" y="925"/>
                  </a:lnTo>
                  <a:lnTo>
                    <a:pt x="320" y="829"/>
                  </a:lnTo>
                  <a:lnTo>
                    <a:pt x="400" y="722"/>
                  </a:lnTo>
                  <a:lnTo>
                    <a:pt x="578" y="518"/>
                  </a:lnTo>
                  <a:lnTo>
                    <a:pt x="594" y="503"/>
                  </a:lnTo>
                  <a:lnTo>
                    <a:pt x="827" y="315"/>
                  </a:lnTo>
                  <a:lnTo>
                    <a:pt x="867" y="286"/>
                  </a:lnTo>
                  <a:lnTo>
                    <a:pt x="1140" y="139"/>
                  </a:lnTo>
                  <a:lnTo>
                    <a:pt x="1216" y="111"/>
                  </a:lnTo>
                  <a:lnTo>
                    <a:pt x="1414" y="48"/>
                  </a:lnTo>
                  <a:lnTo>
                    <a:pt x="1687" y="2"/>
                  </a:lnTo>
                  <a:lnTo>
                    <a:pt x="1961" y="0"/>
                  </a:lnTo>
                  <a:lnTo>
                    <a:pt x="2234" y="40"/>
                  </a:lnTo>
                  <a:lnTo>
                    <a:pt x="2470" y="111"/>
                  </a:lnTo>
                  <a:lnTo>
                    <a:pt x="2506" y="123"/>
                  </a:lnTo>
                  <a:lnTo>
                    <a:pt x="2780" y="271"/>
                  </a:lnTo>
                  <a:lnTo>
                    <a:pt x="2842" y="315"/>
                  </a:lnTo>
                  <a:lnTo>
                    <a:pt x="3053" y="494"/>
                  </a:lnTo>
                  <a:lnTo>
                    <a:pt x="3076" y="518"/>
                  </a:lnTo>
                  <a:lnTo>
                    <a:pt x="3226" y="722"/>
                  </a:lnTo>
                  <a:lnTo>
                    <a:pt x="3326" y="909"/>
                  </a:lnTo>
                  <a:lnTo>
                    <a:pt x="3334" y="925"/>
                  </a:lnTo>
                  <a:lnTo>
                    <a:pt x="3391" y="1129"/>
                  </a:lnTo>
                  <a:lnTo>
                    <a:pt x="3414" y="1332"/>
                  </a:lnTo>
                  <a:lnTo>
                    <a:pt x="3406" y="1536"/>
                  </a:lnTo>
                  <a:lnTo>
                    <a:pt x="3370" y="1740"/>
                  </a:lnTo>
                  <a:lnTo>
                    <a:pt x="3326" y="1885"/>
                  </a:lnTo>
                  <a:lnTo>
                    <a:pt x="3307" y="1943"/>
                  </a:lnTo>
                  <a:lnTo>
                    <a:pt x="3213" y="2147"/>
                  </a:lnTo>
                  <a:lnTo>
                    <a:pt x="3085" y="2350"/>
                  </a:lnTo>
                  <a:lnTo>
                    <a:pt x="3053" y="2390"/>
                  </a:lnTo>
                  <a:lnTo>
                    <a:pt x="2906" y="2553"/>
                  </a:lnTo>
                  <a:lnTo>
                    <a:pt x="2780" y="2669"/>
                  </a:lnTo>
                  <a:lnTo>
                    <a:pt x="2660" y="2756"/>
                  </a:lnTo>
                  <a:lnTo>
                    <a:pt x="2506" y="2858"/>
                  </a:lnTo>
                  <a:lnTo>
                    <a:pt x="2287" y="2960"/>
                  </a:lnTo>
                  <a:lnTo>
                    <a:pt x="2234" y="2984"/>
                  </a:lnTo>
                  <a:lnTo>
                    <a:pt x="1961" y="3064"/>
                  </a:lnTo>
                  <a:lnTo>
                    <a:pt x="1687" y="3105"/>
                  </a:lnTo>
                  <a:lnTo>
                    <a:pt x="1414" y="3108"/>
                  </a:lnTo>
                  <a:lnTo>
                    <a:pt x="1140" y="3073"/>
                  </a:lnTo>
                  <a:lnTo>
                    <a:pt x="867" y="2998"/>
                  </a:lnTo>
                </a:path>
              </a:pathLst>
            </a:custGeom>
            <a:noFill/>
            <a:ln w="12700" cmpd="sng">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34" name="Freeform 1182">
              <a:extLst>
                <a:ext uri="{FF2B5EF4-FFF2-40B4-BE49-F238E27FC236}">
                  <a16:creationId xmlns:a16="http://schemas.microsoft.com/office/drawing/2014/main" id="{46F1B05E-FF22-4CF1-8C40-1F1967F7FAA3}"/>
                </a:ext>
              </a:extLst>
            </p:cNvPr>
            <p:cNvSpPr>
              <a:spLocks noChangeAspect="1"/>
            </p:cNvSpPr>
            <p:nvPr/>
          </p:nvSpPr>
          <p:spPr bwMode="auto">
            <a:xfrm>
              <a:off x="7059614" y="2437765"/>
              <a:ext cx="306387" cy="368300"/>
            </a:xfrm>
            <a:custGeom>
              <a:avLst/>
              <a:gdLst>
                <a:gd name="T0" fmla="*/ 856 w 1818"/>
                <a:gd name="T1" fmla="*/ 1641 h 1641"/>
                <a:gd name="T2" fmla="*/ 731 w 1818"/>
                <a:gd name="T3" fmla="*/ 1617 h 1641"/>
                <a:gd name="T4" fmla="*/ 583 w 1818"/>
                <a:gd name="T5" fmla="*/ 1580 h 1641"/>
                <a:gd name="T6" fmla="*/ 309 w 1818"/>
                <a:gd name="T7" fmla="*/ 1432 h 1641"/>
                <a:gd name="T8" fmla="*/ 286 w 1818"/>
                <a:gd name="T9" fmla="*/ 1414 h 1641"/>
                <a:gd name="T10" fmla="*/ 108 w 1818"/>
                <a:gd name="T11" fmla="*/ 1210 h 1641"/>
                <a:gd name="T12" fmla="*/ 36 w 1818"/>
                <a:gd name="T13" fmla="*/ 1057 h 1641"/>
                <a:gd name="T14" fmla="*/ 18 w 1818"/>
                <a:gd name="T15" fmla="*/ 1007 h 1641"/>
                <a:gd name="T16" fmla="*/ 0 w 1818"/>
                <a:gd name="T17" fmla="*/ 803 h 1641"/>
                <a:gd name="T18" fmla="*/ 36 w 1818"/>
                <a:gd name="T19" fmla="*/ 620 h 1641"/>
                <a:gd name="T20" fmla="*/ 42 w 1818"/>
                <a:gd name="T21" fmla="*/ 599 h 1641"/>
                <a:gd name="T22" fmla="*/ 163 w 1818"/>
                <a:gd name="T23" fmla="*/ 396 h 1641"/>
                <a:gd name="T24" fmla="*/ 309 w 1818"/>
                <a:gd name="T25" fmla="*/ 237 h 1641"/>
                <a:gd name="T26" fmla="*/ 372 w 1818"/>
                <a:gd name="T27" fmla="*/ 192 h 1641"/>
                <a:gd name="T28" fmla="*/ 583 w 1818"/>
                <a:gd name="T29" fmla="*/ 76 h 1641"/>
                <a:gd name="T30" fmla="*/ 856 w 1818"/>
                <a:gd name="T31" fmla="*/ 0 h 1641"/>
                <a:gd name="T32" fmla="*/ 1130 w 1818"/>
                <a:gd name="T33" fmla="*/ 6 h 1641"/>
                <a:gd name="T34" fmla="*/ 1403 w 1818"/>
                <a:gd name="T35" fmla="*/ 101 h 1641"/>
                <a:gd name="T36" fmla="*/ 1534 w 1818"/>
                <a:gd name="T37" fmla="*/ 192 h 1641"/>
                <a:gd name="T38" fmla="*/ 1675 w 1818"/>
                <a:gd name="T39" fmla="*/ 336 h 1641"/>
                <a:gd name="T40" fmla="*/ 1715 w 1818"/>
                <a:gd name="T41" fmla="*/ 396 h 1641"/>
                <a:gd name="T42" fmla="*/ 1792 w 1818"/>
                <a:gd name="T43" fmla="*/ 599 h 1641"/>
                <a:gd name="T44" fmla="*/ 1818 w 1818"/>
                <a:gd name="T45" fmla="*/ 803 h 1641"/>
                <a:gd name="T46" fmla="*/ 1796 w 1818"/>
                <a:gd name="T47" fmla="*/ 1007 h 1641"/>
                <a:gd name="T48" fmla="*/ 1719 w 1818"/>
                <a:gd name="T49" fmla="*/ 1210 h 1641"/>
                <a:gd name="T50" fmla="*/ 1675 w 1818"/>
                <a:gd name="T51" fmla="*/ 1276 h 1641"/>
                <a:gd name="T52" fmla="*/ 1544 w 1818"/>
                <a:gd name="T53" fmla="*/ 1414 h 1641"/>
                <a:gd name="T54" fmla="*/ 1403 w 1818"/>
                <a:gd name="T55" fmla="*/ 1517 h 1641"/>
                <a:gd name="T56" fmla="*/ 1150 w 1818"/>
                <a:gd name="T57" fmla="*/ 1617 h 1641"/>
                <a:gd name="T58" fmla="*/ 1130 w 1818"/>
                <a:gd name="T59" fmla="*/ 1623 h 1641"/>
                <a:gd name="T60" fmla="*/ 856 w 1818"/>
                <a:gd name="T61" fmla="*/ 1641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18" h="1641">
                  <a:moveTo>
                    <a:pt x="856" y="1641"/>
                  </a:moveTo>
                  <a:lnTo>
                    <a:pt x="731" y="1617"/>
                  </a:lnTo>
                  <a:lnTo>
                    <a:pt x="583" y="1580"/>
                  </a:lnTo>
                  <a:lnTo>
                    <a:pt x="309" y="1432"/>
                  </a:lnTo>
                  <a:lnTo>
                    <a:pt x="286" y="1414"/>
                  </a:lnTo>
                  <a:lnTo>
                    <a:pt x="108" y="1210"/>
                  </a:lnTo>
                  <a:lnTo>
                    <a:pt x="36" y="1057"/>
                  </a:lnTo>
                  <a:lnTo>
                    <a:pt x="18" y="1007"/>
                  </a:lnTo>
                  <a:lnTo>
                    <a:pt x="0" y="803"/>
                  </a:lnTo>
                  <a:lnTo>
                    <a:pt x="36" y="620"/>
                  </a:lnTo>
                  <a:lnTo>
                    <a:pt x="42" y="599"/>
                  </a:lnTo>
                  <a:lnTo>
                    <a:pt x="163" y="396"/>
                  </a:lnTo>
                  <a:lnTo>
                    <a:pt x="309" y="237"/>
                  </a:lnTo>
                  <a:lnTo>
                    <a:pt x="372" y="192"/>
                  </a:lnTo>
                  <a:lnTo>
                    <a:pt x="583" y="76"/>
                  </a:lnTo>
                  <a:lnTo>
                    <a:pt x="856" y="0"/>
                  </a:lnTo>
                  <a:lnTo>
                    <a:pt x="1130" y="6"/>
                  </a:lnTo>
                  <a:lnTo>
                    <a:pt x="1403" y="101"/>
                  </a:lnTo>
                  <a:lnTo>
                    <a:pt x="1534" y="192"/>
                  </a:lnTo>
                  <a:lnTo>
                    <a:pt x="1675" y="336"/>
                  </a:lnTo>
                  <a:lnTo>
                    <a:pt x="1715" y="396"/>
                  </a:lnTo>
                  <a:lnTo>
                    <a:pt x="1792" y="599"/>
                  </a:lnTo>
                  <a:lnTo>
                    <a:pt x="1818" y="803"/>
                  </a:lnTo>
                  <a:lnTo>
                    <a:pt x="1796" y="1007"/>
                  </a:lnTo>
                  <a:lnTo>
                    <a:pt x="1719" y="1210"/>
                  </a:lnTo>
                  <a:lnTo>
                    <a:pt x="1675" y="1276"/>
                  </a:lnTo>
                  <a:lnTo>
                    <a:pt x="1544" y="1414"/>
                  </a:lnTo>
                  <a:lnTo>
                    <a:pt x="1403" y="1517"/>
                  </a:lnTo>
                  <a:lnTo>
                    <a:pt x="1150" y="1617"/>
                  </a:lnTo>
                  <a:lnTo>
                    <a:pt x="1130" y="1623"/>
                  </a:lnTo>
                  <a:lnTo>
                    <a:pt x="856" y="1641"/>
                  </a:lnTo>
                </a:path>
              </a:pathLst>
            </a:custGeom>
            <a:noFill/>
            <a:ln w="12700" cmpd="sng">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8735" name="Line 1183">
              <a:extLst>
                <a:ext uri="{FF2B5EF4-FFF2-40B4-BE49-F238E27FC236}">
                  <a16:creationId xmlns:a16="http://schemas.microsoft.com/office/drawing/2014/main" id="{A3E16ECE-CAAE-45C6-83F8-D7DF13BCDB96}"/>
                </a:ext>
              </a:extLst>
            </p:cNvPr>
            <p:cNvSpPr>
              <a:spLocks noChangeAspect="1" noChangeShapeType="1"/>
            </p:cNvSpPr>
            <p:nvPr/>
          </p:nvSpPr>
          <p:spPr bwMode="auto">
            <a:xfrm flipV="1">
              <a:off x="6419851" y="4084004"/>
              <a:ext cx="11113"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36" name="Line 1184">
              <a:extLst>
                <a:ext uri="{FF2B5EF4-FFF2-40B4-BE49-F238E27FC236}">
                  <a16:creationId xmlns:a16="http://schemas.microsoft.com/office/drawing/2014/main" id="{B2A68FB9-CD2F-4521-8663-97988EB42F2F}"/>
                </a:ext>
              </a:extLst>
            </p:cNvPr>
            <p:cNvSpPr>
              <a:spLocks noChangeAspect="1" noChangeShapeType="1"/>
            </p:cNvSpPr>
            <p:nvPr/>
          </p:nvSpPr>
          <p:spPr bwMode="auto">
            <a:xfrm flipV="1">
              <a:off x="6430964" y="4055429"/>
              <a:ext cx="28575"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37" name="Line 1185">
              <a:extLst>
                <a:ext uri="{FF2B5EF4-FFF2-40B4-BE49-F238E27FC236}">
                  <a16:creationId xmlns:a16="http://schemas.microsoft.com/office/drawing/2014/main" id="{9656EF3D-0E4B-423F-9B90-2EC521BE0D70}"/>
                </a:ext>
              </a:extLst>
            </p:cNvPr>
            <p:cNvSpPr>
              <a:spLocks noChangeAspect="1" noChangeShapeType="1"/>
            </p:cNvSpPr>
            <p:nvPr/>
          </p:nvSpPr>
          <p:spPr bwMode="auto">
            <a:xfrm flipV="1">
              <a:off x="6469064" y="4037966"/>
              <a:ext cx="9525"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38" name="Line 1186">
              <a:extLst>
                <a:ext uri="{FF2B5EF4-FFF2-40B4-BE49-F238E27FC236}">
                  <a16:creationId xmlns:a16="http://schemas.microsoft.com/office/drawing/2014/main" id="{A76D839F-A281-46CA-9A97-461F565E9924}"/>
                </a:ext>
              </a:extLst>
            </p:cNvPr>
            <p:cNvSpPr>
              <a:spLocks noChangeAspect="1" noChangeShapeType="1"/>
            </p:cNvSpPr>
            <p:nvPr/>
          </p:nvSpPr>
          <p:spPr bwMode="auto">
            <a:xfrm flipV="1">
              <a:off x="6478589" y="4007803"/>
              <a:ext cx="28575" cy="301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39" name="Line 1187">
              <a:extLst>
                <a:ext uri="{FF2B5EF4-FFF2-40B4-BE49-F238E27FC236}">
                  <a16:creationId xmlns:a16="http://schemas.microsoft.com/office/drawing/2014/main" id="{511D3A3A-0834-47A0-809A-4CA17C608475}"/>
                </a:ext>
              </a:extLst>
            </p:cNvPr>
            <p:cNvSpPr>
              <a:spLocks noChangeAspect="1" noChangeShapeType="1"/>
            </p:cNvSpPr>
            <p:nvPr/>
          </p:nvSpPr>
          <p:spPr bwMode="auto">
            <a:xfrm flipV="1">
              <a:off x="6516688" y="3991928"/>
              <a:ext cx="4762"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40" name="Line 1188">
              <a:extLst>
                <a:ext uri="{FF2B5EF4-FFF2-40B4-BE49-F238E27FC236}">
                  <a16:creationId xmlns:a16="http://schemas.microsoft.com/office/drawing/2014/main" id="{658A6576-44B3-4404-880A-078CD6AA1609}"/>
                </a:ext>
              </a:extLst>
            </p:cNvPr>
            <p:cNvSpPr>
              <a:spLocks noChangeAspect="1" noChangeShapeType="1"/>
            </p:cNvSpPr>
            <p:nvPr/>
          </p:nvSpPr>
          <p:spPr bwMode="auto">
            <a:xfrm flipV="1">
              <a:off x="6521451" y="3955416"/>
              <a:ext cx="30163" cy="365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41" name="Line 1189">
              <a:extLst>
                <a:ext uri="{FF2B5EF4-FFF2-40B4-BE49-F238E27FC236}">
                  <a16:creationId xmlns:a16="http://schemas.microsoft.com/office/drawing/2014/main" id="{22790B42-F2CF-41FD-AD31-E6867C598513}"/>
                </a:ext>
              </a:extLst>
            </p:cNvPr>
            <p:cNvSpPr>
              <a:spLocks noChangeAspect="1" noChangeShapeType="1"/>
            </p:cNvSpPr>
            <p:nvPr/>
          </p:nvSpPr>
          <p:spPr bwMode="auto">
            <a:xfrm flipV="1">
              <a:off x="6561138" y="3899853"/>
              <a:ext cx="30162"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42" name="Line 1190">
              <a:extLst>
                <a:ext uri="{FF2B5EF4-FFF2-40B4-BE49-F238E27FC236}">
                  <a16:creationId xmlns:a16="http://schemas.microsoft.com/office/drawing/2014/main" id="{DE315289-2B41-43AB-B87C-901E2A8AF371}"/>
                </a:ext>
              </a:extLst>
            </p:cNvPr>
            <p:cNvSpPr>
              <a:spLocks noChangeAspect="1" noChangeShapeType="1"/>
            </p:cNvSpPr>
            <p:nvPr/>
          </p:nvSpPr>
          <p:spPr bwMode="auto">
            <a:xfrm flipV="1">
              <a:off x="6591300" y="3898265"/>
              <a:ext cx="15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43" name="Line 1191">
              <a:extLst>
                <a:ext uri="{FF2B5EF4-FFF2-40B4-BE49-F238E27FC236}">
                  <a16:creationId xmlns:a16="http://schemas.microsoft.com/office/drawing/2014/main" id="{8D9980CC-5DB7-46C5-81D8-84856167D142}"/>
                </a:ext>
              </a:extLst>
            </p:cNvPr>
            <p:cNvSpPr>
              <a:spLocks noChangeAspect="1" noChangeShapeType="1"/>
            </p:cNvSpPr>
            <p:nvPr/>
          </p:nvSpPr>
          <p:spPr bwMode="auto">
            <a:xfrm flipV="1">
              <a:off x="6597650" y="3876041"/>
              <a:ext cx="6350"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44" name="Line 1192">
              <a:extLst>
                <a:ext uri="{FF2B5EF4-FFF2-40B4-BE49-F238E27FC236}">
                  <a16:creationId xmlns:a16="http://schemas.microsoft.com/office/drawing/2014/main" id="{922890D4-40B2-4F30-85C3-784CB56302E8}"/>
                </a:ext>
              </a:extLst>
            </p:cNvPr>
            <p:cNvSpPr>
              <a:spLocks noChangeAspect="1" noChangeShapeType="1"/>
            </p:cNvSpPr>
            <p:nvPr/>
          </p:nvSpPr>
          <p:spPr bwMode="auto">
            <a:xfrm flipV="1">
              <a:off x="6604001" y="3853816"/>
              <a:ext cx="11113"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45" name="Line 1193">
              <a:extLst>
                <a:ext uri="{FF2B5EF4-FFF2-40B4-BE49-F238E27FC236}">
                  <a16:creationId xmlns:a16="http://schemas.microsoft.com/office/drawing/2014/main" id="{06CC121E-B8B2-4C0C-A341-92D52E157A46}"/>
                </a:ext>
              </a:extLst>
            </p:cNvPr>
            <p:cNvSpPr>
              <a:spLocks noChangeAspect="1" noChangeShapeType="1"/>
            </p:cNvSpPr>
            <p:nvPr/>
          </p:nvSpPr>
          <p:spPr bwMode="auto">
            <a:xfrm flipV="1">
              <a:off x="6615114" y="3833179"/>
              <a:ext cx="7937"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46" name="Line 1194">
              <a:extLst>
                <a:ext uri="{FF2B5EF4-FFF2-40B4-BE49-F238E27FC236}">
                  <a16:creationId xmlns:a16="http://schemas.microsoft.com/office/drawing/2014/main" id="{090F3B69-80A4-4A86-A029-56F7E36A5919}"/>
                </a:ext>
              </a:extLst>
            </p:cNvPr>
            <p:cNvSpPr>
              <a:spLocks noChangeAspect="1" noChangeShapeType="1"/>
            </p:cNvSpPr>
            <p:nvPr/>
          </p:nvSpPr>
          <p:spPr bwMode="auto">
            <a:xfrm flipV="1">
              <a:off x="6627814" y="3809366"/>
              <a:ext cx="3175"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47" name="Line 1195">
              <a:extLst>
                <a:ext uri="{FF2B5EF4-FFF2-40B4-BE49-F238E27FC236}">
                  <a16:creationId xmlns:a16="http://schemas.microsoft.com/office/drawing/2014/main" id="{F7B499B1-93F4-4EA6-A139-4BDA2263EC59}"/>
                </a:ext>
              </a:extLst>
            </p:cNvPr>
            <p:cNvSpPr>
              <a:spLocks noChangeAspect="1" noChangeShapeType="1"/>
            </p:cNvSpPr>
            <p:nvPr/>
          </p:nvSpPr>
          <p:spPr bwMode="auto">
            <a:xfrm flipV="1">
              <a:off x="6630989" y="3763329"/>
              <a:ext cx="7937"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48" name="Line 1196">
              <a:extLst>
                <a:ext uri="{FF2B5EF4-FFF2-40B4-BE49-F238E27FC236}">
                  <a16:creationId xmlns:a16="http://schemas.microsoft.com/office/drawing/2014/main" id="{BC126A9C-9DBE-432A-BE18-8F5971472BAC}"/>
                </a:ext>
              </a:extLst>
            </p:cNvPr>
            <p:cNvSpPr>
              <a:spLocks noChangeAspect="1" noChangeShapeType="1"/>
            </p:cNvSpPr>
            <p:nvPr/>
          </p:nvSpPr>
          <p:spPr bwMode="auto">
            <a:xfrm flipV="1">
              <a:off x="6638925" y="3760154"/>
              <a:ext cx="1588"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49" name="Line 1197">
              <a:extLst>
                <a:ext uri="{FF2B5EF4-FFF2-40B4-BE49-F238E27FC236}">
                  <a16:creationId xmlns:a16="http://schemas.microsoft.com/office/drawing/2014/main" id="{271437E8-35EE-40AC-8501-8271D4A98303}"/>
                </a:ext>
              </a:extLst>
            </p:cNvPr>
            <p:cNvSpPr>
              <a:spLocks noChangeAspect="1" noChangeShapeType="1"/>
            </p:cNvSpPr>
            <p:nvPr/>
          </p:nvSpPr>
          <p:spPr bwMode="auto">
            <a:xfrm flipV="1">
              <a:off x="6638925" y="3717291"/>
              <a:ext cx="1588"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50" name="Line 1198">
              <a:extLst>
                <a:ext uri="{FF2B5EF4-FFF2-40B4-BE49-F238E27FC236}">
                  <a16:creationId xmlns:a16="http://schemas.microsoft.com/office/drawing/2014/main" id="{59FE337B-5157-4E52-A355-B40779E16756}"/>
                </a:ext>
              </a:extLst>
            </p:cNvPr>
            <p:cNvSpPr>
              <a:spLocks noChangeAspect="1" noChangeShapeType="1"/>
            </p:cNvSpPr>
            <p:nvPr/>
          </p:nvSpPr>
          <p:spPr bwMode="auto">
            <a:xfrm flipH="1" flipV="1">
              <a:off x="6634163" y="3685540"/>
              <a:ext cx="4762"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51" name="Line 1199">
              <a:extLst>
                <a:ext uri="{FF2B5EF4-FFF2-40B4-BE49-F238E27FC236}">
                  <a16:creationId xmlns:a16="http://schemas.microsoft.com/office/drawing/2014/main" id="{359C3033-538A-44FD-8B21-4A86255E340E}"/>
                </a:ext>
              </a:extLst>
            </p:cNvPr>
            <p:cNvSpPr>
              <a:spLocks noChangeAspect="1" noChangeShapeType="1"/>
            </p:cNvSpPr>
            <p:nvPr/>
          </p:nvSpPr>
          <p:spPr bwMode="auto">
            <a:xfrm>
              <a:off x="6634163" y="3671254"/>
              <a:ext cx="0"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52" name="Line 1200">
              <a:extLst>
                <a:ext uri="{FF2B5EF4-FFF2-40B4-BE49-F238E27FC236}">
                  <a16:creationId xmlns:a16="http://schemas.microsoft.com/office/drawing/2014/main" id="{CE7197E2-8159-406A-B16D-AF57186E8789}"/>
                </a:ext>
              </a:extLst>
            </p:cNvPr>
            <p:cNvSpPr>
              <a:spLocks noChangeAspect="1" noChangeShapeType="1"/>
            </p:cNvSpPr>
            <p:nvPr/>
          </p:nvSpPr>
          <p:spPr bwMode="auto">
            <a:xfrm flipH="1" flipV="1">
              <a:off x="6624639" y="3625215"/>
              <a:ext cx="9525" cy="460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53" name="Line 1201">
              <a:extLst>
                <a:ext uri="{FF2B5EF4-FFF2-40B4-BE49-F238E27FC236}">
                  <a16:creationId xmlns:a16="http://schemas.microsoft.com/office/drawing/2014/main" id="{2B338F04-CA42-4494-B11A-6732956DD8F7}"/>
                </a:ext>
              </a:extLst>
            </p:cNvPr>
            <p:cNvSpPr>
              <a:spLocks noChangeAspect="1" noChangeShapeType="1"/>
            </p:cNvSpPr>
            <p:nvPr/>
          </p:nvSpPr>
          <p:spPr bwMode="auto">
            <a:xfrm flipH="1" flipV="1">
              <a:off x="6621464" y="3614103"/>
              <a:ext cx="3175"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54" name="Line 1202">
              <a:extLst>
                <a:ext uri="{FF2B5EF4-FFF2-40B4-BE49-F238E27FC236}">
                  <a16:creationId xmlns:a16="http://schemas.microsoft.com/office/drawing/2014/main" id="{414317A9-7E7A-4ADA-9E00-5E2601C5D5DF}"/>
                </a:ext>
              </a:extLst>
            </p:cNvPr>
            <p:cNvSpPr>
              <a:spLocks noChangeAspect="1" noChangeShapeType="1"/>
            </p:cNvSpPr>
            <p:nvPr/>
          </p:nvSpPr>
          <p:spPr bwMode="auto">
            <a:xfrm flipH="1" flipV="1">
              <a:off x="6611938" y="3579178"/>
              <a:ext cx="4762"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55" name="Line 1203">
              <a:extLst>
                <a:ext uri="{FF2B5EF4-FFF2-40B4-BE49-F238E27FC236}">
                  <a16:creationId xmlns:a16="http://schemas.microsoft.com/office/drawing/2014/main" id="{9C148419-1588-4B9E-B448-AD298703D5CF}"/>
                </a:ext>
              </a:extLst>
            </p:cNvPr>
            <p:cNvSpPr>
              <a:spLocks noChangeAspect="1" noChangeShapeType="1"/>
            </p:cNvSpPr>
            <p:nvPr/>
          </p:nvSpPr>
          <p:spPr bwMode="auto">
            <a:xfrm flipH="1" flipV="1">
              <a:off x="6604000" y="3558540"/>
              <a:ext cx="7938"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56" name="Line 1204">
              <a:extLst>
                <a:ext uri="{FF2B5EF4-FFF2-40B4-BE49-F238E27FC236}">
                  <a16:creationId xmlns:a16="http://schemas.microsoft.com/office/drawing/2014/main" id="{4342E561-2C9D-4AD2-B8B2-32CF2B80BCA3}"/>
                </a:ext>
              </a:extLst>
            </p:cNvPr>
            <p:cNvSpPr>
              <a:spLocks noChangeAspect="1" noChangeShapeType="1"/>
            </p:cNvSpPr>
            <p:nvPr/>
          </p:nvSpPr>
          <p:spPr bwMode="auto">
            <a:xfrm flipH="1" flipV="1">
              <a:off x="6599238" y="3541078"/>
              <a:ext cx="4762"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57" name="Line 1205">
              <a:extLst>
                <a:ext uri="{FF2B5EF4-FFF2-40B4-BE49-F238E27FC236}">
                  <a16:creationId xmlns:a16="http://schemas.microsoft.com/office/drawing/2014/main" id="{736FED43-A844-47DA-B37E-D6E25AB3BED0}"/>
                </a:ext>
              </a:extLst>
            </p:cNvPr>
            <p:cNvSpPr>
              <a:spLocks noChangeAspect="1" noChangeShapeType="1"/>
            </p:cNvSpPr>
            <p:nvPr/>
          </p:nvSpPr>
          <p:spPr bwMode="auto">
            <a:xfrm flipH="1" flipV="1">
              <a:off x="6581775" y="3487104"/>
              <a:ext cx="14288" cy="412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58" name="Line 1206">
              <a:extLst>
                <a:ext uri="{FF2B5EF4-FFF2-40B4-BE49-F238E27FC236}">
                  <a16:creationId xmlns:a16="http://schemas.microsoft.com/office/drawing/2014/main" id="{8C0E49C3-56C8-4055-90C1-A633BE868285}"/>
                </a:ext>
              </a:extLst>
            </p:cNvPr>
            <p:cNvSpPr>
              <a:spLocks noChangeAspect="1" noChangeShapeType="1"/>
            </p:cNvSpPr>
            <p:nvPr/>
          </p:nvSpPr>
          <p:spPr bwMode="auto">
            <a:xfrm flipH="1" flipV="1">
              <a:off x="6577013" y="3471229"/>
              <a:ext cx="4762"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59" name="Line 1207">
              <a:extLst>
                <a:ext uri="{FF2B5EF4-FFF2-40B4-BE49-F238E27FC236}">
                  <a16:creationId xmlns:a16="http://schemas.microsoft.com/office/drawing/2014/main" id="{1186E4FA-AEF9-4B1C-A137-AB13247CA004}"/>
                </a:ext>
              </a:extLst>
            </p:cNvPr>
            <p:cNvSpPr>
              <a:spLocks noChangeAspect="1" noChangeShapeType="1"/>
            </p:cNvSpPr>
            <p:nvPr/>
          </p:nvSpPr>
          <p:spPr bwMode="auto">
            <a:xfrm flipH="1" flipV="1">
              <a:off x="6567488" y="3442654"/>
              <a:ext cx="4762"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60" name="Line 1208">
              <a:extLst>
                <a:ext uri="{FF2B5EF4-FFF2-40B4-BE49-F238E27FC236}">
                  <a16:creationId xmlns:a16="http://schemas.microsoft.com/office/drawing/2014/main" id="{17274478-22DA-4B12-9F5E-2B6D0318BC00}"/>
                </a:ext>
              </a:extLst>
            </p:cNvPr>
            <p:cNvSpPr>
              <a:spLocks noChangeAspect="1" noChangeShapeType="1"/>
            </p:cNvSpPr>
            <p:nvPr/>
          </p:nvSpPr>
          <p:spPr bwMode="auto">
            <a:xfrm flipH="1" flipV="1">
              <a:off x="6557964" y="3418841"/>
              <a:ext cx="9525" cy="238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61" name="Line 1209">
              <a:extLst>
                <a:ext uri="{FF2B5EF4-FFF2-40B4-BE49-F238E27FC236}">
                  <a16:creationId xmlns:a16="http://schemas.microsoft.com/office/drawing/2014/main" id="{8DB544C7-7356-456B-989A-7A205C06FD83}"/>
                </a:ext>
              </a:extLst>
            </p:cNvPr>
            <p:cNvSpPr>
              <a:spLocks noChangeAspect="1" noChangeShapeType="1"/>
            </p:cNvSpPr>
            <p:nvPr/>
          </p:nvSpPr>
          <p:spPr bwMode="auto">
            <a:xfrm flipH="1" flipV="1">
              <a:off x="6551613" y="3402966"/>
              <a:ext cx="6350"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62" name="Line 1210">
              <a:extLst>
                <a:ext uri="{FF2B5EF4-FFF2-40B4-BE49-F238E27FC236}">
                  <a16:creationId xmlns:a16="http://schemas.microsoft.com/office/drawing/2014/main" id="{8C6CFD25-A322-423E-AA53-95C23181AAE4}"/>
                </a:ext>
              </a:extLst>
            </p:cNvPr>
            <p:cNvSpPr>
              <a:spLocks noChangeAspect="1" noChangeShapeType="1"/>
            </p:cNvSpPr>
            <p:nvPr/>
          </p:nvSpPr>
          <p:spPr bwMode="auto">
            <a:xfrm flipH="1" flipV="1">
              <a:off x="6534150" y="3350578"/>
              <a:ext cx="14288"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63" name="Line 1211">
              <a:extLst>
                <a:ext uri="{FF2B5EF4-FFF2-40B4-BE49-F238E27FC236}">
                  <a16:creationId xmlns:a16="http://schemas.microsoft.com/office/drawing/2014/main" id="{F58029DF-8F53-4A2A-8CFB-EB514C071456}"/>
                </a:ext>
              </a:extLst>
            </p:cNvPr>
            <p:cNvSpPr>
              <a:spLocks noChangeAspect="1" noChangeShapeType="1"/>
            </p:cNvSpPr>
            <p:nvPr/>
          </p:nvSpPr>
          <p:spPr bwMode="auto">
            <a:xfrm flipH="1" flipV="1">
              <a:off x="6529388" y="3333116"/>
              <a:ext cx="4762"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64" name="Line 1212">
              <a:extLst>
                <a:ext uri="{FF2B5EF4-FFF2-40B4-BE49-F238E27FC236}">
                  <a16:creationId xmlns:a16="http://schemas.microsoft.com/office/drawing/2014/main" id="{C55C7342-8B23-4EAD-9FE5-F9464E8421CD}"/>
                </a:ext>
              </a:extLst>
            </p:cNvPr>
            <p:cNvSpPr>
              <a:spLocks noChangeAspect="1" noChangeShapeType="1"/>
            </p:cNvSpPr>
            <p:nvPr/>
          </p:nvSpPr>
          <p:spPr bwMode="auto">
            <a:xfrm flipH="1" flipV="1">
              <a:off x="6521451" y="3306128"/>
              <a:ext cx="3175"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65" name="Line 1213">
              <a:extLst>
                <a:ext uri="{FF2B5EF4-FFF2-40B4-BE49-F238E27FC236}">
                  <a16:creationId xmlns:a16="http://schemas.microsoft.com/office/drawing/2014/main" id="{6B6F6482-EEB2-48AE-B04F-5C33D37C6CE7}"/>
                </a:ext>
              </a:extLst>
            </p:cNvPr>
            <p:cNvSpPr>
              <a:spLocks noChangeAspect="1" noChangeShapeType="1"/>
            </p:cNvSpPr>
            <p:nvPr/>
          </p:nvSpPr>
          <p:spPr bwMode="auto">
            <a:xfrm flipH="1" flipV="1">
              <a:off x="6511926" y="3277554"/>
              <a:ext cx="9525"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66" name="Line 1214">
              <a:extLst>
                <a:ext uri="{FF2B5EF4-FFF2-40B4-BE49-F238E27FC236}">
                  <a16:creationId xmlns:a16="http://schemas.microsoft.com/office/drawing/2014/main" id="{AE599A6E-86B9-40DA-AF52-E959E387F85D}"/>
                </a:ext>
              </a:extLst>
            </p:cNvPr>
            <p:cNvSpPr>
              <a:spLocks noChangeAspect="1" noChangeShapeType="1"/>
            </p:cNvSpPr>
            <p:nvPr/>
          </p:nvSpPr>
          <p:spPr bwMode="auto">
            <a:xfrm flipH="1" flipV="1">
              <a:off x="6507163" y="3261679"/>
              <a:ext cx="4762"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67" name="Line 1215">
              <a:extLst>
                <a:ext uri="{FF2B5EF4-FFF2-40B4-BE49-F238E27FC236}">
                  <a16:creationId xmlns:a16="http://schemas.microsoft.com/office/drawing/2014/main" id="{23D70E84-3538-47D9-BFF7-5C2BFA15B236}"/>
                </a:ext>
              </a:extLst>
            </p:cNvPr>
            <p:cNvSpPr>
              <a:spLocks noChangeAspect="1" noChangeShapeType="1"/>
            </p:cNvSpPr>
            <p:nvPr/>
          </p:nvSpPr>
          <p:spPr bwMode="auto">
            <a:xfrm flipH="1" flipV="1">
              <a:off x="6492876" y="3214054"/>
              <a:ext cx="11113"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68" name="Line 1216">
              <a:extLst>
                <a:ext uri="{FF2B5EF4-FFF2-40B4-BE49-F238E27FC236}">
                  <a16:creationId xmlns:a16="http://schemas.microsoft.com/office/drawing/2014/main" id="{9FE7ABDF-DA9E-4D37-8446-C040565E8DD1}"/>
                </a:ext>
              </a:extLst>
            </p:cNvPr>
            <p:cNvSpPr>
              <a:spLocks noChangeAspect="1" noChangeShapeType="1"/>
            </p:cNvSpPr>
            <p:nvPr/>
          </p:nvSpPr>
          <p:spPr bwMode="auto">
            <a:xfrm flipH="1" flipV="1">
              <a:off x="6488113" y="3191829"/>
              <a:ext cx="4762"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69" name="Line 1217">
              <a:extLst>
                <a:ext uri="{FF2B5EF4-FFF2-40B4-BE49-F238E27FC236}">
                  <a16:creationId xmlns:a16="http://schemas.microsoft.com/office/drawing/2014/main" id="{F98E647F-DE3D-4065-B5BB-7C1DAA983502}"/>
                </a:ext>
              </a:extLst>
            </p:cNvPr>
            <p:cNvSpPr>
              <a:spLocks noChangeAspect="1" noChangeShapeType="1"/>
            </p:cNvSpPr>
            <p:nvPr/>
          </p:nvSpPr>
          <p:spPr bwMode="auto">
            <a:xfrm flipH="1" flipV="1">
              <a:off x="6480176" y="3168016"/>
              <a:ext cx="3175"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70" name="Line 1218">
              <a:extLst>
                <a:ext uri="{FF2B5EF4-FFF2-40B4-BE49-F238E27FC236}">
                  <a16:creationId xmlns:a16="http://schemas.microsoft.com/office/drawing/2014/main" id="{F6947CD1-5042-4E51-A8BD-F6496013B842}"/>
                </a:ext>
              </a:extLst>
            </p:cNvPr>
            <p:cNvSpPr>
              <a:spLocks noChangeAspect="1" noChangeShapeType="1"/>
            </p:cNvSpPr>
            <p:nvPr/>
          </p:nvSpPr>
          <p:spPr bwMode="auto">
            <a:xfrm flipH="1" flipV="1">
              <a:off x="6470651" y="3121979"/>
              <a:ext cx="9525"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71" name="Line 1219">
              <a:extLst>
                <a:ext uri="{FF2B5EF4-FFF2-40B4-BE49-F238E27FC236}">
                  <a16:creationId xmlns:a16="http://schemas.microsoft.com/office/drawing/2014/main" id="{C06B55D2-8C93-48BA-9D2D-D492C3F093BA}"/>
                </a:ext>
              </a:extLst>
            </p:cNvPr>
            <p:cNvSpPr>
              <a:spLocks noChangeAspect="1" noChangeShapeType="1"/>
            </p:cNvSpPr>
            <p:nvPr/>
          </p:nvSpPr>
          <p:spPr bwMode="auto">
            <a:xfrm flipH="1" flipV="1">
              <a:off x="6470650" y="3118804"/>
              <a:ext cx="0"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72" name="Line 1220">
              <a:extLst>
                <a:ext uri="{FF2B5EF4-FFF2-40B4-BE49-F238E27FC236}">
                  <a16:creationId xmlns:a16="http://schemas.microsoft.com/office/drawing/2014/main" id="{9E5663BB-ED2D-4538-8F1C-9AEFB45D3447}"/>
                </a:ext>
              </a:extLst>
            </p:cNvPr>
            <p:cNvSpPr>
              <a:spLocks noChangeAspect="1" noChangeShapeType="1"/>
            </p:cNvSpPr>
            <p:nvPr/>
          </p:nvSpPr>
          <p:spPr bwMode="auto">
            <a:xfrm flipV="1">
              <a:off x="6465889" y="3104515"/>
              <a:ext cx="1587"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73" name="Line 1221">
              <a:extLst>
                <a:ext uri="{FF2B5EF4-FFF2-40B4-BE49-F238E27FC236}">
                  <a16:creationId xmlns:a16="http://schemas.microsoft.com/office/drawing/2014/main" id="{9A9E7B88-C099-4606-BD62-DE02837AB661}"/>
                </a:ext>
              </a:extLst>
            </p:cNvPr>
            <p:cNvSpPr>
              <a:spLocks noChangeAspect="1" noChangeShapeType="1"/>
            </p:cNvSpPr>
            <p:nvPr/>
          </p:nvSpPr>
          <p:spPr bwMode="auto">
            <a:xfrm flipH="1" flipV="1">
              <a:off x="6459538" y="3075941"/>
              <a:ext cx="6350"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74" name="Line 1222">
              <a:extLst>
                <a:ext uri="{FF2B5EF4-FFF2-40B4-BE49-F238E27FC236}">
                  <a16:creationId xmlns:a16="http://schemas.microsoft.com/office/drawing/2014/main" id="{BABE2424-828E-4809-AC8F-5EF13C497F7D}"/>
                </a:ext>
              </a:extLst>
            </p:cNvPr>
            <p:cNvSpPr>
              <a:spLocks noChangeAspect="1" noChangeShapeType="1"/>
            </p:cNvSpPr>
            <p:nvPr/>
          </p:nvSpPr>
          <p:spPr bwMode="auto">
            <a:xfrm flipH="1" flipV="1">
              <a:off x="6453188" y="3045778"/>
              <a:ext cx="6350" cy="301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75" name="Line 1223">
              <a:extLst>
                <a:ext uri="{FF2B5EF4-FFF2-40B4-BE49-F238E27FC236}">
                  <a16:creationId xmlns:a16="http://schemas.microsoft.com/office/drawing/2014/main" id="{755071DA-60F7-4838-BC6D-13B929BE2BAC}"/>
                </a:ext>
              </a:extLst>
            </p:cNvPr>
            <p:cNvSpPr>
              <a:spLocks noChangeAspect="1" noChangeShapeType="1"/>
            </p:cNvSpPr>
            <p:nvPr/>
          </p:nvSpPr>
          <p:spPr bwMode="auto">
            <a:xfrm flipH="1" flipV="1">
              <a:off x="6450014" y="3029904"/>
              <a:ext cx="1587"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76" name="Line 1224">
              <a:extLst>
                <a:ext uri="{FF2B5EF4-FFF2-40B4-BE49-F238E27FC236}">
                  <a16:creationId xmlns:a16="http://schemas.microsoft.com/office/drawing/2014/main" id="{7A8A9FAE-9A12-4C9B-B4FA-837B2522FABC}"/>
                </a:ext>
              </a:extLst>
            </p:cNvPr>
            <p:cNvSpPr>
              <a:spLocks noChangeAspect="1" noChangeShapeType="1"/>
            </p:cNvSpPr>
            <p:nvPr/>
          </p:nvSpPr>
          <p:spPr bwMode="auto">
            <a:xfrm flipH="1" flipV="1">
              <a:off x="6443663" y="2983865"/>
              <a:ext cx="6350" cy="460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77" name="Line 1225">
              <a:extLst>
                <a:ext uri="{FF2B5EF4-FFF2-40B4-BE49-F238E27FC236}">
                  <a16:creationId xmlns:a16="http://schemas.microsoft.com/office/drawing/2014/main" id="{C0DA06C6-7A98-4CEE-A9A6-A382B0BA0F96}"/>
                </a:ext>
              </a:extLst>
            </p:cNvPr>
            <p:cNvSpPr>
              <a:spLocks noChangeAspect="1" noChangeShapeType="1"/>
            </p:cNvSpPr>
            <p:nvPr/>
          </p:nvSpPr>
          <p:spPr bwMode="auto">
            <a:xfrm flipH="1" flipV="1">
              <a:off x="6440489" y="2972753"/>
              <a:ext cx="3175"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78" name="Line 1226">
              <a:extLst>
                <a:ext uri="{FF2B5EF4-FFF2-40B4-BE49-F238E27FC236}">
                  <a16:creationId xmlns:a16="http://schemas.microsoft.com/office/drawing/2014/main" id="{79F65BEF-284B-412D-82F2-5FA0CCEF825E}"/>
                </a:ext>
              </a:extLst>
            </p:cNvPr>
            <p:cNvSpPr>
              <a:spLocks noChangeAspect="1" noChangeShapeType="1"/>
            </p:cNvSpPr>
            <p:nvPr/>
          </p:nvSpPr>
          <p:spPr bwMode="auto">
            <a:xfrm flipH="1" flipV="1">
              <a:off x="6435726" y="2937829"/>
              <a:ext cx="3175"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79" name="Line 1227">
              <a:extLst>
                <a:ext uri="{FF2B5EF4-FFF2-40B4-BE49-F238E27FC236}">
                  <a16:creationId xmlns:a16="http://schemas.microsoft.com/office/drawing/2014/main" id="{AEF6E538-646C-4304-BADA-A39D1992F21C}"/>
                </a:ext>
              </a:extLst>
            </p:cNvPr>
            <p:cNvSpPr>
              <a:spLocks noChangeAspect="1" noChangeShapeType="1"/>
            </p:cNvSpPr>
            <p:nvPr/>
          </p:nvSpPr>
          <p:spPr bwMode="auto">
            <a:xfrm flipH="1" flipV="1">
              <a:off x="6430963" y="2899728"/>
              <a:ext cx="4762"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80" name="Line 1228">
              <a:extLst>
                <a:ext uri="{FF2B5EF4-FFF2-40B4-BE49-F238E27FC236}">
                  <a16:creationId xmlns:a16="http://schemas.microsoft.com/office/drawing/2014/main" id="{E16D6014-0AFB-4122-81BA-1E6E833A13AB}"/>
                </a:ext>
              </a:extLst>
            </p:cNvPr>
            <p:cNvSpPr>
              <a:spLocks noChangeAspect="1" noChangeShapeType="1"/>
            </p:cNvSpPr>
            <p:nvPr/>
          </p:nvSpPr>
          <p:spPr bwMode="auto">
            <a:xfrm flipH="1" flipV="1">
              <a:off x="6426201" y="2845753"/>
              <a:ext cx="3175"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81" name="Line 1229">
              <a:extLst>
                <a:ext uri="{FF2B5EF4-FFF2-40B4-BE49-F238E27FC236}">
                  <a16:creationId xmlns:a16="http://schemas.microsoft.com/office/drawing/2014/main" id="{7DC3A9BD-2FFD-4131-B4D1-00CF0504F1E9}"/>
                </a:ext>
              </a:extLst>
            </p:cNvPr>
            <p:cNvSpPr>
              <a:spLocks noChangeAspect="1" noChangeShapeType="1"/>
            </p:cNvSpPr>
            <p:nvPr/>
          </p:nvSpPr>
          <p:spPr bwMode="auto">
            <a:xfrm flipH="1" flipV="1">
              <a:off x="6426200" y="2823529"/>
              <a:ext cx="0"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82" name="Line 1230">
              <a:extLst>
                <a:ext uri="{FF2B5EF4-FFF2-40B4-BE49-F238E27FC236}">
                  <a16:creationId xmlns:a16="http://schemas.microsoft.com/office/drawing/2014/main" id="{D4383131-06A9-4D3D-87C4-48077BEE0A08}"/>
                </a:ext>
              </a:extLst>
            </p:cNvPr>
            <p:cNvSpPr>
              <a:spLocks noChangeAspect="1" noChangeShapeType="1"/>
            </p:cNvSpPr>
            <p:nvPr/>
          </p:nvSpPr>
          <p:spPr bwMode="auto">
            <a:xfrm flipH="1" flipV="1">
              <a:off x="6424614" y="2801304"/>
              <a:ext cx="1587"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83" name="Line 1231">
              <a:extLst>
                <a:ext uri="{FF2B5EF4-FFF2-40B4-BE49-F238E27FC236}">
                  <a16:creationId xmlns:a16="http://schemas.microsoft.com/office/drawing/2014/main" id="{736C83FB-5261-43AB-A6BE-A63A72BC0FF2}"/>
                </a:ext>
              </a:extLst>
            </p:cNvPr>
            <p:cNvSpPr>
              <a:spLocks noChangeAspect="1" noChangeShapeType="1"/>
            </p:cNvSpPr>
            <p:nvPr/>
          </p:nvSpPr>
          <p:spPr bwMode="auto">
            <a:xfrm flipH="1" flipV="1">
              <a:off x="6423025" y="2755265"/>
              <a:ext cx="1588" cy="460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84" name="Line 1232">
              <a:extLst>
                <a:ext uri="{FF2B5EF4-FFF2-40B4-BE49-F238E27FC236}">
                  <a16:creationId xmlns:a16="http://schemas.microsoft.com/office/drawing/2014/main" id="{E043CF50-E813-495A-AB78-63C53BB9ADFD}"/>
                </a:ext>
              </a:extLst>
            </p:cNvPr>
            <p:cNvSpPr>
              <a:spLocks noChangeAspect="1" noChangeShapeType="1"/>
            </p:cNvSpPr>
            <p:nvPr/>
          </p:nvSpPr>
          <p:spPr bwMode="auto">
            <a:xfrm flipV="1">
              <a:off x="6423025" y="2747329"/>
              <a:ext cx="1588"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85" name="Line 1233">
              <a:extLst>
                <a:ext uri="{FF2B5EF4-FFF2-40B4-BE49-F238E27FC236}">
                  <a16:creationId xmlns:a16="http://schemas.microsoft.com/office/drawing/2014/main" id="{9D8D0EED-C886-4455-A922-81EFF92AECA4}"/>
                </a:ext>
              </a:extLst>
            </p:cNvPr>
            <p:cNvSpPr>
              <a:spLocks noChangeAspect="1" noChangeShapeType="1"/>
            </p:cNvSpPr>
            <p:nvPr/>
          </p:nvSpPr>
          <p:spPr bwMode="auto">
            <a:xfrm flipH="1" flipV="1">
              <a:off x="6421439" y="2710816"/>
              <a:ext cx="1587"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86" name="Line 1234">
              <a:extLst>
                <a:ext uri="{FF2B5EF4-FFF2-40B4-BE49-F238E27FC236}">
                  <a16:creationId xmlns:a16="http://schemas.microsoft.com/office/drawing/2014/main" id="{80EDFD09-8072-4AC0-9DB4-EB357A7B3879}"/>
                </a:ext>
              </a:extLst>
            </p:cNvPr>
            <p:cNvSpPr>
              <a:spLocks noChangeAspect="1" noChangeShapeType="1"/>
            </p:cNvSpPr>
            <p:nvPr/>
          </p:nvSpPr>
          <p:spPr bwMode="auto">
            <a:xfrm flipV="1">
              <a:off x="6421439" y="2674303"/>
              <a:ext cx="1587" cy="365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87" name="Line 1235">
              <a:extLst>
                <a:ext uri="{FF2B5EF4-FFF2-40B4-BE49-F238E27FC236}">
                  <a16:creationId xmlns:a16="http://schemas.microsoft.com/office/drawing/2014/main" id="{4A786C06-78FD-44E5-BFB4-AC337A9461BF}"/>
                </a:ext>
              </a:extLst>
            </p:cNvPr>
            <p:cNvSpPr>
              <a:spLocks noChangeAspect="1" noChangeShapeType="1"/>
            </p:cNvSpPr>
            <p:nvPr/>
          </p:nvSpPr>
          <p:spPr bwMode="auto">
            <a:xfrm flipV="1">
              <a:off x="6423026" y="2618740"/>
              <a:ext cx="3175" cy="396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88" name="Line 1236">
              <a:extLst>
                <a:ext uri="{FF2B5EF4-FFF2-40B4-BE49-F238E27FC236}">
                  <a16:creationId xmlns:a16="http://schemas.microsoft.com/office/drawing/2014/main" id="{BA0B7947-945C-4ABB-80FA-DCFC90C53E0C}"/>
                </a:ext>
              </a:extLst>
            </p:cNvPr>
            <p:cNvSpPr>
              <a:spLocks noChangeAspect="1" noChangeShapeType="1"/>
            </p:cNvSpPr>
            <p:nvPr/>
          </p:nvSpPr>
          <p:spPr bwMode="auto">
            <a:xfrm flipV="1">
              <a:off x="6426200" y="2598104"/>
              <a:ext cx="0"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89" name="Line 1237">
              <a:extLst>
                <a:ext uri="{FF2B5EF4-FFF2-40B4-BE49-F238E27FC236}">
                  <a16:creationId xmlns:a16="http://schemas.microsoft.com/office/drawing/2014/main" id="{BA897535-71C5-49DA-A0BE-04A77B277104}"/>
                </a:ext>
              </a:extLst>
            </p:cNvPr>
            <p:cNvSpPr>
              <a:spLocks noChangeAspect="1" noChangeShapeType="1"/>
            </p:cNvSpPr>
            <p:nvPr/>
          </p:nvSpPr>
          <p:spPr bwMode="auto">
            <a:xfrm flipV="1">
              <a:off x="6427789" y="2572703"/>
              <a:ext cx="1587"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90" name="Line 1238">
              <a:extLst>
                <a:ext uri="{FF2B5EF4-FFF2-40B4-BE49-F238E27FC236}">
                  <a16:creationId xmlns:a16="http://schemas.microsoft.com/office/drawing/2014/main" id="{5ED6B72E-6F4A-4AB1-AF29-1518DDA1E674}"/>
                </a:ext>
              </a:extLst>
            </p:cNvPr>
            <p:cNvSpPr>
              <a:spLocks noChangeAspect="1" noChangeShapeType="1"/>
            </p:cNvSpPr>
            <p:nvPr/>
          </p:nvSpPr>
          <p:spPr bwMode="auto">
            <a:xfrm flipV="1">
              <a:off x="6429376" y="2526665"/>
              <a:ext cx="4763" cy="460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91" name="Line 1239">
              <a:extLst>
                <a:ext uri="{FF2B5EF4-FFF2-40B4-BE49-F238E27FC236}">
                  <a16:creationId xmlns:a16="http://schemas.microsoft.com/office/drawing/2014/main" id="{0EBAFC03-0443-4148-A554-42024B28356E}"/>
                </a:ext>
              </a:extLst>
            </p:cNvPr>
            <p:cNvSpPr>
              <a:spLocks noChangeAspect="1" noChangeShapeType="1"/>
            </p:cNvSpPr>
            <p:nvPr/>
          </p:nvSpPr>
          <p:spPr bwMode="auto">
            <a:xfrm flipV="1">
              <a:off x="6434139" y="2523491"/>
              <a:ext cx="1587"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92" name="Line 1240">
              <a:extLst>
                <a:ext uri="{FF2B5EF4-FFF2-40B4-BE49-F238E27FC236}">
                  <a16:creationId xmlns:a16="http://schemas.microsoft.com/office/drawing/2014/main" id="{BD093C6D-3969-49BA-B8E3-54D3A7119F4C}"/>
                </a:ext>
              </a:extLst>
            </p:cNvPr>
            <p:cNvSpPr>
              <a:spLocks noChangeAspect="1" noChangeShapeType="1"/>
            </p:cNvSpPr>
            <p:nvPr/>
          </p:nvSpPr>
          <p:spPr bwMode="auto">
            <a:xfrm flipV="1">
              <a:off x="6437313" y="2480629"/>
              <a:ext cx="4762"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93" name="Line 1241">
              <a:extLst>
                <a:ext uri="{FF2B5EF4-FFF2-40B4-BE49-F238E27FC236}">
                  <a16:creationId xmlns:a16="http://schemas.microsoft.com/office/drawing/2014/main" id="{1CA72F32-268E-47B4-8870-0B09FD3D96B8}"/>
                </a:ext>
              </a:extLst>
            </p:cNvPr>
            <p:cNvSpPr>
              <a:spLocks noChangeAspect="1" noChangeShapeType="1"/>
            </p:cNvSpPr>
            <p:nvPr/>
          </p:nvSpPr>
          <p:spPr bwMode="auto">
            <a:xfrm flipV="1">
              <a:off x="6442076" y="2448878"/>
              <a:ext cx="4763"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94" name="Line 1242">
              <a:extLst>
                <a:ext uri="{FF2B5EF4-FFF2-40B4-BE49-F238E27FC236}">
                  <a16:creationId xmlns:a16="http://schemas.microsoft.com/office/drawing/2014/main" id="{56226066-9486-4FC3-A063-FE71260FC0B4}"/>
                </a:ext>
              </a:extLst>
            </p:cNvPr>
            <p:cNvSpPr>
              <a:spLocks noChangeAspect="1" noChangeShapeType="1"/>
            </p:cNvSpPr>
            <p:nvPr/>
          </p:nvSpPr>
          <p:spPr bwMode="auto">
            <a:xfrm flipV="1">
              <a:off x="6450014" y="2434590"/>
              <a:ext cx="1587"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95" name="Line 1243">
              <a:extLst>
                <a:ext uri="{FF2B5EF4-FFF2-40B4-BE49-F238E27FC236}">
                  <a16:creationId xmlns:a16="http://schemas.microsoft.com/office/drawing/2014/main" id="{612DF33C-31F7-4FF9-8867-85A5C8642FA1}"/>
                </a:ext>
              </a:extLst>
            </p:cNvPr>
            <p:cNvSpPr>
              <a:spLocks noChangeAspect="1" noChangeShapeType="1"/>
            </p:cNvSpPr>
            <p:nvPr/>
          </p:nvSpPr>
          <p:spPr bwMode="auto">
            <a:xfrm flipV="1">
              <a:off x="6450013" y="2388554"/>
              <a:ext cx="11112"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96" name="Line 1244">
              <a:extLst>
                <a:ext uri="{FF2B5EF4-FFF2-40B4-BE49-F238E27FC236}">
                  <a16:creationId xmlns:a16="http://schemas.microsoft.com/office/drawing/2014/main" id="{F670D614-EC7A-4BBF-8DAB-A405116A1127}"/>
                </a:ext>
              </a:extLst>
            </p:cNvPr>
            <p:cNvSpPr>
              <a:spLocks noChangeAspect="1" noChangeShapeType="1"/>
            </p:cNvSpPr>
            <p:nvPr/>
          </p:nvSpPr>
          <p:spPr bwMode="auto">
            <a:xfrm flipV="1">
              <a:off x="6461125" y="2377441"/>
              <a:ext cx="1588"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97" name="Line 1245">
              <a:extLst>
                <a:ext uri="{FF2B5EF4-FFF2-40B4-BE49-F238E27FC236}">
                  <a16:creationId xmlns:a16="http://schemas.microsoft.com/office/drawing/2014/main" id="{E308961F-47D5-435A-89EA-DDB2BE39097B}"/>
                </a:ext>
              </a:extLst>
            </p:cNvPr>
            <p:cNvSpPr>
              <a:spLocks noChangeAspect="1" noChangeShapeType="1"/>
            </p:cNvSpPr>
            <p:nvPr/>
          </p:nvSpPr>
          <p:spPr bwMode="auto">
            <a:xfrm flipV="1">
              <a:off x="6465888" y="2342515"/>
              <a:ext cx="4762"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98" name="Line 1246">
              <a:extLst>
                <a:ext uri="{FF2B5EF4-FFF2-40B4-BE49-F238E27FC236}">
                  <a16:creationId xmlns:a16="http://schemas.microsoft.com/office/drawing/2014/main" id="{96E207CB-67CF-40DF-B3AA-3D60D284722B}"/>
                </a:ext>
              </a:extLst>
            </p:cNvPr>
            <p:cNvSpPr>
              <a:spLocks noChangeAspect="1" noChangeShapeType="1"/>
            </p:cNvSpPr>
            <p:nvPr/>
          </p:nvSpPr>
          <p:spPr bwMode="auto">
            <a:xfrm flipV="1">
              <a:off x="6470651" y="2304415"/>
              <a:ext cx="11113"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799" name="Line 1247">
              <a:extLst>
                <a:ext uri="{FF2B5EF4-FFF2-40B4-BE49-F238E27FC236}">
                  <a16:creationId xmlns:a16="http://schemas.microsoft.com/office/drawing/2014/main" id="{2ECD1683-2B7B-49A9-AFEC-8FF3FAEBBF0D}"/>
                </a:ext>
              </a:extLst>
            </p:cNvPr>
            <p:cNvSpPr>
              <a:spLocks noChangeAspect="1" noChangeShapeType="1"/>
            </p:cNvSpPr>
            <p:nvPr/>
          </p:nvSpPr>
          <p:spPr bwMode="auto">
            <a:xfrm flipV="1">
              <a:off x="6486525" y="2250441"/>
              <a:ext cx="12700" cy="412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00" name="Line 1248">
              <a:extLst>
                <a:ext uri="{FF2B5EF4-FFF2-40B4-BE49-F238E27FC236}">
                  <a16:creationId xmlns:a16="http://schemas.microsoft.com/office/drawing/2014/main" id="{CD9D6352-7396-49A5-B67A-E087F22756DB}"/>
                </a:ext>
              </a:extLst>
            </p:cNvPr>
            <p:cNvSpPr>
              <a:spLocks noChangeAspect="1" noChangeShapeType="1"/>
            </p:cNvSpPr>
            <p:nvPr/>
          </p:nvSpPr>
          <p:spPr bwMode="auto">
            <a:xfrm flipV="1">
              <a:off x="6499225" y="2236154"/>
              <a:ext cx="6350"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01" name="Line 1249">
              <a:extLst>
                <a:ext uri="{FF2B5EF4-FFF2-40B4-BE49-F238E27FC236}">
                  <a16:creationId xmlns:a16="http://schemas.microsoft.com/office/drawing/2014/main" id="{E4E58F3F-D083-483A-A7CC-B26F36BA252B}"/>
                </a:ext>
              </a:extLst>
            </p:cNvPr>
            <p:cNvSpPr>
              <a:spLocks noChangeAspect="1" noChangeShapeType="1"/>
            </p:cNvSpPr>
            <p:nvPr/>
          </p:nvSpPr>
          <p:spPr bwMode="auto">
            <a:xfrm flipV="1">
              <a:off x="6510339" y="2218691"/>
              <a:ext cx="1587"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02" name="Line 1250">
              <a:extLst>
                <a:ext uri="{FF2B5EF4-FFF2-40B4-BE49-F238E27FC236}">
                  <a16:creationId xmlns:a16="http://schemas.microsoft.com/office/drawing/2014/main" id="{BAD839E4-AD11-4B96-8214-82A4D7920A34}"/>
                </a:ext>
              </a:extLst>
            </p:cNvPr>
            <p:cNvSpPr>
              <a:spLocks noChangeAspect="1" noChangeShapeType="1"/>
            </p:cNvSpPr>
            <p:nvPr/>
          </p:nvSpPr>
          <p:spPr bwMode="auto">
            <a:xfrm flipV="1">
              <a:off x="6511926" y="2205990"/>
              <a:ext cx="4763"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03" name="Line 1251">
              <a:extLst>
                <a:ext uri="{FF2B5EF4-FFF2-40B4-BE49-F238E27FC236}">
                  <a16:creationId xmlns:a16="http://schemas.microsoft.com/office/drawing/2014/main" id="{6BE9F159-1D94-46E7-8C6A-3F439487FA1F}"/>
                </a:ext>
              </a:extLst>
            </p:cNvPr>
            <p:cNvSpPr>
              <a:spLocks noChangeAspect="1" noChangeShapeType="1"/>
            </p:cNvSpPr>
            <p:nvPr/>
          </p:nvSpPr>
          <p:spPr bwMode="auto">
            <a:xfrm flipV="1">
              <a:off x="6516689" y="2169478"/>
              <a:ext cx="15875" cy="365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04" name="Line 1252">
              <a:extLst>
                <a:ext uri="{FF2B5EF4-FFF2-40B4-BE49-F238E27FC236}">
                  <a16:creationId xmlns:a16="http://schemas.microsoft.com/office/drawing/2014/main" id="{B478F536-9AD8-4AD6-9CE6-0C210F63A4B8}"/>
                </a:ext>
              </a:extLst>
            </p:cNvPr>
            <p:cNvSpPr>
              <a:spLocks noChangeAspect="1" noChangeShapeType="1"/>
            </p:cNvSpPr>
            <p:nvPr/>
          </p:nvSpPr>
          <p:spPr bwMode="auto">
            <a:xfrm flipV="1">
              <a:off x="6538913" y="2115504"/>
              <a:ext cx="19050" cy="396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05" name="Line 1253">
              <a:extLst>
                <a:ext uri="{FF2B5EF4-FFF2-40B4-BE49-F238E27FC236}">
                  <a16:creationId xmlns:a16="http://schemas.microsoft.com/office/drawing/2014/main" id="{4958792C-6806-4661-A390-A0B55FDF1FF7}"/>
                </a:ext>
              </a:extLst>
            </p:cNvPr>
            <p:cNvSpPr>
              <a:spLocks noChangeAspect="1" noChangeShapeType="1"/>
            </p:cNvSpPr>
            <p:nvPr/>
          </p:nvSpPr>
          <p:spPr bwMode="auto">
            <a:xfrm flipV="1">
              <a:off x="6557964" y="2113915"/>
              <a:ext cx="1587"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06" name="Line 1254">
              <a:extLst>
                <a:ext uri="{FF2B5EF4-FFF2-40B4-BE49-F238E27FC236}">
                  <a16:creationId xmlns:a16="http://schemas.microsoft.com/office/drawing/2014/main" id="{EB4EFF66-439B-425F-B2D9-996487314C88}"/>
                </a:ext>
              </a:extLst>
            </p:cNvPr>
            <p:cNvSpPr>
              <a:spLocks noChangeAspect="1" noChangeShapeType="1"/>
            </p:cNvSpPr>
            <p:nvPr/>
          </p:nvSpPr>
          <p:spPr bwMode="auto">
            <a:xfrm flipV="1">
              <a:off x="6557963" y="2102803"/>
              <a:ext cx="4762"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07" name="Line 1255">
              <a:extLst>
                <a:ext uri="{FF2B5EF4-FFF2-40B4-BE49-F238E27FC236}">
                  <a16:creationId xmlns:a16="http://schemas.microsoft.com/office/drawing/2014/main" id="{326E8253-1780-4FAB-B498-08D91825B686}"/>
                </a:ext>
              </a:extLst>
            </p:cNvPr>
            <p:cNvSpPr>
              <a:spLocks noChangeAspect="1" noChangeShapeType="1"/>
            </p:cNvSpPr>
            <p:nvPr/>
          </p:nvSpPr>
          <p:spPr bwMode="auto">
            <a:xfrm flipV="1">
              <a:off x="6570663" y="2069465"/>
              <a:ext cx="11112"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08" name="Line 1256">
              <a:extLst>
                <a:ext uri="{FF2B5EF4-FFF2-40B4-BE49-F238E27FC236}">
                  <a16:creationId xmlns:a16="http://schemas.microsoft.com/office/drawing/2014/main" id="{13D02B6C-7058-449E-8033-CAE56C846A5F}"/>
                </a:ext>
              </a:extLst>
            </p:cNvPr>
            <p:cNvSpPr>
              <a:spLocks noChangeAspect="1" noChangeShapeType="1"/>
            </p:cNvSpPr>
            <p:nvPr/>
          </p:nvSpPr>
          <p:spPr bwMode="auto">
            <a:xfrm flipV="1">
              <a:off x="6581776" y="2040891"/>
              <a:ext cx="15875"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09" name="Line 1257">
              <a:extLst>
                <a:ext uri="{FF2B5EF4-FFF2-40B4-BE49-F238E27FC236}">
                  <a16:creationId xmlns:a16="http://schemas.microsoft.com/office/drawing/2014/main" id="{591755FE-9452-4A69-8752-772573323A16}"/>
                </a:ext>
              </a:extLst>
            </p:cNvPr>
            <p:cNvSpPr>
              <a:spLocks noChangeAspect="1" noChangeShapeType="1"/>
            </p:cNvSpPr>
            <p:nvPr/>
          </p:nvSpPr>
          <p:spPr bwMode="auto">
            <a:xfrm flipV="1">
              <a:off x="6605589" y="2023428"/>
              <a:ext cx="1587"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10" name="Line 1258">
              <a:extLst>
                <a:ext uri="{FF2B5EF4-FFF2-40B4-BE49-F238E27FC236}">
                  <a16:creationId xmlns:a16="http://schemas.microsoft.com/office/drawing/2014/main" id="{BFDF5D03-931F-448D-BF9F-5F5474816980}"/>
                </a:ext>
              </a:extLst>
            </p:cNvPr>
            <p:cNvSpPr>
              <a:spLocks noChangeAspect="1" noChangeShapeType="1"/>
            </p:cNvSpPr>
            <p:nvPr/>
          </p:nvSpPr>
          <p:spPr bwMode="auto">
            <a:xfrm flipV="1">
              <a:off x="6607176" y="1980566"/>
              <a:ext cx="28575" cy="428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11" name="Line 1259">
              <a:extLst>
                <a:ext uri="{FF2B5EF4-FFF2-40B4-BE49-F238E27FC236}">
                  <a16:creationId xmlns:a16="http://schemas.microsoft.com/office/drawing/2014/main" id="{A7C81EFB-123A-4BC1-94A5-18F5F8A24369}"/>
                </a:ext>
              </a:extLst>
            </p:cNvPr>
            <p:cNvSpPr>
              <a:spLocks noChangeAspect="1" noChangeShapeType="1"/>
            </p:cNvSpPr>
            <p:nvPr/>
          </p:nvSpPr>
          <p:spPr bwMode="auto">
            <a:xfrm flipV="1">
              <a:off x="6643689" y="1961515"/>
              <a:ext cx="7937"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12" name="Line 1260">
              <a:extLst>
                <a:ext uri="{FF2B5EF4-FFF2-40B4-BE49-F238E27FC236}">
                  <a16:creationId xmlns:a16="http://schemas.microsoft.com/office/drawing/2014/main" id="{22707681-6AD4-4120-9A7F-8EB494F07E11}"/>
                </a:ext>
              </a:extLst>
            </p:cNvPr>
            <p:cNvSpPr>
              <a:spLocks noChangeAspect="1" noChangeShapeType="1"/>
            </p:cNvSpPr>
            <p:nvPr/>
          </p:nvSpPr>
          <p:spPr bwMode="auto">
            <a:xfrm flipV="1">
              <a:off x="6651625" y="1931353"/>
              <a:ext cx="20638" cy="301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13" name="Line 1261">
              <a:extLst>
                <a:ext uri="{FF2B5EF4-FFF2-40B4-BE49-F238E27FC236}">
                  <a16:creationId xmlns:a16="http://schemas.microsoft.com/office/drawing/2014/main" id="{02DCC4C9-45CE-40DF-A3D7-EF6A91B8F30E}"/>
                </a:ext>
              </a:extLst>
            </p:cNvPr>
            <p:cNvSpPr>
              <a:spLocks noChangeAspect="1" noChangeShapeType="1"/>
            </p:cNvSpPr>
            <p:nvPr/>
          </p:nvSpPr>
          <p:spPr bwMode="auto">
            <a:xfrm flipV="1">
              <a:off x="6672263" y="1925003"/>
              <a:ext cx="6350"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14" name="Line 1262">
              <a:extLst>
                <a:ext uri="{FF2B5EF4-FFF2-40B4-BE49-F238E27FC236}">
                  <a16:creationId xmlns:a16="http://schemas.microsoft.com/office/drawing/2014/main" id="{ED98DEF1-B034-4243-B95B-0A66A74CE014}"/>
                </a:ext>
              </a:extLst>
            </p:cNvPr>
            <p:cNvSpPr>
              <a:spLocks noChangeAspect="1" noChangeShapeType="1"/>
            </p:cNvSpPr>
            <p:nvPr/>
          </p:nvSpPr>
          <p:spPr bwMode="auto">
            <a:xfrm flipV="1">
              <a:off x="6686551" y="1902778"/>
              <a:ext cx="9525"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15" name="Line 1263">
              <a:extLst>
                <a:ext uri="{FF2B5EF4-FFF2-40B4-BE49-F238E27FC236}">
                  <a16:creationId xmlns:a16="http://schemas.microsoft.com/office/drawing/2014/main" id="{203B9818-5D24-42FD-9F28-D7CAF7842268}"/>
                </a:ext>
              </a:extLst>
            </p:cNvPr>
            <p:cNvSpPr>
              <a:spLocks noChangeAspect="1" noChangeShapeType="1"/>
            </p:cNvSpPr>
            <p:nvPr/>
          </p:nvSpPr>
          <p:spPr bwMode="auto">
            <a:xfrm flipV="1">
              <a:off x="6696076" y="1885316"/>
              <a:ext cx="17463"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16" name="Line 1264">
              <a:extLst>
                <a:ext uri="{FF2B5EF4-FFF2-40B4-BE49-F238E27FC236}">
                  <a16:creationId xmlns:a16="http://schemas.microsoft.com/office/drawing/2014/main" id="{58FE2D38-637C-4A1B-8C02-7BCD12C8CFC0}"/>
                </a:ext>
              </a:extLst>
            </p:cNvPr>
            <p:cNvSpPr>
              <a:spLocks noChangeAspect="1" noChangeShapeType="1"/>
            </p:cNvSpPr>
            <p:nvPr/>
          </p:nvSpPr>
          <p:spPr bwMode="auto">
            <a:xfrm flipV="1">
              <a:off x="6713539" y="1874203"/>
              <a:ext cx="9525"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17" name="Line 1265">
              <a:extLst>
                <a:ext uri="{FF2B5EF4-FFF2-40B4-BE49-F238E27FC236}">
                  <a16:creationId xmlns:a16="http://schemas.microsoft.com/office/drawing/2014/main" id="{A0DEBABA-9020-40D9-85FE-440EF755334E}"/>
                </a:ext>
              </a:extLst>
            </p:cNvPr>
            <p:cNvSpPr>
              <a:spLocks noChangeAspect="1" noChangeShapeType="1"/>
            </p:cNvSpPr>
            <p:nvPr/>
          </p:nvSpPr>
          <p:spPr bwMode="auto">
            <a:xfrm flipV="1">
              <a:off x="6732589" y="1853566"/>
              <a:ext cx="9525"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18" name="Line 1266">
              <a:extLst>
                <a:ext uri="{FF2B5EF4-FFF2-40B4-BE49-F238E27FC236}">
                  <a16:creationId xmlns:a16="http://schemas.microsoft.com/office/drawing/2014/main" id="{F2DF7877-8180-4605-BA6A-D916348F547E}"/>
                </a:ext>
              </a:extLst>
            </p:cNvPr>
            <p:cNvSpPr>
              <a:spLocks noChangeAspect="1" noChangeShapeType="1"/>
            </p:cNvSpPr>
            <p:nvPr/>
          </p:nvSpPr>
          <p:spPr bwMode="auto">
            <a:xfrm flipV="1">
              <a:off x="6742113" y="1839279"/>
              <a:ext cx="17462"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19" name="Line 1267">
              <a:extLst>
                <a:ext uri="{FF2B5EF4-FFF2-40B4-BE49-F238E27FC236}">
                  <a16:creationId xmlns:a16="http://schemas.microsoft.com/office/drawing/2014/main" id="{A69EC119-E39C-4FBB-8F45-FEBD93E16C75}"/>
                </a:ext>
              </a:extLst>
            </p:cNvPr>
            <p:cNvSpPr>
              <a:spLocks noChangeAspect="1" noChangeShapeType="1"/>
            </p:cNvSpPr>
            <p:nvPr/>
          </p:nvSpPr>
          <p:spPr bwMode="auto">
            <a:xfrm flipV="1">
              <a:off x="6759575" y="1828166"/>
              <a:ext cx="12700"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20" name="Line 1268">
              <a:extLst>
                <a:ext uri="{FF2B5EF4-FFF2-40B4-BE49-F238E27FC236}">
                  <a16:creationId xmlns:a16="http://schemas.microsoft.com/office/drawing/2014/main" id="{FF400002-6F29-499B-BFF7-211DE8617C1A}"/>
                </a:ext>
              </a:extLst>
            </p:cNvPr>
            <p:cNvSpPr>
              <a:spLocks noChangeAspect="1" noChangeShapeType="1"/>
            </p:cNvSpPr>
            <p:nvPr/>
          </p:nvSpPr>
          <p:spPr bwMode="auto">
            <a:xfrm flipV="1">
              <a:off x="6781800" y="1813878"/>
              <a:ext cx="6350"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21" name="Line 1269">
              <a:extLst>
                <a:ext uri="{FF2B5EF4-FFF2-40B4-BE49-F238E27FC236}">
                  <a16:creationId xmlns:a16="http://schemas.microsoft.com/office/drawing/2014/main" id="{EFDCEE57-E5A8-4A3A-94F1-D257F9D8283B}"/>
                </a:ext>
              </a:extLst>
            </p:cNvPr>
            <p:cNvSpPr>
              <a:spLocks noChangeAspect="1" noChangeShapeType="1"/>
            </p:cNvSpPr>
            <p:nvPr/>
          </p:nvSpPr>
          <p:spPr bwMode="auto">
            <a:xfrm flipV="1">
              <a:off x="6788150" y="1793240"/>
              <a:ext cx="26988"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22" name="Line 1270">
              <a:extLst>
                <a:ext uri="{FF2B5EF4-FFF2-40B4-BE49-F238E27FC236}">
                  <a16:creationId xmlns:a16="http://schemas.microsoft.com/office/drawing/2014/main" id="{F36B25AD-BAA0-4F97-A444-AFC0E9B53206}"/>
                </a:ext>
              </a:extLst>
            </p:cNvPr>
            <p:cNvSpPr>
              <a:spLocks noChangeAspect="1" noChangeShapeType="1"/>
            </p:cNvSpPr>
            <p:nvPr/>
          </p:nvSpPr>
          <p:spPr bwMode="auto">
            <a:xfrm flipV="1">
              <a:off x="6815139" y="1788478"/>
              <a:ext cx="9525"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23" name="Line 1271">
              <a:extLst>
                <a:ext uri="{FF2B5EF4-FFF2-40B4-BE49-F238E27FC236}">
                  <a16:creationId xmlns:a16="http://schemas.microsoft.com/office/drawing/2014/main" id="{D006F3F5-77C4-4902-8520-4E919AF4FE9C}"/>
                </a:ext>
              </a:extLst>
            </p:cNvPr>
            <p:cNvSpPr>
              <a:spLocks noChangeAspect="1" noChangeShapeType="1"/>
            </p:cNvSpPr>
            <p:nvPr/>
          </p:nvSpPr>
          <p:spPr bwMode="auto">
            <a:xfrm flipV="1">
              <a:off x="6835775" y="1753554"/>
              <a:ext cx="44450" cy="269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24" name="Line 1272">
              <a:extLst>
                <a:ext uri="{FF2B5EF4-FFF2-40B4-BE49-F238E27FC236}">
                  <a16:creationId xmlns:a16="http://schemas.microsoft.com/office/drawing/2014/main" id="{E476092C-0A76-47B8-92AB-1A40F531C79A}"/>
                </a:ext>
              </a:extLst>
            </p:cNvPr>
            <p:cNvSpPr>
              <a:spLocks noChangeAspect="1" noChangeShapeType="1"/>
            </p:cNvSpPr>
            <p:nvPr/>
          </p:nvSpPr>
          <p:spPr bwMode="auto">
            <a:xfrm flipV="1">
              <a:off x="6892925" y="1747204"/>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25" name="Line 1273">
              <a:extLst>
                <a:ext uri="{FF2B5EF4-FFF2-40B4-BE49-F238E27FC236}">
                  <a16:creationId xmlns:a16="http://schemas.microsoft.com/office/drawing/2014/main" id="{A5A65091-8055-450C-BDD5-A50B46CD9432}"/>
                </a:ext>
              </a:extLst>
            </p:cNvPr>
            <p:cNvSpPr>
              <a:spLocks noChangeAspect="1" noChangeShapeType="1"/>
            </p:cNvSpPr>
            <p:nvPr/>
          </p:nvSpPr>
          <p:spPr bwMode="auto">
            <a:xfrm flipV="1">
              <a:off x="6894514" y="1732915"/>
              <a:ext cx="33337"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26" name="Line 1274">
              <a:extLst>
                <a:ext uri="{FF2B5EF4-FFF2-40B4-BE49-F238E27FC236}">
                  <a16:creationId xmlns:a16="http://schemas.microsoft.com/office/drawing/2014/main" id="{032C330C-2D08-457E-B707-9A8186D28F31}"/>
                </a:ext>
              </a:extLst>
            </p:cNvPr>
            <p:cNvSpPr>
              <a:spLocks noChangeAspect="1" noChangeShapeType="1"/>
            </p:cNvSpPr>
            <p:nvPr/>
          </p:nvSpPr>
          <p:spPr bwMode="auto">
            <a:xfrm flipV="1">
              <a:off x="6927851" y="1728153"/>
              <a:ext cx="11113"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27" name="Line 1275">
              <a:extLst>
                <a:ext uri="{FF2B5EF4-FFF2-40B4-BE49-F238E27FC236}">
                  <a16:creationId xmlns:a16="http://schemas.microsoft.com/office/drawing/2014/main" id="{F7FB4218-8DF1-4893-A07C-E7998B60078D}"/>
                </a:ext>
              </a:extLst>
            </p:cNvPr>
            <p:cNvSpPr>
              <a:spLocks noChangeAspect="1" noChangeShapeType="1"/>
            </p:cNvSpPr>
            <p:nvPr/>
          </p:nvSpPr>
          <p:spPr bwMode="auto">
            <a:xfrm flipV="1">
              <a:off x="6950076" y="1717041"/>
              <a:ext cx="23813"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28" name="Line 1276">
              <a:extLst>
                <a:ext uri="{FF2B5EF4-FFF2-40B4-BE49-F238E27FC236}">
                  <a16:creationId xmlns:a16="http://schemas.microsoft.com/office/drawing/2014/main" id="{A7B68A0A-3AD9-41E1-A472-2D0B020BD363}"/>
                </a:ext>
              </a:extLst>
            </p:cNvPr>
            <p:cNvSpPr>
              <a:spLocks noChangeAspect="1" noChangeShapeType="1"/>
            </p:cNvSpPr>
            <p:nvPr/>
          </p:nvSpPr>
          <p:spPr bwMode="auto">
            <a:xfrm flipV="1">
              <a:off x="6973888" y="1712278"/>
              <a:ext cx="25400"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29" name="Line 1277">
              <a:extLst>
                <a:ext uri="{FF2B5EF4-FFF2-40B4-BE49-F238E27FC236}">
                  <a16:creationId xmlns:a16="http://schemas.microsoft.com/office/drawing/2014/main" id="{7E852295-4BAE-4654-9CB8-7553279ACE00}"/>
                </a:ext>
              </a:extLst>
            </p:cNvPr>
            <p:cNvSpPr>
              <a:spLocks noChangeAspect="1" noChangeShapeType="1"/>
            </p:cNvSpPr>
            <p:nvPr/>
          </p:nvSpPr>
          <p:spPr bwMode="auto">
            <a:xfrm flipV="1">
              <a:off x="7011989" y="1709103"/>
              <a:ext cx="7937"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30" name="Line 1278">
              <a:extLst>
                <a:ext uri="{FF2B5EF4-FFF2-40B4-BE49-F238E27FC236}">
                  <a16:creationId xmlns:a16="http://schemas.microsoft.com/office/drawing/2014/main" id="{CA09B79E-3814-4734-9C84-7E0E8D7A2373}"/>
                </a:ext>
              </a:extLst>
            </p:cNvPr>
            <p:cNvSpPr>
              <a:spLocks noChangeAspect="1" noChangeShapeType="1"/>
            </p:cNvSpPr>
            <p:nvPr/>
          </p:nvSpPr>
          <p:spPr bwMode="auto">
            <a:xfrm flipV="1">
              <a:off x="7019926" y="1704341"/>
              <a:ext cx="41275"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31" name="Line 1279">
              <a:extLst>
                <a:ext uri="{FF2B5EF4-FFF2-40B4-BE49-F238E27FC236}">
                  <a16:creationId xmlns:a16="http://schemas.microsoft.com/office/drawing/2014/main" id="{F402A1D1-B951-4793-AA6E-2ABAB4DBBC06}"/>
                </a:ext>
              </a:extLst>
            </p:cNvPr>
            <p:cNvSpPr>
              <a:spLocks noChangeAspect="1" noChangeShapeType="1"/>
            </p:cNvSpPr>
            <p:nvPr/>
          </p:nvSpPr>
          <p:spPr bwMode="auto">
            <a:xfrm>
              <a:off x="7073900" y="1704340"/>
              <a:ext cx="38100"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32" name="Line 1280">
              <a:extLst>
                <a:ext uri="{FF2B5EF4-FFF2-40B4-BE49-F238E27FC236}">
                  <a16:creationId xmlns:a16="http://schemas.microsoft.com/office/drawing/2014/main" id="{6583768F-2568-4C7A-8C42-9E2B30EB6A11}"/>
                </a:ext>
              </a:extLst>
            </p:cNvPr>
            <p:cNvSpPr>
              <a:spLocks noChangeAspect="1" noChangeShapeType="1"/>
            </p:cNvSpPr>
            <p:nvPr/>
          </p:nvSpPr>
          <p:spPr bwMode="auto">
            <a:xfrm>
              <a:off x="7112001" y="1704340"/>
              <a:ext cx="11113"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33" name="Line 1281">
              <a:extLst>
                <a:ext uri="{FF2B5EF4-FFF2-40B4-BE49-F238E27FC236}">
                  <a16:creationId xmlns:a16="http://schemas.microsoft.com/office/drawing/2014/main" id="{CA3347EE-7CBB-4738-A493-E39A780C43E4}"/>
                </a:ext>
              </a:extLst>
            </p:cNvPr>
            <p:cNvSpPr>
              <a:spLocks noChangeAspect="1" noChangeShapeType="1"/>
            </p:cNvSpPr>
            <p:nvPr/>
          </p:nvSpPr>
          <p:spPr bwMode="auto">
            <a:xfrm>
              <a:off x="7135814" y="1707515"/>
              <a:ext cx="20637"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34" name="Line 1282">
              <a:extLst>
                <a:ext uri="{FF2B5EF4-FFF2-40B4-BE49-F238E27FC236}">
                  <a16:creationId xmlns:a16="http://schemas.microsoft.com/office/drawing/2014/main" id="{54FB173C-A36F-4F3D-BC22-063B3214C2A1}"/>
                </a:ext>
              </a:extLst>
            </p:cNvPr>
            <p:cNvSpPr>
              <a:spLocks noChangeAspect="1" noChangeShapeType="1"/>
            </p:cNvSpPr>
            <p:nvPr/>
          </p:nvSpPr>
          <p:spPr bwMode="auto">
            <a:xfrm>
              <a:off x="7156450" y="1709103"/>
              <a:ext cx="26988"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35" name="Line 1283">
              <a:extLst>
                <a:ext uri="{FF2B5EF4-FFF2-40B4-BE49-F238E27FC236}">
                  <a16:creationId xmlns:a16="http://schemas.microsoft.com/office/drawing/2014/main" id="{2FACAF2E-3EB0-4EFF-9A22-D1C67E7F2A16}"/>
                </a:ext>
              </a:extLst>
            </p:cNvPr>
            <p:cNvSpPr>
              <a:spLocks noChangeAspect="1" noChangeShapeType="1"/>
            </p:cNvSpPr>
            <p:nvPr/>
          </p:nvSpPr>
          <p:spPr bwMode="auto">
            <a:xfrm>
              <a:off x="7196139" y="1717040"/>
              <a:ext cx="7937"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36" name="Line 1284">
              <a:extLst>
                <a:ext uri="{FF2B5EF4-FFF2-40B4-BE49-F238E27FC236}">
                  <a16:creationId xmlns:a16="http://schemas.microsoft.com/office/drawing/2014/main" id="{77E6DF0C-52E1-4EFA-9442-4656C422D89D}"/>
                </a:ext>
              </a:extLst>
            </p:cNvPr>
            <p:cNvSpPr>
              <a:spLocks noChangeAspect="1" noChangeShapeType="1"/>
            </p:cNvSpPr>
            <p:nvPr/>
          </p:nvSpPr>
          <p:spPr bwMode="auto">
            <a:xfrm>
              <a:off x="7204076" y="1717040"/>
              <a:ext cx="41275"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37" name="Line 1285">
              <a:extLst>
                <a:ext uri="{FF2B5EF4-FFF2-40B4-BE49-F238E27FC236}">
                  <a16:creationId xmlns:a16="http://schemas.microsoft.com/office/drawing/2014/main" id="{3C6A39E7-7C11-496A-BF8E-74ECD830EF6B}"/>
                </a:ext>
              </a:extLst>
            </p:cNvPr>
            <p:cNvSpPr>
              <a:spLocks noChangeAspect="1" noChangeShapeType="1"/>
            </p:cNvSpPr>
            <p:nvPr/>
          </p:nvSpPr>
          <p:spPr bwMode="auto">
            <a:xfrm>
              <a:off x="7256463" y="1734503"/>
              <a:ext cx="36512"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38" name="Line 1286">
              <a:extLst>
                <a:ext uri="{FF2B5EF4-FFF2-40B4-BE49-F238E27FC236}">
                  <a16:creationId xmlns:a16="http://schemas.microsoft.com/office/drawing/2014/main" id="{75833A75-CAE4-4CDB-A7E4-3DA4DC444C5D}"/>
                </a:ext>
              </a:extLst>
            </p:cNvPr>
            <p:cNvSpPr>
              <a:spLocks noChangeAspect="1" noChangeShapeType="1"/>
            </p:cNvSpPr>
            <p:nvPr/>
          </p:nvSpPr>
          <p:spPr bwMode="auto">
            <a:xfrm>
              <a:off x="7292976" y="1747204"/>
              <a:ext cx="3175"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39" name="Line 1287">
              <a:extLst>
                <a:ext uri="{FF2B5EF4-FFF2-40B4-BE49-F238E27FC236}">
                  <a16:creationId xmlns:a16="http://schemas.microsoft.com/office/drawing/2014/main" id="{75EC57AE-E3A9-4206-A478-00076E84602F}"/>
                </a:ext>
              </a:extLst>
            </p:cNvPr>
            <p:cNvSpPr>
              <a:spLocks noChangeAspect="1" noChangeShapeType="1"/>
            </p:cNvSpPr>
            <p:nvPr/>
          </p:nvSpPr>
          <p:spPr bwMode="auto">
            <a:xfrm>
              <a:off x="7296150" y="1748791"/>
              <a:ext cx="7938"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40" name="Line 1288">
              <a:extLst>
                <a:ext uri="{FF2B5EF4-FFF2-40B4-BE49-F238E27FC236}">
                  <a16:creationId xmlns:a16="http://schemas.microsoft.com/office/drawing/2014/main" id="{E172FE58-B35A-461D-A721-F48C654571FC}"/>
                </a:ext>
              </a:extLst>
            </p:cNvPr>
            <p:cNvSpPr>
              <a:spLocks noChangeAspect="1" noChangeShapeType="1"/>
            </p:cNvSpPr>
            <p:nvPr/>
          </p:nvSpPr>
          <p:spPr bwMode="auto">
            <a:xfrm>
              <a:off x="7316788" y="1758315"/>
              <a:ext cx="25400"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41" name="Line 1289">
              <a:extLst>
                <a:ext uri="{FF2B5EF4-FFF2-40B4-BE49-F238E27FC236}">
                  <a16:creationId xmlns:a16="http://schemas.microsoft.com/office/drawing/2014/main" id="{E5E5C0C1-A6FD-4F2B-8CC8-0306F40634D2}"/>
                </a:ext>
              </a:extLst>
            </p:cNvPr>
            <p:cNvSpPr>
              <a:spLocks noChangeAspect="1" noChangeShapeType="1"/>
            </p:cNvSpPr>
            <p:nvPr/>
          </p:nvSpPr>
          <p:spPr bwMode="auto">
            <a:xfrm>
              <a:off x="7342188" y="1771016"/>
              <a:ext cx="19050"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42" name="Line 1290">
              <a:extLst>
                <a:ext uri="{FF2B5EF4-FFF2-40B4-BE49-F238E27FC236}">
                  <a16:creationId xmlns:a16="http://schemas.microsoft.com/office/drawing/2014/main" id="{404602C0-F4AD-46CB-9CD3-EA64CA0BA3B3}"/>
                </a:ext>
              </a:extLst>
            </p:cNvPr>
            <p:cNvSpPr>
              <a:spLocks noChangeAspect="1" noChangeShapeType="1"/>
            </p:cNvSpPr>
            <p:nvPr/>
          </p:nvSpPr>
          <p:spPr bwMode="auto">
            <a:xfrm>
              <a:off x="7373939" y="1790066"/>
              <a:ext cx="7937"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43" name="Line 1291">
              <a:extLst>
                <a:ext uri="{FF2B5EF4-FFF2-40B4-BE49-F238E27FC236}">
                  <a16:creationId xmlns:a16="http://schemas.microsoft.com/office/drawing/2014/main" id="{6FAE8979-EFF2-4B97-9C82-2052A0819A27}"/>
                </a:ext>
              </a:extLst>
            </p:cNvPr>
            <p:cNvSpPr>
              <a:spLocks noChangeAspect="1" noChangeShapeType="1"/>
            </p:cNvSpPr>
            <p:nvPr/>
          </p:nvSpPr>
          <p:spPr bwMode="auto">
            <a:xfrm>
              <a:off x="7381875" y="1793241"/>
              <a:ext cx="6350"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44" name="Line 1292">
              <a:extLst>
                <a:ext uri="{FF2B5EF4-FFF2-40B4-BE49-F238E27FC236}">
                  <a16:creationId xmlns:a16="http://schemas.microsoft.com/office/drawing/2014/main" id="{4166C0B4-910C-4C00-8913-576AAEE7E9C9}"/>
                </a:ext>
              </a:extLst>
            </p:cNvPr>
            <p:cNvSpPr>
              <a:spLocks noChangeAspect="1" noChangeShapeType="1"/>
            </p:cNvSpPr>
            <p:nvPr/>
          </p:nvSpPr>
          <p:spPr bwMode="auto">
            <a:xfrm>
              <a:off x="7388226" y="1798003"/>
              <a:ext cx="28575"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45" name="Line 1293">
              <a:extLst>
                <a:ext uri="{FF2B5EF4-FFF2-40B4-BE49-F238E27FC236}">
                  <a16:creationId xmlns:a16="http://schemas.microsoft.com/office/drawing/2014/main" id="{3519676F-F035-4197-A6B8-A9941950F606}"/>
                </a:ext>
              </a:extLst>
            </p:cNvPr>
            <p:cNvSpPr>
              <a:spLocks noChangeAspect="1" noChangeShapeType="1"/>
            </p:cNvSpPr>
            <p:nvPr/>
          </p:nvSpPr>
          <p:spPr bwMode="auto">
            <a:xfrm>
              <a:off x="7427913" y="1824991"/>
              <a:ext cx="6350"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46" name="Line 1294">
              <a:extLst>
                <a:ext uri="{FF2B5EF4-FFF2-40B4-BE49-F238E27FC236}">
                  <a16:creationId xmlns:a16="http://schemas.microsoft.com/office/drawing/2014/main" id="{7A8DEE8C-7837-4D6A-BD3A-A7C30ACDBAE7}"/>
                </a:ext>
              </a:extLst>
            </p:cNvPr>
            <p:cNvSpPr>
              <a:spLocks noChangeAspect="1" noChangeShapeType="1"/>
            </p:cNvSpPr>
            <p:nvPr/>
          </p:nvSpPr>
          <p:spPr bwMode="auto">
            <a:xfrm>
              <a:off x="7434263" y="1828166"/>
              <a:ext cx="12700"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47" name="Line 1295">
              <a:extLst>
                <a:ext uri="{FF2B5EF4-FFF2-40B4-BE49-F238E27FC236}">
                  <a16:creationId xmlns:a16="http://schemas.microsoft.com/office/drawing/2014/main" id="{42A20F2E-1330-4FB6-B535-98AA6D9B5BD6}"/>
                </a:ext>
              </a:extLst>
            </p:cNvPr>
            <p:cNvSpPr>
              <a:spLocks noChangeAspect="1" noChangeShapeType="1"/>
            </p:cNvSpPr>
            <p:nvPr/>
          </p:nvSpPr>
          <p:spPr bwMode="auto">
            <a:xfrm>
              <a:off x="7446964" y="1839278"/>
              <a:ext cx="22225"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48" name="Line 1296">
              <a:extLst>
                <a:ext uri="{FF2B5EF4-FFF2-40B4-BE49-F238E27FC236}">
                  <a16:creationId xmlns:a16="http://schemas.microsoft.com/office/drawing/2014/main" id="{1B0FF812-8905-482D-96EF-B303885156DB}"/>
                </a:ext>
              </a:extLst>
            </p:cNvPr>
            <p:cNvSpPr>
              <a:spLocks noChangeAspect="1" noChangeShapeType="1"/>
            </p:cNvSpPr>
            <p:nvPr/>
          </p:nvSpPr>
          <p:spPr bwMode="auto">
            <a:xfrm>
              <a:off x="7480300" y="1864679"/>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49" name="Line 1297">
              <a:extLst>
                <a:ext uri="{FF2B5EF4-FFF2-40B4-BE49-F238E27FC236}">
                  <a16:creationId xmlns:a16="http://schemas.microsoft.com/office/drawing/2014/main" id="{2DB74738-2487-46C6-8B9F-484F6B9035A0}"/>
                </a:ext>
              </a:extLst>
            </p:cNvPr>
            <p:cNvSpPr>
              <a:spLocks noChangeAspect="1" noChangeShapeType="1"/>
            </p:cNvSpPr>
            <p:nvPr/>
          </p:nvSpPr>
          <p:spPr bwMode="auto">
            <a:xfrm>
              <a:off x="7480301" y="1864679"/>
              <a:ext cx="22225"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50" name="Line 1298">
              <a:extLst>
                <a:ext uri="{FF2B5EF4-FFF2-40B4-BE49-F238E27FC236}">
                  <a16:creationId xmlns:a16="http://schemas.microsoft.com/office/drawing/2014/main" id="{007432EC-45D4-4E9C-8CEB-3DEF96B55A6A}"/>
                </a:ext>
              </a:extLst>
            </p:cNvPr>
            <p:cNvSpPr>
              <a:spLocks noChangeAspect="1" noChangeShapeType="1"/>
            </p:cNvSpPr>
            <p:nvPr/>
          </p:nvSpPr>
          <p:spPr bwMode="auto">
            <a:xfrm>
              <a:off x="7502526" y="1885315"/>
              <a:ext cx="17463"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51" name="Line 1299">
              <a:extLst>
                <a:ext uri="{FF2B5EF4-FFF2-40B4-BE49-F238E27FC236}">
                  <a16:creationId xmlns:a16="http://schemas.microsoft.com/office/drawing/2014/main" id="{BD53750E-6CE2-4ED5-90E6-E5A3FDAD463E}"/>
                </a:ext>
              </a:extLst>
            </p:cNvPr>
            <p:cNvSpPr>
              <a:spLocks noChangeAspect="1" noChangeShapeType="1"/>
            </p:cNvSpPr>
            <p:nvPr/>
          </p:nvSpPr>
          <p:spPr bwMode="auto">
            <a:xfrm>
              <a:off x="7529514" y="1909129"/>
              <a:ext cx="22225"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52" name="Line 1300">
              <a:extLst>
                <a:ext uri="{FF2B5EF4-FFF2-40B4-BE49-F238E27FC236}">
                  <a16:creationId xmlns:a16="http://schemas.microsoft.com/office/drawing/2014/main" id="{746B4717-13C2-4420-BB70-2571D20C772A}"/>
                </a:ext>
              </a:extLst>
            </p:cNvPr>
            <p:cNvSpPr>
              <a:spLocks noChangeAspect="1" noChangeShapeType="1"/>
            </p:cNvSpPr>
            <p:nvPr/>
          </p:nvSpPr>
          <p:spPr bwMode="auto">
            <a:xfrm>
              <a:off x="7551739" y="1931354"/>
              <a:ext cx="15875"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53" name="Line 1301">
              <a:extLst>
                <a:ext uri="{FF2B5EF4-FFF2-40B4-BE49-F238E27FC236}">
                  <a16:creationId xmlns:a16="http://schemas.microsoft.com/office/drawing/2014/main" id="{88BF5888-06D1-4A55-8D90-5EFBC67814F7}"/>
                </a:ext>
              </a:extLst>
            </p:cNvPr>
            <p:cNvSpPr>
              <a:spLocks noChangeAspect="1" noChangeShapeType="1"/>
            </p:cNvSpPr>
            <p:nvPr/>
          </p:nvSpPr>
          <p:spPr bwMode="auto">
            <a:xfrm>
              <a:off x="7577138" y="1958340"/>
              <a:ext cx="17462"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54" name="Line 1302">
              <a:extLst>
                <a:ext uri="{FF2B5EF4-FFF2-40B4-BE49-F238E27FC236}">
                  <a16:creationId xmlns:a16="http://schemas.microsoft.com/office/drawing/2014/main" id="{D53618A9-F5D3-4B53-9F45-17FA38332B0B}"/>
                </a:ext>
              </a:extLst>
            </p:cNvPr>
            <p:cNvSpPr>
              <a:spLocks noChangeAspect="1" noChangeShapeType="1"/>
            </p:cNvSpPr>
            <p:nvPr/>
          </p:nvSpPr>
          <p:spPr bwMode="auto">
            <a:xfrm>
              <a:off x="7594600" y="1977390"/>
              <a:ext cx="19050"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55" name="Line 1303">
              <a:extLst>
                <a:ext uri="{FF2B5EF4-FFF2-40B4-BE49-F238E27FC236}">
                  <a16:creationId xmlns:a16="http://schemas.microsoft.com/office/drawing/2014/main" id="{2C5C5EAA-9EAA-4CF7-9C4C-AA40D442B6A0}"/>
                </a:ext>
              </a:extLst>
            </p:cNvPr>
            <p:cNvSpPr>
              <a:spLocks noChangeAspect="1" noChangeShapeType="1"/>
            </p:cNvSpPr>
            <p:nvPr/>
          </p:nvSpPr>
          <p:spPr bwMode="auto">
            <a:xfrm>
              <a:off x="7623176" y="2009140"/>
              <a:ext cx="11113"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56" name="Line 1304">
              <a:extLst>
                <a:ext uri="{FF2B5EF4-FFF2-40B4-BE49-F238E27FC236}">
                  <a16:creationId xmlns:a16="http://schemas.microsoft.com/office/drawing/2014/main" id="{AC1B56DB-647F-4C8F-B526-5971618849A1}"/>
                </a:ext>
              </a:extLst>
            </p:cNvPr>
            <p:cNvSpPr>
              <a:spLocks noChangeAspect="1" noChangeShapeType="1"/>
            </p:cNvSpPr>
            <p:nvPr/>
          </p:nvSpPr>
          <p:spPr bwMode="auto">
            <a:xfrm>
              <a:off x="7634288" y="2023429"/>
              <a:ext cx="23812"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57" name="Line 1305">
              <a:extLst>
                <a:ext uri="{FF2B5EF4-FFF2-40B4-BE49-F238E27FC236}">
                  <a16:creationId xmlns:a16="http://schemas.microsoft.com/office/drawing/2014/main" id="{4FED36D0-D9A7-467C-9156-96DC3A935607}"/>
                </a:ext>
              </a:extLst>
            </p:cNvPr>
            <p:cNvSpPr>
              <a:spLocks noChangeAspect="1" noChangeShapeType="1"/>
            </p:cNvSpPr>
            <p:nvPr/>
          </p:nvSpPr>
          <p:spPr bwMode="auto">
            <a:xfrm>
              <a:off x="7666038" y="2061529"/>
              <a:ext cx="4762"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58" name="Line 1306">
              <a:extLst>
                <a:ext uri="{FF2B5EF4-FFF2-40B4-BE49-F238E27FC236}">
                  <a16:creationId xmlns:a16="http://schemas.microsoft.com/office/drawing/2014/main" id="{7577D52B-27F2-467F-9F0B-997C148B4142}"/>
                </a:ext>
              </a:extLst>
            </p:cNvPr>
            <p:cNvSpPr>
              <a:spLocks noChangeAspect="1" noChangeShapeType="1"/>
            </p:cNvSpPr>
            <p:nvPr/>
          </p:nvSpPr>
          <p:spPr bwMode="auto">
            <a:xfrm>
              <a:off x="7670801" y="2069465"/>
              <a:ext cx="28575"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59" name="Line 1307">
              <a:extLst>
                <a:ext uri="{FF2B5EF4-FFF2-40B4-BE49-F238E27FC236}">
                  <a16:creationId xmlns:a16="http://schemas.microsoft.com/office/drawing/2014/main" id="{594E1DE2-610C-4785-8DC9-6E17DBFF5672}"/>
                </a:ext>
              </a:extLst>
            </p:cNvPr>
            <p:cNvSpPr>
              <a:spLocks noChangeAspect="1" noChangeShapeType="1"/>
            </p:cNvSpPr>
            <p:nvPr/>
          </p:nvSpPr>
          <p:spPr bwMode="auto">
            <a:xfrm>
              <a:off x="7707314" y="2118678"/>
              <a:ext cx="3175"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60" name="Line 1308">
              <a:extLst>
                <a:ext uri="{FF2B5EF4-FFF2-40B4-BE49-F238E27FC236}">
                  <a16:creationId xmlns:a16="http://schemas.microsoft.com/office/drawing/2014/main" id="{BB7E2123-B0D5-4990-82D4-B0CFDBBB8494}"/>
                </a:ext>
              </a:extLst>
            </p:cNvPr>
            <p:cNvSpPr>
              <a:spLocks noChangeAspect="1" noChangeShapeType="1"/>
            </p:cNvSpPr>
            <p:nvPr/>
          </p:nvSpPr>
          <p:spPr bwMode="auto">
            <a:xfrm>
              <a:off x="7710488" y="2123441"/>
              <a:ext cx="23812" cy="365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61" name="Line 1309">
              <a:extLst>
                <a:ext uri="{FF2B5EF4-FFF2-40B4-BE49-F238E27FC236}">
                  <a16:creationId xmlns:a16="http://schemas.microsoft.com/office/drawing/2014/main" id="{B78D59B0-3CD4-42A6-9EF2-0B8CCB2E5614}"/>
                </a:ext>
              </a:extLst>
            </p:cNvPr>
            <p:cNvSpPr>
              <a:spLocks noChangeAspect="1" noChangeShapeType="1"/>
            </p:cNvSpPr>
            <p:nvPr/>
          </p:nvSpPr>
          <p:spPr bwMode="auto">
            <a:xfrm>
              <a:off x="7734301" y="2159954"/>
              <a:ext cx="3175"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62" name="Line 1310">
              <a:extLst>
                <a:ext uri="{FF2B5EF4-FFF2-40B4-BE49-F238E27FC236}">
                  <a16:creationId xmlns:a16="http://schemas.microsoft.com/office/drawing/2014/main" id="{7D75FF88-874B-4678-8522-3EDDA145E6D8}"/>
                </a:ext>
              </a:extLst>
            </p:cNvPr>
            <p:cNvSpPr>
              <a:spLocks noChangeAspect="1" noChangeShapeType="1"/>
            </p:cNvSpPr>
            <p:nvPr/>
          </p:nvSpPr>
          <p:spPr bwMode="auto">
            <a:xfrm>
              <a:off x="7743825" y="2179003"/>
              <a:ext cx="12700"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63" name="Line 1311">
              <a:extLst>
                <a:ext uri="{FF2B5EF4-FFF2-40B4-BE49-F238E27FC236}">
                  <a16:creationId xmlns:a16="http://schemas.microsoft.com/office/drawing/2014/main" id="{99BFD762-AB88-4E17-BC90-08FC6BF5CC9C}"/>
                </a:ext>
              </a:extLst>
            </p:cNvPr>
            <p:cNvSpPr>
              <a:spLocks noChangeAspect="1" noChangeShapeType="1"/>
            </p:cNvSpPr>
            <p:nvPr/>
          </p:nvSpPr>
          <p:spPr bwMode="auto">
            <a:xfrm>
              <a:off x="7756525" y="2204404"/>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64" name="Line 1312">
              <a:extLst>
                <a:ext uri="{FF2B5EF4-FFF2-40B4-BE49-F238E27FC236}">
                  <a16:creationId xmlns:a16="http://schemas.microsoft.com/office/drawing/2014/main" id="{4DB9247F-A3C6-4CA8-904E-7652DD9173B7}"/>
                </a:ext>
              </a:extLst>
            </p:cNvPr>
            <p:cNvSpPr>
              <a:spLocks noChangeAspect="1" noChangeShapeType="1"/>
            </p:cNvSpPr>
            <p:nvPr/>
          </p:nvSpPr>
          <p:spPr bwMode="auto">
            <a:xfrm>
              <a:off x="7758113" y="2205990"/>
              <a:ext cx="11112"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65" name="Line 1313">
              <a:extLst>
                <a:ext uri="{FF2B5EF4-FFF2-40B4-BE49-F238E27FC236}">
                  <a16:creationId xmlns:a16="http://schemas.microsoft.com/office/drawing/2014/main" id="{01AAB004-8E73-476E-9426-8D546E22CB14}"/>
                </a:ext>
              </a:extLst>
            </p:cNvPr>
            <p:cNvSpPr>
              <a:spLocks noChangeAspect="1" noChangeShapeType="1"/>
            </p:cNvSpPr>
            <p:nvPr/>
          </p:nvSpPr>
          <p:spPr bwMode="auto">
            <a:xfrm>
              <a:off x="7775576" y="2244090"/>
              <a:ext cx="3175"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66" name="Line 1314">
              <a:extLst>
                <a:ext uri="{FF2B5EF4-FFF2-40B4-BE49-F238E27FC236}">
                  <a16:creationId xmlns:a16="http://schemas.microsoft.com/office/drawing/2014/main" id="{42485AE3-58ED-4AA2-87FB-C32B66A214CC}"/>
                </a:ext>
              </a:extLst>
            </p:cNvPr>
            <p:cNvSpPr>
              <a:spLocks noChangeAspect="1" noChangeShapeType="1"/>
            </p:cNvSpPr>
            <p:nvPr/>
          </p:nvSpPr>
          <p:spPr bwMode="auto">
            <a:xfrm>
              <a:off x="7778751" y="2250440"/>
              <a:ext cx="15875" cy="460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67" name="Line 1315">
              <a:extLst>
                <a:ext uri="{FF2B5EF4-FFF2-40B4-BE49-F238E27FC236}">
                  <a16:creationId xmlns:a16="http://schemas.microsoft.com/office/drawing/2014/main" id="{FBF2A455-BCF7-46E3-AFAC-FE8DFDE8AB67}"/>
                </a:ext>
              </a:extLst>
            </p:cNvPr>
            <p:cNvSpPr>
              <a:spLocks noChangeAspect="1" noChangeShapeType="1"/>
            </p:cNvSpPr>
            <p:nvPr/>
          </p:nvSpPr>
          <p:spPr bwMode="auto">
            <a:xfrm>
              <a:off x="7794625" y="2296479"/>
              <a:ext cx="1588"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68" name="Line 1316">
              <a:extLst>
                <a:ext uri="{FF2B5EF4-FFF2-40B4-BE49-F238E27FC236}">
                  <a16:creationId xmlns:a16="http://schemas.microsoft.com/office/drawing/2014/main" id="{F5CE1E60-516F-4865-9E8E-1A3CE72E74C0}"/>
                </a:ext>
              </a:extLst>
            </p:cNvPr>
            <p:cNvSpPr>
              <a:spLocks noChangeAspect="1" noChangeShapeType="1"/>
            </p:cNvSpPr>
            <p:nvPr/>
          </p:nvSpPr>
          <p:spPr bwMode="auto">
            <a:xfrm>
              <a:off x="7797800" y="2313941"/>
              <a:ext cx="6350"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69" name="Line 1317">
              <a:extLst>
                <a:ext uri="{FF2B5EF4-FFF2-40B4-BE49-F238E27FC236}">
                  <a16:creationId xmlns:a16="http://schemas.microsoft.com/office/drawing/2014/main" id="{6A4C8B68-407A-4941-B09A-0ECE06CC9E2F}"/>
                </a:ext>
              </a:extLst>
            </p:cNvPr>
            <p:cNvSpPr>
              <a:spLocks noChangeAspect="1" noChangeShapeType="1"/>
            </p:cNvSpPr>
            <p:nvPr/>
          </p:nvSpPr>
          <p:spPr bwMode="auto">
            <a:xfrm>
              <a:off x="7804151" y="2329815"/>
              <a:ext cx="3175"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70" name="Line 1318">
              <a:extLst>
                <a:ext uri="{FF2B5EF4-FFF2-40B4-BE49-F238E27FC236}">
                  <a16:creationId xmlns:a16="http://schemas.microsoft.com/office/drawing/2014/main" id="{7A23E518-A085-492E-BBBC-092D29022526}"/>
                </a:ext>
              </a:extLst>
            </p:cNvPr>
            <p:cNvSpPr>
              <a:spLocks noChangeAspect="1" noChangeShapeType="1"/>
            </p:cNvSpPr>
            <p:nvPr/>
          </p:nvSpPr>
          <p:spPr bwMode="auto">
            <a:xfrm>
              <a:off x="7807325" y="2342516"/>
              <a:ext cx="6350"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71" name="Line 1319">
              <a:extLst>
                <a:ext uri="{FF2B5EF4-FFF2-40B4-BE49-F238E27FC236}">
                  <a16:creationId xmlns:a16="http://schemas.microsoft.com/office/drawing/2014/main" id="{019F57D6-2446-46CF-9151-BFB4EB03F2CE}"/>
                </a:ext>
              </a:extLst>
            </p:cNvPr>
            <p:cNvSpPr>
              <a:spLocks noChangeAspect="1" noChangeShapeType="1"/>
            </p:cNvSpPr>
            <p:nvPr/>
          </p:nvSpPr>
          <p:spPr bwMode="auto">
            <a:xfrm>
              <a:off x="7815264" y="2385379"/>
              <a:ext cx="1587"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72" name="Line 1320">
              <a:extLst>
                <a:ext uri="{FF2B5EF4-FFF2-40B4-BE49-F238E27FC236}">
                  <a16:creationId xmlns:a16="http://schemas.microsoft.com/office/drawing/2014/main" id="{2FE14AD9-DEAF-4382-9F70-D828EE07699E}"/>
                </a:ext>
              </a:extLst>
            </p:cNvPr>
            <p:cNvSpPr>
              <a:spLocks noChangeAspect="1" noChangeShapeType="1"/>
            </p:cNvSpPr>
            <p:nvPr/>
          </p:nvSpPr>
          <p:spPr bwMode="auto">
            <a:xfrm>
              <a:off x="7815264" y="2388554"/>
              <a:ext cx="9525"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73" name="Line 1321">
              <a:extLst>
                <a:ext uri="{FF2B5EF4-FFF2-40B4-BE49-F238E27FC236}">
                  <a16:creationId xmlns:a16="http://schemas.microsoft.com/office/drawing/2014/main" id="{9CD3CF40-CAAF-4D2F-BCCB-F98010E341B6}"/>
                </a:ext>
              </a:extLst>
            </p:cNvPr>
            <p:cNvSpPr>
              <a:spLocks noChangeAspect="1" noChangeShapeType="1"/>
            </p:cNvSpPr>
            <p:nvPr/>
          </p:nvSpPr>
          <p:spPr bwMode="auto">
            <a:xfrm>
              <a:off x="7824788" y="2434591"/>
              <a:ext cx="0"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74" name="Line 1322">
              <a:extLst>
                <a:ext uri="{FF2B5EF4-FFF2-40B4-BE49-F238E27FC236}">
                  <a16:creationId xmlns:a16="http://schemas.microsoft.com/office/drawing/2014/main" id="{46D0A1B5-A91D-47D1-9030-3297A26B0790}"/>
                </a:ext>
              </a:extLst>
            </p:cNvPr>
            <p:cNvSpPr>
              <a:spLocks noChangeAspect="1" noChangeShapeType="1"/>
            </p:cNvSpPr>
            <p:nvPr/>
          </p:nvSpPr>
          <p:spPr bwMode="auto">
            <a:xfrm>
              <a:off x="7826375" y="2459990"/>
              <a:ext cx="1588"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75" name="Line 1323">
              <a:extLst>
                <a:ext uri="{FF2B5EF4-FFF2-40B4-BE49-F238E27FC236}">
                  <a16:creationId xmlns:a16="http://schemas.microsoft.com/office/drawing/2014/main" id="{1904028F-9B6A-45EE-B84E-2CF2E66EC5E1}"/>
                </a:ext>
              </a:extLst>
            </p:cNvPr>
            <p:cNvSpPr>
              <a:spLocks noChangeAspect="1" noChangeShapeType="1"/>
            </p:cNvSpPr>
            <p:nvPr/>
          </p:nvSpPr>
          <p:spPr bwMode="auto">
            <a:xfrm>
              <a:off x="7827964" y="2480629"/>
              <a:ext cx="3175" cy="412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76" name="Line 1324">
              <a:extLst>
                <a:ext uri="{FF2B5EF4-FFF2-40B4-BE49-F238E27FC236}">
                  <a16:creationId xmlns:a16="http://schemas.microsoft.com/office/drawing/2014/main" id="{10E05670-9DDE-4B66-9179-4EA56FD5112B}"/>
                </a:ext>
              </a:extLst>
            </p:cNvPr>
            <p:cNvSpPr>
              <a:spLocks noChangeAspect="1" noChangeShapeType="1"/>
            </p:cNvSpPr>
            <p:nvPr/>
          </p:nvSpPr>
          <p:spPr bwMode="auto">
            <a:xfrm>
              <a:off x="7831139" y="2536191"/>
              <a:ext cx="1587" cy="365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77" name="Line 1325">
              <a:extLst>
                <a:ext uri="{FF2B5EF4-FFF2-40B4-BE49-F238E27FC236}">
                  <a16:creationId xmlns:a16="http://schemas.microsoft.com/office/drawing/2014/main" id="{6744F66A-EF55-4E50-94D3-FD6659FD4681}"/>
                </a:ext>
              </a:extLst>
            </p:cNvPr>
            <p:cNvSpPr>
              <a:spLocks noChangeAspect="1" noChangeShapeType="1"/>
            </p:cNvSpPr>
            <p:nvPr/>
          </p:nvSpPr>
          <p:spPr bwMode="auto">
            <a:xfrm flipH="1">
              <a:off x="7829550" y="2572704"/>
              <a:ext cx="1588"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78" name="Line 1326">
              <a:extLst>
                <a:ext uri="{FF2B5EF4-FFF2-40B4-BE49-F238E27FC236}">
                  <a16:creationId xmlns:a16="http://schemas.microsoft.com/office/drawing/2014/main" id="{902752CC-0964-4406-A2EC-70FF1A2F4AAB}"/>
                </a:ext>
              </a:extLst>
            </p:cNvPr>
            <p:cNvSpPr>
              <a:spLocks noChangeAspect="1" noChangeShapeType="1"/>
            </p:cNvSpPr>
            <p:nvPr/>
          </p:nvSpPr>
          <p:spPr bwMode="auto">
            <a:xfrm flipH="1">
              <a:off x="7827964" y="2610804"/>
              <a:ext cx="1587"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79" name="Line 1327">
              <a:extLst>
                <a:ext uri="{FF2B5EF4-FFF2-40B4-BE49-F238E27FC236}">
                  <a16:creationId xmlns:a16="http://schemas.microsoft.com/office/drawing/2014/main" id="{DBA05EBE-0051-4B0C-A96F-411D16EDD197}"/>
                </a:ext>
              </a:extLst>
            </p:cNvPr>
            <p:cNvSpPr>
              <a:spLocks noChangeAspect="1" noChangeShapeType="1"/>
            </p:cNvSpPr>
            <p:nvPr/>
          </p:nvSpPr>
          <p:spPr bwMode="auto">
            <a:xfrm flipH="1">
              <a:off x="7824789" y="2618740"/>
              <a:ext cx="3175" cy="460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80" name="Line 1328">
              <a:extLst>
                <a:ext uri="{FF2B5EF4-FFF2-40B4-BE49-F238E27FC236}">
                  <a16:creationId xmlns:a16="http://schemas.microsoft.com/office/drawing/2014/main" id="{CF882BDD-589E-49A6-98DD-C526815F3805}"/>
                </a:ext>
              </a:extLst>
            </p:cNvPr>
            <p:cNvSpPr>
              <a:spLocks noChangeAspect="1" noChangeShapeType="1"/>
            </p:cNvSpPr>
            <p:nvPr/>
          </p:nvSpPr>
          <p:spPr bwMode="auto">
            <a:xfrm flipH="1">
              <a:off x="7823200" y="2664778"/>
              <a:ext cx="1588"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81" name="Line 1329">
              <a:extLst>
                <a:ext uri="{FF2B5EF4-FFF2-40B4-BE49-F238E27FC236}">
                  <a16:creationId xmlns:a16="http://schemas.microsoft.com/office/drawing/2014/main" id="{37D51037-F268-4E7E-B83A-5AF2C03F9020}"/>
                </a:ext>
              </a:extLst>
            </p:cNvPr>
            <p:cNvSpPr>
              <a:spLocks noChangeAspect="1" noChangeShapeType="1"/>
            </p:cNvSpPr>
            <p:nvPr/>
          </p:nvSpPr>
          <p:spPr bwMode="auto">
            <a:xfrm flipH="1">
              <a:off x="7816851" y="2685415"/>
              <a:ext cx="4763"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82" name="Line 1330">
              <a:extLst>
                <a:ext uri="{FF2B5EF4-FFF2-40B4-BE49-F238E27FC236}">
                  <a16:creationId xmlns:a16="http://schemas.microsoft.com/office/drawing/2014/main" id="{9C7898B9-305B-4183-9310-4FCE873FA84E}"/>
                </a:ext>
              </a:extLst>
            </p:cNvPr>
            <p:cNvSpPr>
              <a:spLocks noChangeAspect="1" noChangeShapeType="1"/>
            </p:cNvSpPr>
            <p:nvPr/>
          </p:nvSpPr>
          <p:spPr bwMode="auto">
            <a:xfrm flipH="1">
              <a:off x="7810500" y="2710815"/>
              <a:ext cx="6350" cy="333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83" name="Line 1331">
              <a:extLst>
                <a:ext uri="{FF2B5EF4-FFF2-40B4-BE49-F238E27FC236}">
                  <a16:creationId xmlns:a16="http://schemas.microsoft.com/office/drawing/2014/main" id="{E170B1B3-F4FA-48ED-8DB1-4A39DA37AD00}"/>
                </a:ext>
              </a:extLst>
            </p:cNvPr>
            <p:cNvSpPr>
              <a:spLocks noChangeAspect="1" noChangeShapeType="1"/>
            </p:cNvSpPr>
            <p:nvPr/>
          </p:nvSpPr>
          <p:spPr bwMode="auto">
            <a:xfrm flipH="1">
              <a:off x="7804151" y="2758440"/>
              <a:ext cx="3175"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84" name="Line 1332">
              <a:extLst>
                <a:ext uri="{FF2B5EF4-FFF2-40B4-BE49-F238E27FC236}">
                  <a16:creationId xmlns:a16="http://schemas.microsoft.com/office/drawing/2014/main" id="{B400B5D9-F5D3-4DB1-B17B-63CA3B92BADA}"/>
                </a:ext>
              </a:extLst>
            </p:cNvPr>
            <p:cNvSpPr>
              <a:spLocks noChangeAspect="1" noChangeShapeType="1"/>
            </p:cNvSpPr>
            <p:nvPr/>
          </p:nvSpPr>
          <p:spPr bwMode="auto">
            <a:xfrm flipH="1">
              <a:off x="7797800" y="2779079"/>
              <a:ext cx="6350"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85" name="Line 1333">
              <a:extLst>
                <a:ext uri="{FF2B5EF4-FFF2-40B4-BE49-F238E27FC236}">
                  <a16:creationId xmlns:a16="http://schemas.microsoft.com/office/drawing/2014/main" id="{F00E30FF-CE8B-4F25-B068-26D08BA2FAC4}"/>
                </a:ext>
              </a:extLst>
            </p:cNvPr>
            <p:cNvSpPr>
              <a:spLocks noChangeAspect="1" noChangeShapeType="1"/>
            </p:cNvSpPr>
            <p:nvPr/>
          </p:nvSpPr>
          <p:spPr bwMode="auto">
            <a:xfrm flipH="1">
              <a:off x="7793038" y="2801304"/>
              <a:ext cx="4762"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86" name="Line 1334">
              <a:extLst>
                <a:ext uri="{FF2B5EF4-FFF2-40B4-BE49-F238E27FC236}">
                  <a16:creationId xmlns:a16="http://schemas.microsoft.com/office/drawing/2014/main" id="{F773178B-1070-4C78-AA92-FDA69F59F6B9}"/>
                </a:ext>
              </a:extLst>
            </p:cNvPr>
            <p:cNvSpPr>
              <a:spLocks noChangeAspect="1" noChangeShapeType="1"/>
            </p:cNvSpPr>
            <p:nvPr/>
          </p:nvSpPr>
          <p:spPr bwMode="auto">
            <a:xfrm flipH="1">
              <a:off x="7785101" y="2831465"/>
              <a:ext cx="4763"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87" name="Line 1335">
              <a:extLst>
                <a:ext uri="{FF2B5EF4-FFF2-40B4-BE49-F238E27FC236}">
                  <a16:creationId xmlns:a16="http://schemas.microsoft.com/office/drawing/2014/main" id="{D09165F0-1DA6-48E0-8360-4E181CC9E816}"/>
                </a:ext>
              </a:extLst>
            </p:cNvPr>
            <p:cNvSpPr>
              <a:spLocks noChangeAspect="1" noChangeShapeType="1"/>
            </p:cNvSpPr>
            <p:nvPr/>
          </p:nvSpPr>
          <p:spPr bwMode="auto">
            <a:xfrm flipH="1">
              <a:off x="7770814" y="2845754"/>
              <a:ext cx="14287" cy="412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88" name="Line 1336">
              <a:extLst>
                <a:ext uri="{FF2B5EF4-FFF2-40B4-BE49-F238E27FC236}">
                  <a16:creationId xmlns:a16="http://schemas.microsoft.com/office/drawing/2014/main" id="{4994C133-E4B8-4A8C-AA26-C279D2B3684F}"/>
                </a:ext>
              </a:extLst>
            </p:cNvPr>
            <p:cNvSpPr>
              <a:spLocks noChangeAspect="1" noChangeShapeType="1"/>
            </p:cNvSpPr>
            <p:nvPr/>
          </p:nvSpPr>
          <p:spPr bwMode="auto">
            <a:xfrm flipH="1">
              <a:off x="7756526" y="2899729"/>
              <a:ext cx="11113" cy="269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89" name="Line 1337">
              <a:extLst>
                <a:ext uri="{FF2B5EF4-FFF2-40B4-BE49-F238E27FC236}">
                  <a16:creationId xmlns:a16="http://schemas.microsoft.com/office/drawing/2014/main" id="{F0BCD800-859B-4D8B-BFBA-6EEB09C252C3}"/>
                </a:ext>
              </a:extLst>
            </p:cNvPr>
            <p:cNvSpPr>
              <a:spLocks noChangeAspect="1" noChangeShapeType="1"/>
            </p:cNvSpPr>
            <p:nvPr/>
          </p:nvSpPr>
          <p:spPr bwMode="auto">
            <a:xfrm flipH="1">
              <a:off x="7753351" y="2926716"/>
              <a:ext cx="3175"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90" name="Line 1338">
              <a:extLst>
                <a:ext uri="{FF2B5EF4-FFF2-40B4-BE49-F238E27FC236}">
                  <a16:creationId xmlns:a16="http://schemas.microsoft.com/office/drawing/2014/main" id="{5DD915F6-25EF-49C3-B37F-0F3E579B8D5D}"/>
                </a:ext>
              </a:extLst>
            </p:cNvPr>
            <p:cNvSpPr>
              <a:spLocks noChangeAspect="1" noChangeShapeType="1"/>
            </p:cNvSpPr>
            <p:nvPr/>
          </p:nvSpPr>
          <p:spPr bwMode="auto">
            <a:xfrm flipH="1">
              <a:off x="7745414" y="2937828"/>
              <a:ext cx="7937"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91" name="Line 1339">
              <a:extLst>
                <a:ext uri="{FF2B5EF4-FFF2-40B4-BE49-F238E27FC236}">
                  <a16:creationId xmlns:a16="http://schemas.microsoft.com/office/drawing/2014/main" id="{FDEB5E48-B90E-44F1-B756-ACAB12839155}"/>
                </a:ext>
              </a:extLst>
            </p:cNvPr>
            <p:cNvSpPr>
              <a:spLocks noChangeAspect="1" noChangeShapeType="1"/>
            </p:cNvSpPr>
            <p:nvPr/>
          </p:nvSpPr>
          <p:spPr bwMode="auto">
            <a:xfrm flipH="1">
              <a:off x="7734300" y="2967991"/>
              <a:ext cx="6350"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92" name="Line 1340">
              <a:extLst>
                <a:ext uri="{FF2B5EF4-FFF2-40B4-BE49-F238E27FC236}">
                  <a16:creationId xmlns:a16="http://schemas.microsoft.com/office/drawing/2014/main" id="{DFFCB4CF-7DA3-4D81-80C3-7B6D7F899D93}"/>
                </a:ext>
              </a:extLst>
            </p:cNvPr>
            <p:cNvSpPr>
              <a:spLocks noChangeAspect="1" noChangeShapeType="1"/>
            </p:cNvSpPr>
            <p:nvPr/>
          </p:nvSpPr>
          <p:spPr bwMode="auto">
            <a:xfrm flipH="1">
              <a:off x="7716838" y="2983865"/>
              <a:ext cx="17462"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93" name="Line 1341">
              <a:extLst>
                <a:ext uri="{FF2B5EF4-FFF2-40B4-BE49-F238E27FC236}">
                  <a16:creationId xmlns:a16="http://schemas.microsoft.com/office/drawing/2014/main" id="{BFE43724-FBB5-4BFF-8DEB-DAF949E837F1}"/>
                </a:ext>
              </a:extLst>
            </p:cNvPr>
            <p:cNvSpPr>
              <a:spLocks noChangeAspect="1" noChangeShapeType="1"/>
            </p:cNvSpPr>
            <p:nvPr/>
          </p:nvSpPr>
          <p:spPr bwMode="auto">
            <a:xfrm flipH="1">
              <a:off x="7689850" y="3034666"/>
              <a:ext cx="19050" cy="412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94" name="Line 1342">
              <a:extLst>
                <a:ext uri="{FF2B5EF4-FFF2-40B4-BE49-F238E27FC236}">
                  <a16:creationId xmlns:a16="http://schemas.microsoft.com/office/drawing/2014/main" id="{D370C217-EA6D-4ECB-AF7E-40C116867997}"/>
                </a:ext>
              </a:extLst>
            </p:cNvPr>
            <p:cNvSpPr>
              <a:spLocks noChangeAspect="1" noChangeShapeType="1"/>
            </p:cNvSpPr>
            <p:nvPr/>
          </p:nvSpPr>
          <p:spPr bwMode="auto">
            <a:xfrm flipH="1">
              <a:off x="7683500" y="3075941"/>
              <a:ext cx="6350"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95" name="Line 1343">
              <a:extLst>
                <a:ext uri="{FF2B5EF4-FFF2-40B4-BE49-F238E27FC236}">
                  <a16:creationId xmlns:a16="http://schemas.microsoft.com/office/drawing/2014/main" id="{124C1D83-5C43-462E-98FC-9E20CAD4210A}"/>
                </a:ext>
              </a:extLst>
            </p:cNvPr>
            <p:cNvSpPr>
              <a:spLocks noChangeAspect="1" noChangeShapeType="1"/>
            </p:cNvSpPr>
            <p:nvPr/>
          </p:nvSpPr>
          <p:spPr bwMode="auto">
            <a:xfrm flipH="1">
              <a:off x="7666038" y="3099754"/>
              <a:ext cx="11112"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96" name="Line 1344">
              <a:extLst>
                <a:ext uri="{FF2B5EF4-FFF2-40B4-BE49-F238E27FC236}">
                  <a16:creationId xmlns:a16="http://schemas.microsoft.com/office/drawing/2014/main" id="{124F7F78-1A46-4A67-B35D-2676B692EF36}"/>
                </a:ext>
              </a:extLst>
            </p:cNvPr>
            <p:cNvSpPr>
              <a:spLocks noChangeAspect="1" noChangeShapeType="1"/>
            </p:cNvSpPr>
            <p:nvPr/>
          </p:nvSpPr>
          <p:spPr bwMode="auto">
            <a:xfrm flipH="1">
              <a:off x="7664450" y="3121979"/>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97" name="Line 1345">
              <a:extLst>
                <a:ext uri="{FF2B5EF4-FFF2-40B4-BE49-F238E27FC236}">
                  <a16:creationId xmlns:a16="http://schemas.microsoft.com/office/drawing/2014/main" id="{269D9D24-3811-4A26-B2F6-3D4604340AAE}"/>
                </a:ext>
              </a:extLst>
            </p:cNvPr>
            <p:cNvSpPr>
              <a:spLocks noChangeAspect="1" noChangeShapeType="1"/>
            </p:cNvSpPr>
            <p:nvPr/>
          </p:nvSpPr>
          <p:spPr bwMode="auto">
            <a:xfrm flipH="1">
              <a:off x="7650164" y="3123565"/>
              <a:ext cx="14287"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98" name="Line 1346">
              <a:extLst>
                <a:ext uri="{FF2B5EF4-FFF2-40B4-BE49-F238E27FC236}">
                  <a16:creationId xmlns:a16="http://schemas.microsoft.com/office/drawing/2014/main" id="{820B40E5-25FB-40FF-B12A-98724C97FAFE}"/>
                </a:ext>
              </a:extLst>
            </p:cNvPr>
            <p:cNvSpPr>
              <a:spLocks noChangeAspect="1" noChangeShapeType="1"/>
            </p:cNvSpPr>
            <p:nvPr/>
          </p:nvSpPr>
          <p:spPr bwMode="auto">
            <a:xfrm flipH="1">
              <a:off x="7640639" y="3161665"/>
              <a:ext cx="3175"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899" name="Line 1347">
              <a:extLst>
                <a:ext uri="{FF2B5EF4-FFF2-40B4-BE49-F238E27FC236}">
                  <a16:creationId xmlns:a16="http://schemas.microsoft.com/office/drawing/2014/main" id="{22C4A8A3-EAAE-4D20-90D4-CD2104B2CA3B}"/>
                </a:ext>
              </a:extLst>
            </p:cNvPr>
            <p:cNvSpPr>
              <a:spLocks noChangeAspect="1" noChangeShapeType="1"/>
            </p:cNvSpPr>
            <p:nvPr/>
          </p:nvSpPr>
          <p:spPr bwMode="auto">
            <a:xfrm flipH="1">
              <a:off x="7618414" y="3168015"/>
              <a:ext cx="22225"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00" name="Line 1348">
              <a:extLst>
                <a:ext uri="{FF2B5EF4-FFF2-40B4-BE49-F238E27FC236}">
                  <a16:creationId xmlns:a16="http://schemas.microsoft.com/office/drawing/2014/main" id="{FE8256D6-CE90-4C9A-8EDE-78A9B9D00864}"/>
                </a:ext>
              </a:extLst>
            </p:cNvPr>
            <p:cNvSpPr>
              <a:spLocks noChangeAspect="1" noChangeShapeType="1"/>
            </p:cNvSpPr>
            <p:nvPr/>
          </p:nvSpPr>
          <p:spPr bwMode="auto">
            <a:xfrm flipH="1">
              <a:off x="7615239" y="3206116"/>
              <a:ext cx="3175"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01" name="Line 1349">
              <a:extLst>
                <a:ext uri="{FF2B5EF4-FFF2-40B4-BE49-F238E27FC236}">
                  <a16:creationId xmlns:a16="http://schemas.microsoft.com/office/drawing/2014/main" id="{60336027-F7DD-446A-A040-C3245D7B034C}"/>
                </a:ext>
              </a:extLst>
            </p:cNvPr>
            <p:cNvSpPr>
              <a:spLocks noChangeAspect="1" noChangeShapeType="1"/>
            </p:cNvSpPr>
            <p:nvPr/>
          </p:nvSpPr>
          <p:spPr bwMode="auto">
            <a:xfrm flipH="1">
              <a:off x="7586664" y="3223578"/>
              <a:ext cx="22225" cy="365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02" name="Line 1350">
              <a:extLst>
                <a:ext uri="{FF2B5EF4-FFF2-40B4-BE49-F238E27FC236}">
                  <a16:creationId xmlns:a16="http://schemas.microsoft.com/office/drawing/2014/main" id="{5DB82792-524B-4CAE-9960-993CB3D73A43}"/>
                </a:ext>
              </a:extLst>
            </p:cNvPr>
            <p:cNvSpPr>
              <a:spLocks noChangeAspect="1" noChangeShapeType="1"/>
            </p:cNvSpPr>
            <p:nvPr/>
          </p:nvSpPr>
          <p:spPr bwMode="auto">
            <a:xfrm flipH="1">
              <a:off x="7580313" y="3260090"/>
              <a:ext cx="6350"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03" name="Line 1351">
              <a:extLst>
                <a:ext uri="{FF2B5EF4-FFF2-40B4-BE49-F238E27FC236}">
                  <a16:creationId xmlns:a16="http://schemas.microsoft.com/office/drawing/2014/main" id="{9BC99389-821A-4AF2-8EAE-E68971F26B3F}"/>
                </a:ext>
              </a:extLst>
            </p:cNvPr>
            <p:cNvSpPr>
              <a:spLocks noChangeAspect="1" noChangeShapeType="1"/>
            </p:cNvSpPr>
            <p:nvPr/>
          </p:nvSpPr>
          <p:spPr bwMode="auto">
            <a:xfrm flipH="1">
              <a:off x="7558089" y="3285490"/>
              <a:ext cx="14287"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04" name="Line 1352">
              <a:extLst>
                <a:ext uri="{FF2B5EF4-FFF2-40B4-BE49-F238E27FC236}">
                  <a16:creationId xmlns:a16="http://schemas.microsoft.com/office/drawing/2014/main" id="{72539FF0-5D48-45A3-A028-A941125FF014}"/>
                </a:ext>
              </a:extLst>
            </p:cNvPr>
            <p:cNvSpPr>
              <a:spLocks noChangeAspect="1" noChangeShapeType="1"/>
            </p:cNvSpPr>
            <p:nvPr/>
          </p:nvSpPr>
          <p:spPr bwMode="auto">
            <a:xfrm flipH="1">
              <a:off x="7540626" y="3306128"/>
              <a:ext cx="17463"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05" name="Line 1353">
              <a:extLst>
                <a:ext uri="{FF2B5EF4-FFF2-40B4-BE49-F238E27FC236}">
                  <a16:creationId xmlns:a16="http://schemas.microsoft.com/office/drawing/2014/main" id="{FA51F0EA-0CCD-4787-87E8-65DD85423291}"/>
                </a:ext>
              </a:extLst>
            </p:cNvPr>
            <p:cNvSpPr>
              <a:spLocks noChangeAspect="1" noChangeShapeType="1"/>
            </p:cNvSpPr>
            <p:nvPr/>
          </p:nvSpPr>
          <p:spPr bwMode="auto">
            <a:xfrm flipH="1">
              <a:off x="7527925" y="3342640"/>
              <a:ext cx="6350"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06" name="Line 1354">
              <a:extLst>
                <a:ext uri="{FF2B5EF4-FFF2-40B4-BE49-F238E27FC236}">
                  <a16:creationId xmlns:a16="http://schemas.microsoft.com/office/drawing/2014/main" id="{967DCD9A-FE43-4800-B855-CCDA2A8745F2}"/>
                </a:ext>
              </a:extLst>
            </p:cNvPr>
            <p:cNvSpPr>
              <a:spLocks noChangeAspect="1" noChangeShapeType="1"/>
            </p:cNvSpPr>
            <p:nvPr/>
          </p:nvSpPr>
          <p:spPr bwMode="auto">
            <a:xfrm flipH="1">
              <a:off x="7527925" y="3350579"/>
              <a:ext cx="0"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07" name="Line 1355">
              <a:extLst>
                <a:ext uri="{FF2B5EF4-FFF2-40B4-BE49-F238E27FC236}">
                  <a16:creationId xmlns:a16="http://schemas.microsoft.com/office/drawing/2014/main" id="{7993C45C-1655-4D82-8E90-708584222DA2}"/>
                </a:ext>
              </a:extLst>
            </p:cNvPr>
            <p:cNvSpPr>
              <a:spLocks noChangeAspect="1" noChangeShapeType="1"/>
            </p:cNvSpPr>
            <p:nvPr/>
          </p:nvSpPr>
          <p:spPr bwMode="auto">
            <a:xfrm flipH="1">
              <a:off x="7499351" y="3352166"/>
              <a:ext cx="28575" cy="365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08" name="Line 1356">
              <a:extLst>
                <a:ext uri="{FF2B5EF4-FFF2-40B4-BE49-F238E27FC236}">
                  <a16:creationId xmlns:a16="http://schemas.microsoft.com/office/drawing/2014/main" id="{F0B848F0-F0A9-413E-8977-23DAE98CF438}"/>
                </a:ext>
              </a:extLst>
            </p:cNvPr>
            <p:cNvSpPr>
              <a:spLocks noChangeAspect="1" noChangeShapeType="1"/>
            </p:cNvSpPr>
            <p:nvPr/>
          </p:nvSpPr>
          <p:spPr bwMode="auto">
            <a:xfrm flipH="1">
              <a:off x="7480301" y="3399791"/>
              <a:ext cx="11113"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09" name="Line 1357">
              <a:extLst>
                <a:ext uri="{FF2B5EF4-FFF2-40B4-BE49-F238E27FC236}">
                  <a16:creationId xmlns:a16="http://schemas.microsoft.com/office/drawing/2014/main" id="{5530A12A-ECCE-468E-9FB0-112BCC042772}"/>
                </a:ext>
              </a:extLst>
            </p:cNvPr>
            <p:cNvSpPr>
              <a:spLocks noChangeAspect="1" noChangeShapeType="1"/>
            </p:cNvSpPr>
            <p:nvPr/>
          </p:nvSpPr>
          <p:spPr bwMode="auto">
            <a:xfrm flipH="1">
              <a:off x="7456488" y="3415665"/>
              <a:ext cx="23812"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10" name="Line 1358">
              <a:extLst>
                <a:ext uri="{FF2B5EF4-FFF2-40B4-BE49-F238E27FC236}">
                  <a16:creationId xmlns:a16="http://schemas.microsoft.com/office/drawing/2014/main" id="{7B29F579-D641-4EF6-9B36-C0174A3D7F0D}"/>
                </a:ext>
              </a:extLst>
            </p:cNvPr>
            <p:cNvSpPr>
              <a:spLocks noChangeAspect="1" noChangeShapeType="1"/>
            </p:cNvSpPr>
            <p:nvPr/>
          </p:nvSpPr>
          <p:spPr bwMode="auto">
            <a:xfrm flipH="1">
              <a:off x="7434263" y="3452178"/>
              <a:ext cx="12700"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11" name="Line 1359">
              <a:extLst>
                <a:ext uri="{FF2B5EF4-FFF2-40B4-BE49-F238E27FC236}">
                  <a16:creationId xmlns:a16="http://schemas.microsoft.com/office/drawing/2014/main" id="{A4144ED4-71DD-4B17-81C8-23B98DBC325D}"/>
                </a:ext>
              </a:extLst>
            </p:cNvPr>
            <p:cNvSpPr>
              <a:spLocks noChangeAspect="1" noChangeShapeType="1"/>
            </p:cNvSpPr>
            <p:nvPr/>
          </p:nvSpPr>
          <p:spPr bwMode="auto">
            <a:xfrm flipH="1">
              <a:off x="7416801" y="3469641"/>
              <a:ext cx="17463"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12" name="Line 1360">
              <a:extLst>
                <a:ext uri="{FF2B5EF4-FFF2-40B4-BE49-F238E27FC236}">
                  <a16:creationId xmlns:a16="http://schemas.microsoft.com/office/drawing/2014/main" id="{6E930CEC-1731-4F64-882F-9C24D5D86417}"/>
                </a:ext>
              </a:extLst>
            </p:cNvPr>
            <p:cNvSpPr>
              <a:spLocks noChangeAspect="1" noChangeShapeType="1"/>
            </p:cNvSpPr>
            <p:nvPr/>
          </p:nvSpPr>
          <p:spPr bwMode="auto">
            <a:xfrm flipH="1">
              <a:off x="7412038" y="3487104"/>
              <a:ext cx="4762"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13" name="Line 1361">
              <a:extLst>
                <a:ext uri="{FF2B5EF4-FFF2-40B4-BE49-F238E27FC236}">
                  <a16:creationId xmlns:a16="http://schemas.microsoft.com/office/drawing/2014/main" id="{E1019253-1747-4B7B-B9A7-38665DDDAF9A}"/>
                </a:ext>
              </a:extLst>
            </p:cNvPr>
            <p:cNvSpPr>
              <a:spLocks noChangeAspect="1" noChangeShapeType="1"/>
            </p:cNvSpPr>
            <p:nvPr/>
          </p:nvSpPr>
          <p:spPr bwMode="auto">
            <a:xfrm flipH="1">
              <a:off x="7388225" y="3504566"/>
              <a:ext cx="14288"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14" name="Line 1362">
              <a:extLst>
                <a:ext uri="{FF2B5EF4-FFF2-40B4-BE49-F238E27FC236}">
                  <a16:creationId xmlns:a16="http://schemas.microsoft.com/office/drawing/2014/main" id="{01A5D75E-3BC5-45E0-9DC3-F076ECF02DC8}"/>
                </a:ext>
              </a:extLst>
            </p:cNvPr>
            <p:cNvSpPr>
              <a:spLocks noChangeAspect="1" noChangeShapeType="1"/>
            </p:cNvSpPr>
            <p:nvPr/>
          </p:nvSpPr>
          <p:spPr bwMode="auto">
            <a:xfrm flipH="1">
              <a:off x="7375525" y="3520440"/>
              <a:ext cx="12700"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15" name="Line 1363">
              <a:extLst>
                <a:ext uri="{FF2B5EF4-FFF2-40B4-BE49-F238E27FC236}">
                  <a16:creationId xmlns:a16="http://schemas.microsoft.com/office/drawing/2014/main" id="{7A78BCCC-99F4-4A86-9A5A-F97CBE6743E3}"/>
                </a:ext>
              </a:extLst>
            </p:cNvPr>
            <p:cNvSpPr>
              <a:spLocks noChangeAspect="1" noChangeShapeType="1"/>
            </p:cNvSpPr>
            <p:nvPr/>
          </p:nvSpPr>
          <p:spPr bwMode="auto">
            <a:xfrm flipH="1">
              <a:off x="7364413" y="3533141"/>
              <a:ext cx="11112"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16" name="Line 1364">
              <a:extLst>
                <a:ext uri="{FF2B5EF4-FFF2-40B4-BE49-F238E27FC236}">
                  <a16:creationId xmlns:a16="http://schemas.microsoft.com/office/drawing/2014/main" id="{C7353C98-8C62-4C7F-93FD-704FC0E3E56C}"/>
                </a:ext>
              </a:extLst>
            </p:cNvPr>
            <p:cNvSpPr>
              <a:spLocks noChangeAspect="1" noChangeShapeType="1"/>
            </p:cNvSpPr>
            <p:nvPr/>
          </p:nvSpPr>
          <p:spPr bwMode="auto">
            <a:xfrm flipH="1">
              <a:off x="7342189" y="3555366"/>
              <a:ext cx="14287"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17" name="Line 1365">
              <a:extLst>
                <a:ext uri="{FF2B5EF4-FFF2-40B4-BE49-F238E27FC236}">
                  <a16:creationId xmlns:a16="http://schemas.microsoft.com/office/drawing/2014/main" id="{2C8AB812-B200-4E8F-99AF-55964C8C0DD8}"/>
                </a:ext>
              </a:extLst>
            </p:cNvPr>
            <p:cNvSpPr>
              <a:spLocks noChangeAspect="1" noChangeShapeType="1"/>
            </p:cNvSpPr>
            <p:nvPr/>
          </p:nvSpPr>
          <p:spPr bwMode="auto">
            <a:xfrm flipH="1">
              <a:off x="7332664" y="3571240"/>
              <a:ext cx="9525"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18" name="Line 1366">
              <a:extLst>
                <a:ext uri="{FF2B5EF4-FFF2-40B4-BE49-F238E27FC236}">
                  <a16:creationId xmlns:a16="http://schemas.microsoft.com/office/drawing/2014/main" id="{183DB4A5-836D-474E-8852-4CB1BC9D3C3F}"/>
                </a:ext>
              </a:extLst>
            </p:cNvPr>
            <p:cNvSpPr>
              <a:spLocks noChangeAspect="1" noChangeShapeType="1"/>
            </p:cNvSpPr>
            <p:nvPr/>
          </p:nvSpPr>
          <p:spPr bwMode="auto">
            <a:xfrm flipH="1">
              <a:off x="7319963" y="3579179"/>
              <a:ext cx="12700"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19" name="Line 1367">
              <a:extLst>
                <a:ext uri="{FF2B5EF4-FFF2-40B4-BE49-F238E27FC236}">
                  <a16:creationId xmlns:a16="http://schemas.microsoft.com/office/drawing/2014/main" id="{C28315C8-7CC2-4D4A-8C3B-A9BDF091BB45}"/>
                </a:ext>
              </a:extLst>
            </p:cNvPr>
            <p:cNvSpPr>
              <a:spLocks noChangeAspect="1" noChangeShapeType="1"/>
            </p:cNvSpPr>
            <p:nvPr/>
          </p:nvSpPr>
          <p:spPr bwMode="auto">
            <a:xfrm flipH="1">
              <a:off x="7296150" y="3604578"/>
              <a:ext cx="14288"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20" name="Line 1368">
              <a:extLst>
                <a:ext uri="{FF2B5EF4-FFF2-40B4-BE49-F238E27FC236}">
                  <a16:creationId xmlns:a16="http://schemas.microsoft.com/office/drawing/2014/main" id="{189D77EA-652D-4232-8FC4-DE2251C4CA59}"/>
                </a:ext>
              </a:extLst>
            </p:cNvPr>
            <p:cNvSpPr>
              <a:spLocks noChangeAspect="1" noChangeShapeType="1"/>
            </p:cNvSpPr>
            <p:nvPr/>
          </p:nvSpPr>
          <p:spPr bwMode="auto">
            <a:xfrm flipH="1">
              <a:off x="7292976" y="3622041"/>
              <a:ext cx="31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21" name="Line 1369">
              <a:extLst>
                <a:ext uri="{FF2B5EF4-FFF2-40B4-BE49-F238E27FC236}">
                  <a16:creationId xmlns:a16="http://schemas.microsoft.com/office/drawing/2014/main" id="{9531E280-7352-49CC-BDB1-510165F0B3B4}"/>
                </a:ext>
              </a:extLst>
            </p:cNvPr>
            <p:cNvSpPr>
              <a:spLocks noChangeAspect="1" noChangeShapeType="1"/>
            </p:cNvSpPr>
            <p:nvPr/>
          </p:nvSpPr>
          <p:spPr bwMode="auto">
            <a:xfrm flipH="1">
              <a:off x="7273925" y="3625215"/>
              <a:ext cx="19050"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22" name="Line 1370">
              <a:extLst>
                <a:ext uri="{FF2B5EF4-FFF2-40B4-BE49-F238E27FC236}">
                  <a16:creationId xmlns:a16="http://schemas.microsoft.com/office/drawing/2014/main" id="{2ECEC15B-0858-4D60-810B-2E26DA044965}"/>
                </a:ext>
              </a:extLst>
            </p:cNvPr>
            <p:cNvSpPr>
              <a:spLocks noChangeAspect="1" noChangeShapeType="1"/>
            </p:cNvSpPr>
            <p:nvPr/>
          </p:nvSpPr>
          <p:spPr bwMode="auto">
            <a:xfrm flipH="1">
              <a:off x="7253288" y="3656965"/>
              <a:ext cx="12700"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23" name="Line 1371">
              <a:extLst>
                <a:ext uri="{FF2B5EF4-FFF2-40B4-BE49-F238E27FC236}">
                  <a16:creationId xmlns:a16="http://schemas.microsoft.com/office/drawing/2014/main" id="{15DFD651-B823-4A8B-A97B-C31DD41A4BBA}"/>
                </a:ext>
              </a:extLst>
            </p:cNvPr>
            <p:cNvSpPr>
              <a:spLocks noChangeAspect="1" noChangeShapeType="1"/>
            </p:cNvSpPr>
            <p:nvPr/>
          </p:nvSpPr>
          <p:spPr bwMode="auto">
            <a:xfrm flipH="1">
              <a:off x="7250114" y="3671253"/>
              <a:ext cx="3175"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24" name="Line 1372">
              <a:extLst>
                <a:ext uri="{FF2B5EF4-FFF2-40B4-BE49-F238E27FC236}">
                  <a16:creationId xmlns:a16="http://schemas.microsoft.com/office/drawing/2014/main" id="{81EE69F1-5D06-4685-9186-CC9D5879A22F}"/>
                </a:ext>
              </a:extLst>
            </p:cNvPr>
            <p:cNvSpPr>
              <a:spLocks noChangeAspect="1" noChangeShapeType="1"/>
            </p:cNvSpPr>
            <p:nvPr/>
          </p:nvSpPr>
          <p:spPr bwMode="auto">
            <a:xfrm flipH="1">
              <a:off x="7229475" y="3676016"/>
              <a:ext cx="20638" cy="238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25" name="Line 1373">
              <a:extLst>
                <a:ext uri="{FF2B5EF4-FFF2-40B4-BE49-F238E27FC236}">
                  <a16:creationId xmlns:a16="http://schemas.microsoft.com/office/drawing/2014/main" id="{922D8FD5-BFDF-4E9B-9701-E12C6BD3BBE0}"/>
                </a:ext>
              </a:extLst>
            </p:cNvPr>
            <p:cNvSpPr>
              <a:spLocks noChangeAspect="1" noChangeShapeType="1"/>
            </p:cNvSpPr>
            <p:nvPr/>
          </p:nvSpPr>
          <p:spPr bwMode="auto">
            <a:xfrm flipH="1">
              <a:off x="7216776" y="3710940"/>
              <a:ext cx="4763"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26" name="Line 1374">
              <a:extLst>
                <a:ext uri="{FF2B5EF4-FFF2-40B4-BE49-F238E27FC236}">
                  <a16:creationId xmlns:a16="http://schemas.microsoft.com/office/drawing/2014/main" id="{ADE09269-48C6-4755-888D-54E73BD97DAF}"/>
                </a:ext>
              </a:extLst>
            </p:cNvPr>
            <p:cNvSpPr>
              <a:spLocks noChangeAspect="1" noChangeShapeType="1"/>
            </p:cNvSpPr>
            <p:nvPr/>
          </p:nvSpPr>
          <p:spPr bwMode="auto">
            <a:xfrm flipH="1">
              <a:off x="7204075" y="3717291"/>
              <a:ext cx="12700"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27" name="Line 1375">
              <a:extLst>
                <a:ext uri="{FF2B5EF4-FFF2-40B4-BE49-F238E27FC236}">
                  <a16:creationId xmlns:a16="http://schemas.microsoft.com/office/drawing/2014/main" id="{2E9EFCE6-C70D-4A8E-A24F-6D736CA01EE7}"/>
                </a:ext>
              </a:extLst>
            </p:cNvPr>
            <p:cNvSpPr>
              <a:spLocks noChangeAspect="1" noChangeShapeType="1"/>
            </p:cNvSpPr>
            <p:nvPr/>
          </p:nvSpPr>
          <p:spPr bwMode="auto">
            <a:xfrm flipH="1">
              <a:off x="7191375" y="3739516"/>
              <a:ext cx="12700"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28" name="Line 1376">
              <a:extLst>
                <a:ext uri="{FF2B5EF4-FFF2-40B4-BE49-F238E27FC236}">
                  <a16:creationId xmlns:a16="http://schemas.microsoft.com/office/drawing/2014/main" id="{55D5487B-46B6-47BC-840E-59830EF9FA1D}"/>
                </a:ext>
              </a:extLst>
            </p:cNvPr>
            <p:cNvSpPr>
              <a:spLocks noChangeAspect="1" noChangeShapeType="1"/>
            </p:cNvSpPr>
            <p:nvPr/>
          </p:nvSpPr>
          <p:spPr bwMode="auto">
            <a:xfrm flipH="1">
              <a:off x="7164388" y="3768091"/>
              <a:ext cx="19050" cy="412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29" name="Line 1377">
              <a:extLst>
                <a:ext uri="{FF2B5EF4-FFF2-40B4-BE49-F238E27FC236}">
                  <a16:creationId xmlns:a16="http://schemas.microsoft.com/office/drawing/2014/main" id="{0A526EC0-2426-4BB7-A5E5-BEBB059C0AA5}"/>
                </a:ext>
              </a:extLst>
            </p:cNvPr>
            <p:cNvSpPr>
              <a:spLocks noChangeAspect="1" noChangeShapeType="1"/>
            </p:cNvSpPr>
            <p:nvPr/>
          </p:nvSpPr>
          <p:spPr bwMode="auto">
            <a:xfrm flipH="1">
              <a:off x="7159626" y="3809365"/>
              <a:ext cx="4763"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30" name="Line 1378">
              <a:extLst>
                <a:ext uri="{FF2B5EF4-FFF2-40B4-BE49-F238E27FC236}">
                  <a16:creationId xmlns:a16="http://schemas.microsoft.com/office/drawing/2014/main" id="{43A782F3-8177-450F-AEAF-915490D48AB4}"/>
                </a:ext>
              </a:extLst>
            </p:cNvPr>
            <p:cNvSpPr>
              <a:spLocks noChangeAspect="1" noChangeShapeType="1"/>
            </p:cNvSpPr>
            <p:nvPr/>
          </p:nvSpPr>
          <p:spPr bwMode="auto">
            <a:xfrm flipH="1">
              <a:off x="7148513" y="3836353"/>
              <a:ext cx="6350"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31" name="Line 1379">
              <a:extLst>
                <a:ext uri="{FF2B5EF4-FFF2-40B4-BE49-F238E27FC236}">
                  <a16:creationId xmlns:a16="http://schemas.microsoft.com/office/drawing/2014/main" id="{089290CC-457B-45F1-AB02-E0CBD709710D}"/>
                </a:ext>
              </a:extLst>
            </p:cNvPr>
            <p:cNvSpPr>
              <a:spLocks noChangeAspect="1" noChangeShapeType="1"/>
            </p:cNvSpPr>
            <p:nvPr/>
          </p:nvSpPr>
          <p:spPr bwMode="auto">
            <a:xfrm flipH="1">
              <a:off x="7142163" y="3853815"/>
              <a:ext cx="6350" cy="396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32" name="Line 1380">
              <a:extLst>
                <a:ext uri="{FF2B5EF4-FFF2-40B4-BE49-F238E27FC236}">
                  <a16:creationId xmlns:a16="http://schemas.microsoft.com/office/drawing/2014/main" id="{DF8647D2-E1F7-464C-A06B-58F778C06FE8}"/>
                </a:ext>
              </a:extLst>
            </p:cNvPr>
            <p:cNvSpPr>
              <a:spLocks noChangeAspect="1" noChangeShapeType="1"/>
            </p:cNvSpPr>
            <p:nvPr/>
          </p:nvSpPr>
          <p:spPr bwMode="auto">
            <a:xfrm>
              <a:off x="7142164" y="3909378"/>
              <a:ext cx="1587" cy="365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33" name="Line 1381">
              <a:extLst>
                <a:ext uri="{FF2B5EF4-FFF2-40B4-BE49-F238E27FC236}">
                  <a16:creationId xmlns:a16="http://schemas.microsoft.com/office/drawing/2014/main" id="{A9402CD9-F1C3-4BCF-81BC-A431C032035C}"/>
                </a:ext>
              </a:extLst>
            </p:cNvPr>
            <p:cNvSpPr>
              <a:spLocks noChangeAspect="1" noChangeShapeType="1"/>
            </p:cNvSpPr>
            <p:nvPr/>
          </p:nvSpPr>
          <p:spPr bwMode="auto">
            <a:xfrm>
              <a:off x="7143751" y="3945891"/>
              <a:ext cx="4763"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34" name="Line 1382">
              <a:extLst>
                <a:ext uri="{FF2B5EF4-FFF2-40B4-BE49-F238E27FC236}">
                  <a16:creationId xmlns:a16="http://schemas.microsoft.com/office/drawing/2014/main" id="{5D265C6C-F36A-4779-9BE8-EB26E08AE023}"/>
                </a:ext>
              </a:extLst>
            </p:cNvPr>
            <p:cNvSpPr>
              <a:spLocks noChangeAspect="1" noChangeShapeType="1"/>
            </p:cNvSpPr>
            <p:nvPr/>
          </p:nvSpPr>
          <p:spPr bwMode="auto">
            <a:xfrm>
              <a:off x="7151689" y="3982404"/>
              <a:ext cx="1587"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35" name="Line 1383">
              <a:extLst>
                <a:ext uri="{FF2B5EF4-FFF2-40B4-BE49-F238E27FC236}">
                  <a16:creationId xmlns:a16="http://schemas.microsoft.com/office/drawing/2014/main" id="{876E5536-6074-4D79-9B41-47279E88CA67}"/>
                </a:ext>
              </a:extLst>
            </p:cNvPr>
            <p:cNvSpPr>
              <a:spLocks noChangeAspect="1" noChangeShapeType="1"/>
            </p:cNvSpPr>
            <p:nvPr/>
          </p:nvSpPr>
          <p:spPr bwMode="auto">
            <a:xfrm>
              <a:off x="7153276" y="3991928"/>
              <a:ext cx="3175"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36" name="Line 1384">
              <a:extLst>
                <a:ext uri="{FF2B5EF4-FFF2-40B4-BE49-F238E27FC236}">
                  <a16:creationId xmlns:a16="http://schemas.microsoft.com/office/drawing/2014/main" id="{9A5EC3FD-921C-42EE-922A-F9E8CE7F17E2}"/>
                </a:ext>
              </a:extLst>
            </p:cNvPr>
            <p:cNvSpPr>
              <a:spLocks noChangeAspect="1" noChangeShapeType="1"/>
            </p:cNvSpPr>
            <p:nvPr/>
          </p:nvSpPr>
          <p:spPr bwMode="auto">
            <a:xfrm>
              <a:off x="7156451" y="4003041"/>
              <a:ext cx="11113"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37" name="Line 1385">
              <a:extLst>
                <a:ext uri="{FF2B5EF4-FFF2-40B4-BE49-F238E27FC236}">
                  <a16:creationId xmlns:a16="http://schemas.microsoft.com/office/drawing/2014/main" id="{A9C2F67E-1D93-48CB-96BE-6D0B1FE0DE5A}"/>
                </a:ext>
              </a:extLst>
            </p:cNvPr>
            <p:cNvSpPr>
              <a:spLocks noChangeAspect="1" noChangeShapeType="1"/>
            </p:cNvSpPr>
            <p:nvPr/>
          </p:nvSpPr>
          <p:spPr bwMode="auto">
            <a:xfrm>
              <a:off x="7167564" y="4037965"/>
              <a:ext cx="1587"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38" name="Line 1386">
              <a:extLst>
                <a:ext uri="{FF2B5EF4-FFF2-40B4-BE49-F238E27FC236}">
                  <a16:creationId xmlns:a16="http://schemas.microsoft.com/office/drawing/2014/main" id="{371F6E72-E15D-4379-8F40-244AB6469A0A}"/>
                </a:ext>
              </a:extLst>
            </p:cNvPr>
            <p:cNvSpPr>
              <a:spLocks noChangeAspect="1" noChangeShapeType="1"/>
            </p:cNvSpPr>
            <p:nvPr/>
          </p:nvSpPr>
          <p:spPr bwMode="auto">
            <a:xfrm>
              <a:off x="7175500" y="4052253"/>
              <a:ext cx="12700"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39" name="Line 1387">
              <a:extLst>
                <a:ext uri="{FF2B5EF4-FFF2-40B4-BE49-F238E27FC236}">
                  <a16:creationId xmlns:a16="http://schemas.microsoft.com/office/drawing/2014/main" id="{24E8795F-B323-4BC0-90E3-55FEF50BF889}"/>
                </a:ext>
              </a:extLst>
            </p:cNvPr>
            <p:cNvSpPr>
              <a:spLocks noChangeAspect="1" noChangeShapeType="1"/>
            </p:cNvSpPr>
            <p:nvPr/>
          </p:nvSpPr>
          <p:spPr bwMode="auto">
            <a:xfrm>
              <a:off x="7188201" y="4084004"/>
              <a:ext cx="11113"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40" name="Line 1388">
              <a:extLst>
                <a:ext uri="{FF2B5EF4-FFF2-40B4-BE49-F238E27FC236}">
                  <a16:creationId xmlns:a16="http://schemas.microsoft.com/office/drawing/2014/main" id="{3DA41C5A-CBD5-41FD-9B49-7AB0FBDBAFBE}"/>
                </a:ext>
              </a:extLst>
            </p:cNvPr>
            <p:cNvSpPr>
              <a:spLocks noChangeAspect="1" noChangeShapeType="1"/>
            </p:cNvSpPr>
            <p:nvPr/>
          </p:nvSpPr>
          <p:spPr bwMode="auto">
            <a:xfrm>
              <a:off x="7205663" y="4117341"/>
              <a:ext cx="4762"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41" name="Line 1389">
              <a:extLst>
                <a:ext uri="{FF2B5EF4-FFF2-40B4-BE49-F238E27FC236}">
                  <a16:creationId xmlns:a16="http://schemas.microsoft.com/office/drawing/2014/main" id="{AA0D14C0-DBEB-462A-976A-DDA3BB6D00E5}"/>
                </a:ext>
              </a:extLst>
            </p:cNvPr>
            <p:cNvSpPr>
              <a:spLocks noChangeAspect="1" noChangeShapeType="1"/>
            </p:cNvSpPr>
            <p:nvPr/>
          </p:nvSpPr>
          <p:spPr bwMode="auto">
            <a:xfrm>
              <a:off x="7210426" y="4128453"/>
              <a:ext cx="22225"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42" name="Line 1390">
              <a:extLst>
                <a:ext uri="{FF2B5EF4-FFF2-40B4-BE49-F238E27FC236}">
                  <a16:creationId xmlns:a16="http://schemas.microsoft.com/office/drawing/2014/main" id="{9A21D7AD-1E70-45F6-851D-F5AB661AD521}"/>
                </a:ext>
              </a:extLst>
            </p:cNvPr>
            <p:cNvSpPr>
              <a:spLocks noChangeAspect="1" noChangeShapeType="1"/>
            </p:cNvSpPr>
            <p:nvPr/>
          </p:nvSpPr>
          <p:spPr bwMode="auto">
            <a:xfrm>
              <a:off x="7240589" y="4179254"/>
              <a:ext cx="9525"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43" name="Line 1391">
              <a:extLst>
                <a:ext uri="{FF2B5EF4-FFF2-40B4-BE49-F238E27FC236}">
                  <a16:creationId xmlns:a16="http://schemas.microsoft.com/office/drawing/2014/main" id="{A6F13DAA-EEEE-4CC6-AB17-AE714C84F8E8}"/>
                </a:ext>
              </a:extLst>
            </p:cNvPr>
            <p:cNvSpPr>
              <a:spLocks noChangeAspect="1" noChangeShapeType="1"/>
            </p:cNvSpPr>
            <p:nvPr/>
          </p:nvSpPr>
          <p:spPr bwMode="auto">
            <a:xfrm>
              <a:off x="7250114" y="4193540"/>
              <a:ext cx="15875"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44" name="Line 1392">
              <a:extLst>
                <a:ext uri="{FF2B5EF4-FFF2-40B4-BE49-F238E27FC236}">
                  <a16:creationId xmlns:a16="http://schemas.microsoft.com/office/drawing/2014/main" id="{DB998762-D725-4152-BA11-9E6633712CF2}"/>
                </a:ext>
              </a:extLst>
            </p:cNvPr>
            <p:cNvSpPr>
              <a:spLocks noChangeAspect="1" noChangeShapeType="1"/>
            </p:cNvSpPr>
            <p:nvPr/>
          </p:nvSpPr>
          <p:spPr bwMode="auto">
            <a:xfrm>
              <a:off x="7265988" y="4220529"/>
              <a:ext cx="4762"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45" name="Line 1393">
              <a:extLst>
                <a:ext uri="{FF2B5EF4-FFF2-40B4-BE49-F238E27FC236}">
                  <a16:creationId xmlns:a16="http://schemas.microsoft.com/office/drawing/2014/main" id="{46088217-B34F-493C-BB9F-1AFC5366420F}"/>
                </a:ext>
              </a:extLst>
            </p:cNvPr>
            <p:cNvSpPr>
              <a:spLocks noChangeAspect="1" noChangeShapeType="1"/>
            </p:cNvSpPr>
            <p:nvPr/>
          </p:nvSpPr>
          <p:spPr bwMode="auto">
            <a:xfrm>
              <a:off x="7278688" y="4237990"/>
              <a:ext cx="17462"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46" name="Line 1394">
              <a:extLst>
                <a:ext uri="{FF2B5EF4-FFF2-40B4-BE49-F238E27FC236}">
                  <a16:creationId xmlns:a16="http://schemas.microsoft.com/office/drawing/2014/main" id="{780FFC68-7205-4C68-ABC1-EE071423DCAA}"/>
                </a:ext>
              </a:extLst>
            </p:cNvPr>
            <p:cNvSpPr>
              <a:spLocks noChangeAspect="1" noChangeShapeType="1"/>
            </p:cNvSpPr>
            <p:nvPr/>
          </p:nvSpPr>
          <p:spPr bwMode="auto">
            <a:xfrm>
              <a:off x="7296150" y="4264979"/>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47" name="Line 1395">
              <a:extLst>
                <a:ext uri="{FF2B5EF4-FFF2-40B4-BE49-F238E27FC236}">
                  <a16:creationId xmlns:a16="http://schemas.microsoft.com/office/drawing/2014/main" id="{5532F69B-7507-4776-A2ED-2A5AD56BA8E1}"/>
                </a:ext>
              </a:extLst>
            </p:cNvPr>
            <p:cNvSpPr>
              <a:spLocks noChangeAspect="1" noChangeShapeType="1"/>
            </p:cNvSpPr>
            <p:nvPr/>
          </p:nvSpPr>
          <p:spPr bwMode="auto">
            <a:xfrm flipV="1">
              <a:off x="6419851" y="4128453"/>
              <a:ext cx="22225"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48" name="Line 1396">
              <a:extLst>
                <a:ext uri="{FF2B5EF4-FFF2-40B4-BE49-F238E27FC236}">
                  <a16:creationId xmlns:a16="http://schemas.microsoft.com/office/drawing/2014/main" id="{0D0E28C3-790F-4CB0-891F-5D8531A17D79}"/>
                </a:ext>
              </a:extLst>
            </p:cNvPr>
            <p:cNvSpPr>
              <a:spLocks noChangeAspect="1" noChangeShapeType="1"/>
            </p:cNvSpPr>
            <p:nvPr/>
          </p:nvSpPr>
          <p:spPr bwMode="auto">
            <a:xfrm flipV="1">
              <a:off x="6442075" y="4112579"/>
              <a:ext cx="20638"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49" name="Line 1397">
              <a:extLst>
                <a:ext uri="{FF2B5EF4-FFF2-40B4-BE49-F238E27FC236}">
                  <a16:creationId xmlns:a16="http://schemas.microsoft.com/office/drawing/2014/main" id="{F1F00B47-00C7-4B2A-A888-3F337DA91F4D}"/>
                </a:ext>
              </a:extLst>
            </p:cNvPr>
            <p:cNvSpPr>
              <a:spLocks noChangeAspect="1" noChangeShapeType="1"/>
            </p:cNvSpPr>
            <p:nvPr/>
          </p:nvSpPr>
          <p:spPr bwMode="auto">
            <a:xfrm flipV="1">
              <a:off x="6470650" y="4084004"/>
              <a:ext cx="26988"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50" name="Line 1398">
              <a:extLst>
                <a:ext uri="{FF2B5EF4-FFF2-40B4-BE49-F238E27FC236}">
                  <a16:creationId xmlns:a16="http://schemas.microsoft.com/office/drawing/2014/main" id="{8A5A8DAF-53C0-4FEA-8B05-83E505A6EEA1}"/>
                </a:ext>
              </a:extLst>
            </p:cNvPr>
            <p:cNvSpPr>
              <a:spLocks noChangeAspect="1" noChangeShapeType="1"/>
            </p:cNvSpPr>
            <p:nvPr/>
          </p:nvSpPr>
          <p:spPr bwMode="auto">
            <a:xfrm flipV="1">
              <a:off x="6497639" y="4071303"/>
              <a:ext cx="14287"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51" name="Line 1399">
              <a:extLst>
                <a:ext uri="{FF2B5EF4-FFF2-40B4-BE49-F238E27FC236}">
                  <a16:creationId xmlns:a16="http://schemas.microsoft.com/office/drawing/2014/main" id="{E67B0A0A-9F1C-4324-A5F3-FA8C03A1D20E}"/>
                </a:ext>
              </a:extLst>
            </p:cNvPr>
            <p:cNvSpPr>
              <a:spLocks noChangeAspect="1" noChangeShapeType="1"/>
            </p:cNvSpPr>
            <p:nvPr/>
          </p:nvSpPr>
          <p:spPr bwMode="auto">
            <a:xfrm flipV="1">
              <a:off x="6511925" y="4069715"/>
              <a:ext cx="15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52" name="Line 1400">
              <a:extLst>
                <a:ext uri="{FF2B5EF4-FFF2-40B4-BE49-F238E27FC236}">
                  <a16:creationId xmlns:a16="http://schemas.microsoft.com/office/drawing/2014/main" id="{3C01AF3A-70AB-40EE-9414-36725A49880E}"/>
                </a:ext>
              </a:extLst>
            </p:cNvPr>
            <p:cNvSpPr>
              <a:spLocks noChangeAspect="1" noChangeShapeType="1"/>
            </p:cNvSpPr>
            <p:nvPr/>
          </p:nvSpPr>
          <p:spPr bwMode="auto">
            <a:xfrm flipV="1">
              <a:off x="6523039" y="4037966"/>
              <a:ext cx="28575" cy="238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53" name="Line 1401">
              <a:extLst>
                <a:ext uri="{FF2B5EF4-FFF2-40B4-BE49-F238E27FC236}">
                  <a16:creationId xmlns:a16="http://schemas.microsoft.com/office/drawing/2014/main" id="{FF220986-A70B-4A83-B644-DE917C0A0D74}"/>
                </a:ext>
              </a:extLst>
            </p:cNvPr>
            <p:cNvSpPr>
              <a:spLocks noChangeAspect="1" noChangeShapeType="1"/>
            </p:cNvSpPr>
            <p:nvPr/>
          </p:nvSpPr>
          <p:spPr bwMode="auto">
            <a:xfrm flipV="1">
              <a:off x="6551613" y="4030029"/>
              <a:ext cx="6350"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54" name="Line 1402">
              <a:extLst>
                <a:ext uri="{FF2B5EF4-FFF2-40B4-BE49-F238E27FC236}">
                  <a16:creationId xmlns:a16="http://schemas.microsoft.com/office/drawing/2014/main" id="{5BB68ED9-C5BB-498C-8C21-217700D265E2}"/>
                </a:ext>
              </a:extLst>
            </p:cNvPr>
            <p:cNvSpPr>
              <a:spLocks noChangeAspect="1" noChangeShapeType="1"/>
            </p:cNvSpPr>
            <p:nvPr/>
          </p:nvSpPr>
          <p:spPr bwMode="auto">
            <a:xfrm flipV="1">
              <a:off x="6557963" y="4026854"/>
              <a:ext cx="4762"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55" name="Line 1403">
              <a:extLst>
                <a:ext uri="{FF2B5EF4-FFF2-40B4-BE49-F238E27FC236}">
                  <a16:creationId xmlns:a16="http://schemas.microsoft.com/office/drawing/2014/main" id="{A3B961F2-91FA-4710-8392-64C3BE2BB75D}"/>
                </a:ext>
              </a:extLst>
            </p:cNvPr>
            <p:cNvSpPr>
              <a:spLocks noChangeAspect="1" noChangeShapeType="1"/>
            </p:cNvSpPr>
            <p:nvPr/>
          </p:nvSpPr>
          <p:spPr bwMode="auto">
            <a:xfrm flipV="1">
              <a:off x="6572251" y="3991928"/>
              <a:ext cx="28575"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56" name="Line 1404">
              <a:extLst>
                <a:ext uri="{FF2B5EF4-FFF2-40B4-BE49-F238E27FC236}">
                  <a16:creationId xmlns:a16="http://schemas.microsoft.com/office/drawing/2014/main" id="{4BBD2EE3-73B1-4BE6-A644-168446EFEA67}"/>
                </a:ext>
              </a:extLst>
            </p:cNvPr>
            <p:cNvSpPr>
              <a:spLocks noChangeAspect="1" noChangeShapeType="1"/>
            </p:cNvSpPr>
            <p:nvPr/>
          </p:nvSpPr>
          <p:spPr bwMode="auto">
            <a:xfrm flipV="1">
              <a:off x="6600826" y="3988754"/>
              <a:ext cx="31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57" name="Line 1405">
              <a:extLst>
                <a:ext uri="{FF2B5EF4-FFF2-40B4-BE49-F238E27FC236}">
                  <a16:creationId xmlns:a16="http://schemas.microsoft.com/office/drawing/2014/main" id="{F10E8202-F913-4552-8814-63242A807B62}"/>
                </a:ext>
              </a:extLst>
            </p:cNvPr>
            <p:cNvSpPr>
              <a:spLocks noChangeAspect="1" noChangeShapeType="1"/>
            </p:cNvSpPr>
            <p:nvPr/>
          </p:nvSpPr>
          <p:spPr bwMode="auto">
            <a:xfrm flipV="1">
              <a:off x="6604000" y="3980815"/>
              <a:ext cx="7938"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58" name="Line 1406">
              <a:extLst>
                <a:ext uri="{FF2B5EF4-FFF2-40B4-BE49-F238E27FC236}">
                  <a16:creationId xmlns:a16="http://schemas.microsoft.com/office/drawing/2014/main" id="{68A51401-9383-4885-8F35-846E95B87E64}"/>
                </a:ext>
              </a:extLst>
            </p:cNvPr>
            <p:cNvSpPr>
              <a:spLocks noChangeAspect="1" noChangeShapeType="1"/>
            </p:cNvSpPr>
            <p:nvPr/>
          </p:nvSpPr>
          <p:spPr bwMode="auto">
            <a:xfrm flipV="1">
              <a:off x="6621463" y="3945890"/>
              <a:ext cx="23812"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59" name="Line 1407">
              <a:extLst>
                <a:ext uri="{FF2B5EF4-FFF2-40B4-BE49-F238E27FC236}">
                  <a16:creationId xmlns:a16="http://schemas.microsoft.com/office/drawing/2014/main" id="{ECD65980-F23C-4004-8FF6-1F0F45EF53B8}"/>
                </a:ext>
              </a:extLst>
            </p:cNvPr>
            <p:cNvSpPr>
              <a:spLocks noChangeAspect="1" noChangeShapeType="1"/>
            </p:cNvSpPr>
            <p:nvPr/>
          </p:nvSpPr>
          <p:spPr bwMode="auto">
            <a:xfrm flipV="1">
              <a:off x="6645275" y="3939540"/>
              <a:ext cx="6350"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60" name="Line 1408">
              <a:extLst>
                <a:ext uri="{FF2B5EF4-FFF2-40B4-BE49-F238E27FC236}">
                  <a16:creationId xmlns:a16="http://schemas.microsoft.com/office/drawing/2014/main" id="{EFA14A58-19F7-4A34-85DD-68F700277659}"/>
                </a:ext>
              </a:extLst>
            </p:cNvPr>
            <p:cNvSpPr>
              <a:spLocks noChangeAspect="1" noChangeShapeType="1"/>
            </p:cNvSpPr>
            <p:nvPr/>
          </p:nvSpPr>
          <p:spPr bwMode="auto">
            <a:xfrm flipV="1">
              <a:off x="6651625" y="3930016"/>
              <a:ext cx="6350"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61" name="Line 1409">
              <a:extLst>
                <a:ext uri="{FF2B5EF4-FFF2-40B4-BE49-F238E27FC236}">
                  <a16:creationId xmlns:a16="http://schemas.microsoft.com/office/drawing/2014/main" id="{D17C7890-BADA-4798-BBBE-2EA0CB068CFB}"/>
                </a:ext>
              </a:extLst>
            </p:cNvPr>
            <p:cNvSpPr>
              <a:spLocks noChangeAspect="1" noChangeShapeType="1"/>
            </p:cNvSpPr>
            <p:nvPr/>
          </p:nvSpPr>
          <p:spPr bwMode="auto">
            <a:xfrm flipV="1">
              <a:off x="6667500" y="3899854"/>
              <a:ext cx="14288"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62" name="Line 1410">
              <a:extLst>
                <a:ext uri="{FF2B5EF4-FFF2-40B4-BE49-F238E27FC236}">
                  <a16:creationId xmlns:a16="http://schemas.microsoft.com/office/drawing/2014/main" id="{EC7FEB5B-2EA1-4B60-9271-64546FF10B6D}"/>
                </a:ext>
              </a:extLst>
            </p:cNvPr>
            <p:cNvSpPr>
              <a:spLocks noChangeAspect="1" noChangeShapeType="1"/>
            </p:cNvSpPr>
            <p:nvPr/>
          </p:nvSpPr>
          <p:spPr bwMode="auto">
            <a:xfrm flipV="1">
              <a:off x="6681789" y="3874453"/>
              <a:ext cx="14287"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63" name="Line 1411">
              <a:extLst>
                <a:ext uri="{FF2B5EF4-FFF2-40B4-BE49-F238E27FC236}">
                  <a16:creationId xmlns:a16="http://schemas.microsoft.com/office/drawing/2014/main" id="{4BA5BDCB-1192-410E-8474-AE44E0B4A3F3}"/>
                </a:ext>
              </a:extLst>
            </p:cNvPr>
            <p:cNvSpPr>
              <a:spLocks noChangeAspect="1" noChangeShapeType="1"/>
            </p:cNvSpPr>
            <p:nvPr/>
          </p:nvSpPr>
          <p:spPr bwMode="auto">
            <a:xfrm flipV="1">
              <a:off x="6696075" y="3872865"/>
              <a:ext cx="15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64" name="Line 1412">
              <a:extLst>
                <a:ext uri="{FF2B5EF4-FFF2-40B4-BE49-F238E27FC236}">
                  <a16:creationId xmlns:a16="http://schemas.microsoft.com/office/drawing/2014/main" id="{AD03B318-0A9D-4BA8-8B91-518775652883}"/>
                </a:ext>
              </a:extLst>
            </p:cNvPr>
            <p:cNvSpPr>
              <a:spLocks noChangeAspect="1" noChangeShapeType="1"/>
            </p:cNvSpPr>
            <p:nvPr/>
          </p:nvSpPr>
          <p:spPr bwMode="auto">
            <a:xfrm flipV="1">
              <a:off x="6705600" y="3853815"/>
              <a:ext cx="1588"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65" name="Line 1413">
              <a:extLst>
                <a:ext uri="{FF2B5EF4-FFF2-40B4-BE49-F238E27FC236}">
                  <a16:creationId xmlns:a16="http://schemas.microsoft.com/office/drawing/2014/main" id="{903465C1-2C38-4944-BD71-5EA7290AD3D5}"/>
                </a:ext>
              </a:extLst>
            </p:cNvPr>
            <p:cNvSpPr>
              <a:spLocks noChangeAspect="1" noChangeShapeType="1"/>
            </p:cNvSpPr>
            <p:nvPr/>
          </p:nvSpPr>
          <p:spPr bwMode="auto">
            <a:xfrm flipV="1">
              <a:off x="6707189" y="3809365"/>
              <a:ext cx="14287"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66" name="Line 1414">
              <a:extLst>
                <a:ext uri="{FF2B5EF4-FFF2-40B4-BE49-F238E27FC236}">
                  <a16:creationId xmlns:a16="http://schemas.microsoft.com/office/drawing/2014/main" id="{8FFF5973-9C3B-435C-B5D3-6231938DCF85}"/>
                </a:ext>
              </a:extLst>
            </p:cNvPr>
            <p:cNvSpPr>
              <a:spLocks noChangeAspect="1" noChangeShapeType="1"/>
            </p:cNvSpPr>
            <p:nvPr/>
          </p:nvSpPr>
          <p:spPr bwMode="auto">
            <a:xfrm flipV="1">
              <a:off x="6721475" y="3803015"/>
              <a:ext cx="1588"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67" name="Line 1415">
              <a:extLst>
                <a:ext uri="{FF2B5EF4-FFF2-40B4-BE49-F238E27FC236}">
                  <a16:creationId xmlns:a16="http://schemas.microsoft.com/office/drawing/2014/main" id="{8BEC8046-D9A0-4615-AE73-D1C5131E7287}"/>
                </a:ext>
              </a:extLst>
            </p:cNvPr>
            <p:cNvSpPr>
              <a:spLocks noChangeAspect="1" noChangeShapeType="1"/>
            </p:cNvSpPr>
            <p:nvPr/>
          </p:nvSpPr>
          <p:spPr bwMode="auto">
            <a:xfrm flipV="1">
              <a:off x="6721475" y="3763328"/>
              <a:ext cx="1588"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68" name="Line 1416">
              <a:extLst>
                <a:ext uri="{FF2B5EF4-FFF2-40B4-BE49-F238E27FC236}">
                  <a16:creationId xmlns:a16="http://schemas.microsoft.com/office/drawing/2014/main" id="{7C035F8A-00CA-4573-BDD7-6408D6812673}"/>
                </a:ext>
              </a:extLst>
            </p:cNvPr>
            <p:cNvSpPr>
              <a:spLocks noChangeAspect="1" noChangeShapeType="1"/>
            </p:cNvSpPr>
            <p:nvPr/>
          </p:nvSpPr>
          <p:spPr bwMode="auto">
            <a:xfrm flipH="1" flipV="1">
              <a:off x="6716713" y="3729990"/>
              <a:ext cx="6350" cy="333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69" name="Line 1417">
              <a:extLst>
                <a:ext uri="{FF2B5EF4-FFF2-40B4-BE49-F238E27FC236}">
                  <a16:creationId xmlns:a16="http://schemas.microsoft.com/office/drawing/2014/main" id="{3063553C-4923-4834-B824-18C57A5ACB0F}"/>
                </a:ext>
              </a:extLst>
            </p:cNvPr>
            <p:cNvSpPr>
              <a:spLocks noChangeAspect="1" noChangeShapeType="1"/>
            </p:cNvSpPr>
            <p:nvPr/>
          </p:nvSpPr>
          <p:spPr bwMode="auto">
            <a:xfrm flipH="1" flipV="1">
              <a:off x="6702425" y="3671253"/>
              <a:ext cx="12700" cy="428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70" name="Line 1418">
              <a:extLst>
                <a:ext uri="{FF2B5EF4-FFF2-40B4-BE49-F238E27FC236}">
                  <a16:creationId xmlns:a16="http://schemas.microsoft.com/office/drawing/2014/main" id="{D381590D-DEBA-4824-B308-222A49AC0A8F}"/>
                </a:ext>
              </a:extLst>
            </p:cNvPr>
            <p:cNvSpPr>
              <a:spLocks noChangeAspect="1" noChangeShapeType="1"/>
            </p:cNvSpPr>
            <p:nvPr/>
          </p:nvSpPr>
          <p:spPr bwMode="auto">
            <a:xfrm flipH="1" flipV="1">
              <a:off x="6696075" y="3658553"/>
              <a:ext cx="6350"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71" name="Line 1419">
              <a:extLst>
                <a:ext uri="{FF2B5EF4-FFF2-40B4-BE49-F238E27FC236}">
                  <a16:creationId xmlns:a16="http://schemas.microsoft.com/office/drawing/2014/main" id="{CE6A0D8A-EC3E-4C4C-AE90-6355DE9EDE57}"/>
                </a:ext>
              </a:extLst>
            </p:cNvPr>
            <p:cNvSpPr>
              <a:spLocks noChangeAspect="1" noChangeShapeType="1"/>
            </p:cNvSpPr>
            <p:nvPr/>
          </p:nvSpPr>
          <p:spPr bwMode="auto">
            <a:xfrm flipH="1" flipV="1">
              <a:off x="6684963" y="3625215"/>
              <a:ext cx="6350"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72" name="Line 1420">
              <a:extLst>
                <a:ext uri="{FF2B5EF4-FFF2-40B4-BE49-F238E27FC236}">
                  <a16:creationId xmlns:a16="http://schemas.microsoft.com/office/drawing/2014/main" id="{070BC55B-9C00-40E1-808C-8DF27B5453F7}"/>
                </a:ext>
              </a:extLst>
            </p:cNvPr>
            <p:cNvSpPr>
              <a:spLocks noChangeAspect="1" noChangeShapeType="1"/>
            </p:cNvSpPr>
            <p:nvPr/>
          </p:nvSpPr>
          <p:spPr bwMode="auto">
            <a:xfrm flipH="1" flipV="1">
              <a:off x="6670675" y="3590291"/>
              <a:ext cx="14288"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73" name="Line 1421">
              <a:extLst>
                <a:ext uri="{FF2B5EF4-FFF2-40B4-BE49-F238E27FC236}">
                  <a16:creationId xmlns:a16="http://schemas.microsoft.com/office/drawing/2014/main" id="{835C3A31-2BD3-4644-8BC0-D3ED9B5C3529}"/>
                </a:ext>
              </a:extLst>
            </p:cNvPr>
            <p:cNvSpPr>
              <a:spLocks noChangeAspect="1" noChangeShapeType="1"/>
            </p:cNvSpPr>
            <p:nvPr/>
          </p:nvSpPr>
          <p:spPr bwMode="auto">
            <a:xfrm flipH="1" flipV="1">
              <a:off x="6651625" y="3542666"/>
              <a:ext cx="14288"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74" name="Line 1422">
              <a:extLst>
                <a:ext uri="{FF2B5EF4-FFF2-40B4-BE49-F238E27FC236}">
                  <a16:creationId xmlns:a16="http://schemas.microsoft.com/office/drawing/2014/main" id="{038A51AC-6689-4817-BAD2-5B88DA35EB1C}"/>
                </a:ext>
              </a:extLst>
            </p:cNvPr>
            <p:cNvSpPr>
              <a:spLocks noChangeAspect="1" noChangeShapeType="1"/>
            </p:cNvSpPr>
            <p:nvPr/>
          </p:nvSpPr>
          <p:spPr bwMode="auto">
            <a:xfrm flipH="1" flipV="1">
              <a:off x="6646863" y="3533141"/>
              <a:ext cx="4762"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75" name="Line 1423">
              <a:extLst>
                <a:ext uri="{FF2B5EF4-FFF2-40B4-BE49-F238E27FC236}">
                  <a16:creationId xmlns:a16="http://schemas.microsoft.com/office/drawing/2014/main" id="{E1BDA741-545B-448B-98D7-C3F9336A8C6A}"/>
                </a:ext>
              </a:extLst>
            </p:cNvPr>
            <p:cNvSpPr>
              <a:spLocks noChangeAspect="1" noChangeShapeType="1"/>
            </p:cNvSpPr>
            <p:nvPr/>
          </p:nvSpPr>
          <p:spPr bwMode="auto">
            <a:xfrm flipH="1" flipV="1">
              <a:off x="6642101" y="3523616"/>
              <a:ext cx="4763"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76" name="Line 1424">
              <a:extLst>
                <a:ext uri="{FF2B5EF4-FFF2-40B4-BE49-F238E27FC236}">
                  <a16:creationId xmlns:a16="http://schemas.microsoft.com/office/drawing/2014/main" id="{358BA779-8A3E-46E1-9292-4DBFC178FFEF}"/>
                </a:ext>
              </a:extLst>
            </p:cNvPr>
            <p:cNvSpPr>
              <a:spLocks noChangeAspect="1" noChangeShapeType="1"/>
            </p:cNvSpPr>
            <p:nvPr/>
          </p:nvSpPr>
          <p:spPr bwMode="auto">
            <a:xfrm flipH="1" flipV="1">
              <a:off x="6627814" y="3487104"/>
              <a:ext cx="7937"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77" name="Line 1425">
              <a:extLst>
                <a:ext uri="{FF2B5EF4-FFF2-40B4-BE49-F238E27FC236}">
                  <a16:creationId xmlns:a16="http://schemas.microsoft.com/office/drawing/2014/main" id="{B5402AF4-E602-4AD8-9359-12B3EB1E608E}"/>
                </a:ext>
              </a:extLst>
            </p:cNvPr>
            <p:cNvSpPr>
              <a:spLocks noChangeAspect="1" noChangeShapeType="1"/>
            </p:cNvSpPr>
            <p:nvPr/>
          </p:nvSpPr>
          <p:spPr bwMode="auto">
            <a:xfrm flipH="1" flipV="1">
              <a:off x="6615113" y="3456941"/>
              <a:ext cx="12700" cy="301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78" name="Line 1426">
              <a:extLst>
                <a:ext uri="{FF2B5EF4-FFF2-40B4-BE49-F238E27FC236}">
                  <a16:creationId xmlns:a16="http://schemas.microsoft.com/office/drawing/2014/main" id="{45D92341-47E2-4F5E-8C3E-5B3FE2B54C8E}"/>
                </a:ext>
              </a:extLst>
            </p:cNvPr>
            <p:cNvSpPr>
              <a:spLocks noChangeAspect="1" noChangeShapeType="1"/>
            </p:cNvSpPr>
            <p:nvPr/>
          </p:nvSpPr>
          <p:spPr bwMode="auto">
            <a:xfrm flipH="1" flipV="1">
              <a:off x="6607175" y="3442653"/>
              <a:ext cx="1588"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79" name="Line 1427">
              <a:extLst>
                <a:ext uri="{FF2B5EF4-FFF2-40B4-BE49-F238E27FC236}">
                  <a16:creationId xmlns:a16="http://schemas.microsoft.com/office/drawing/2014/main" id="{4F38EA16-8F15-42D1-9A79-4FB958DAE6CB}"/>
                </a:ext>
              </a:extLst>
            </p:cNvPr>
            <p:cNvSpPr>
              <a:spLocks noChangeAspect="1" noChangeShapeType="1"/>
            </p:cNvSpPr>
            <p:nvPr/>
          </p:nvSpPr>
          <p:spPr bwMode="auto">
            <a:xfrm flipH="1" flipV="1">
              <a:off x="6604001" y="3433129"/>
              <a:ext cx="3175"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80" name="Line 1428">
              <a:extLst>
                <a:ext uri="{FF2B5EF4-FFF2-40B4-BE49-F238E27FC236}">
                  <a16:creationId xmlns:a16="http://schemas.microsoft.com/office/drawing/2014/main" id="{F0160F24-3DD8-4098-82EE-C45C3DD8C904}"/>
                </a:ext>
              </a:extLst>
            </p:cNvPr>
            <p:cNvSpPr>
              <a:spLocks noChangeAspect="1" noChangeShapeType="1"/>
            </p:cNvSpPr>
            <p:nvPr/>
          </p:nvSpPr>
          <p:spPr bwMode="auto">
            <a:xfrm flipH="1" flipV="1">
              <a:off x="6588126" y="3396616"/>
              <a:ext cx="15875" cy="365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81" name="Line 1429">
              <a:extLst>
                <a:ext uri="{FF2B5EF4-FFF2-40B4-BE49-F238E27FC236}">
                  <a16:creationId xmlns:a16="http://schemas.microsoft.com/office/drawing/2014/main" id="{BB0A6BAA-3867-46B2-B62E-20694E53147A}"/>
                </a:ext>
              </a:extLst>
            </p:cNvPr>
            <p:cNvSpPr>
              <a:spLocks noChangeAspect="1" noChangeShapeType="1"/>
            </p:cNvSpPr>
            <p:nvPr/>
          </p:nvSpPr>
          <p:spPr bwMode="auto">
            <a:xfrm flipH="1" flipV="1">
              <a:off x="6586539" y="3388679"/>
              <a:ext cx="1587"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82" name="Line 1430">
              <a:extLst>
                <a:ext uri="{FF2B5EF4-FFF2-40B4-BE49-F238E27FC236}">
                  <a16:creationId xmlns:a16="http://schemas.microsoft.com/office/drawing/2014/main" id="{089938B7-2EA3-424A-AE79-7D40A0E17D5B}"/>
                </a:ext>
              </a:extLst>
            </p:cNvPr>
            <p:cNvSpPr>
              <a:spLocks noChangeAspect="1" noChangeShapeType="1"/>
            </p:cNvSpPr>
            <p:nvPr/>
          </p:nvSpPr>
          <p:spPr bwMode="auto">
            <a:xfrm flipH="1" flipV="1">
              <a:off x="6570664" y="3350578"/>
              <a:ext cx="9525"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83" name="Line 1431">
              <a:extLst>
                <a:ext uri="{FF2B5EF4-FFF2-40B4-BE49-F238E27FC236}">
                  <a16:creationId xmlns:a16="http://schemas.microsoft.com/office/drawing/2014/main" id="{A3B1585A-396E-45B7-8AA3-FE46A73F51CE}"/>
                </a:ext>
              </a:extLst>
            </p:cNvPr>
            <p:cNvSpPr>
              <a:spLocks noChangeAspect="1" noChangeShapeType="1"/>
            </p:cNvSpPr>
            <p:nvPr/>
          </p:nvSpPr>
          <p:spPr bwMode="auto">
            <a:xfrm flipH="1" flipV="1">
              <a:off x="6561139" y="3320416"/>
              <a:ext cx="9525" cy="301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84" name="Line 1432">
              <a:extLst>
                <a:ext uri="{FF2B5EF4-FFF2-40B4-BE49-F238E27FC236}">
                  <a16:creationId xmlns:a16="http://schemas.microsoft.com/office/drawing/2014/main" id="{E7DE4518-2261-4184-B1EC-C720DF5285F4}"/>
                </a:ext>
              </a:extLst>
            </p:cNvPr>
            <p:cNvSpPr>
              <a:spLocks noChangeAspect="1" noChangeShapeType="1"/>
            </p:cNvSpPr>
            <p:nvPr/>
          </p:nvSpPr>
          <p:spPr bwMode="auto">
            <a:xfrm flipH="1" flipV="1">
              <a:off x="6554789" y="3306128"/>
              <a:ext cx="1587"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85" name="Line 1433">
              <a:extLst>
                <a:ext uri="{FF2B5EF4-FFF2-40B4-BE49-F238E27FC236}">
                  <a16:creationId xmlns:a16="http://schemas.microsoft.com/office/drawing/2014/main" id="{97D34477-AD66-469A-AC12-D009FDBEF514}"/>
                </a:ext>
              </a:extLst>
            </p:cNvPr>
            <p:cNvSpPr>
              <a:spLocks noChangeAspect="1" noChangeShapeType="1"/>
            </p:cNvSpPr>
            <p:nvPr/>
          </p:nvSpPr>
          <p:spPr bwMode="auto">
            <a:xfrm flipH="1" flipV="1">
              <a:off x="6538914" y="3260090"/>
              <a:ext cx="15875" cy="460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86" name="Line 1434">
              <a:extLst>
                <a:ext uri="{FF2B5EF4-FFF2-40B4-BE49-F238E27FC236}">
                  <a16:creationId xmlns:a16="http://schemas.microsoft.com/office/drawing/2014/main" id="{97227CDC-4EFC-4CD5-B107-BBC46F39D0AD}"/>
                </a:ext>
              </a:extLst>
            </p:cNvPr>
            <p:cNvSpPr>
              <a:spLocks noChangeAspect="1" noChangeShapeType="1"/>
            </p:cNvSpPr>
            <p:nvPr/>
          </p:nvSpPr>
          <p:spPr bwMode="auto">
            <a:xfrm flipH="1" flipV="1">
              <a:off x="6535739" y="3252154"/>
              <a:ext cx="3175"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87" name="Line 1435">
              <a:extLst>
                <a:ext uri="{FF2B5EF4-FFF2-40B4-BE49-F238E27FC236}">
                  <a16:creationId xmlns:a16="http://schemas.microsoft.com/office/drawing/2014/main" id="{4555C24F-18BB-45FD-9F26-821B2ABC4254}"/>
                </a:ext>
              </a:extLst>
            </p:cNvPr>
            <p:cNvSpPr>
              <a:spLocks noChangeAspect="1" noChangeShapeType="1"/>
            </p:cNvSpPr>
            <p:nvPr/>
          </p:nvSpPr>
          <p:spPr bwMode="auto">
            <a:xfrm flipH="1" flipV="1">
              <a:off x="6524625" y="3214053"/>
              <a:ext cx="6350" cy="238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88" name="Line 1436">
              <a:extLst>
                <a:ext uri="{FF2B5EF4-FFF2-40B4-BE49-F238E27FC236}">
                  <a16:creationId xmlns:a16="http://schemas.microsoft.com/office/drawing/2014/main" id="{36F307CA-65E6-4131-A12B-5B5C2AB7E69A}"/>
                </a:ext>
              </a:extLst>
            </p:cNvPr>
            <p:cNvSpPr>
              <a:spLocks noChangeAspect="1" noChangeShapeType="1"/>
            </p:cNvSpPr>
            <p:nvPr/>
          </p:nvSpPr>
          <p:spPr bwMode="auto">
            <a:xfrm flipH="1" flipV="1">
              <a:off x="6515101" y="3180715"/>
              <a:ext cx="9525" cy="333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89" name="Line 1437">
              <a:extLst>
                <a:ext uri="{FF2B5EF4-FFF2-40B4-BE49-F238E27FC236}">
                  <a16:creationId xmlns:a16="http://schemas.microsoft.com/office/drawing/2014/main" id="{3A29D65F-4919-4071-A844-092A9F214CBD}"/>
                </a:ext>
              </a:extLst>
            </p:cNvPr>
            <p:cNvSpPr>
              <a:spLocks noChangeAspect="1" noChangeShapeType="1"/>
            </p:cNvSpPr>
            <p:nvPr/>
          </p:nvSpPr>
          <p:spPr bwMode="auto">
            <a:xfrm flipH="1" flipV="1">
              <a:off x="6497638" y="3121978"/>
              <a:ext cx="12700"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90" name="Line 1438">
              <a:extLst>
                <a:ext uri="{FF2B5EF4-FFF2-40B4-BE49-F238E27FC236}">
                  <a16:creationId xmlns:a16="http://schemas.microsoft.com/office/drawing/2014/main" id="{F2AE34AA-D0D5-423F-98A7-8F535D921D1C}"/>
                </a:ext>
              </a:extLst>
            </p:cNvPr>
            <p:cNvSpPr>
              <a:spLocks noChangeAspect="1" noChangeShapeType="1"/>
            </p:cNvSpPr>
            <p:nvPr/>
          </p:nvSpPr>
          <p:spPr bwMode="auto">
            <a:xfrm flipH="1" flipV="1">
              <a:off x="6494464" y="3109278"/>
              <a:ext cx="3175"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91" name="Line 1439">
              <a:extLst>
                <a:ext uri="{FF2B5EF4-FFF2-40B4-BE49-F238E27FC236}">
                  <a16:creationId xmlns:a16="http://schemas.microsoft.com/office/drawing/2014/main" id="{D12EAD03-1385-4371-9911-221BDF2A7FF4}"/>
                </a:ext>
              </a:extLst>
            </p:cNvPr>
            <p:cNvSpPr>
              <a:spLocks noChangeAspect="1" noChangeShapeType="1"/>
            </p:cNvSpPr>
            <p:nvPr/>
          </p:nvSpPr>
          <p:spPr bwMode="auto">
            <a:xfrm flipH="1" flipV="1">
              <a:off x="6486526" y="3075940"/>
              <a:ext cx="4763"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92" name="Line 1440">
              <a:extLst>
                <a:ext uri="{FF2B5EF4-FFF2-40B4-BE49-F238E27FC236}">
                  <a16:creationId xmlns:a16="http://schemas.microsoft.com/office/drawing/2014/main" id="{AA35C273-0019-43DA-A68A-24E19ED366E9}"/>
                </a:ext>
              </a:extLst>
            </p:cNvPr>
            <p:cNvSpPr>
              <a:spLocks noChangeAspect="1" noChangeShapeType="1"/>
            </p:cNvSpPr>
            <p:nvPr/>
          </p:nvSpPr>
          <p:spPr bwMode="auto">
            <a:xfrm flipH="1" flipV="1">
              <a:off x="6478589" y="3036254"/>
              <a:ext cx="7937" cy="396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93" name="Line 1441">
              <a:extLst>
                <a:ext uri="{FF2B5EF4-FFF2-40B4-BE49-F238E27FC236}">
                  <a16:creationId xmlns:a16="http://schemas.microsoft.com/office/drawing/2014/main" id="{E1054276-89BD-491F-BD20-7B52AAEA28FC}"/>
                </a:ext>
              </a:extLst>
            </p:cNvPr>
            <p:cNvSpPr>
              <a:spLocks noChangeAspect="1" noChangeShapeType="1"/>
            </p:cNvSpPr>
            <p:nvPr/>
          </p:nvSpPr>
          <p:spPr bwMode="auto">
            <a:xfrm flipH="1" flipV="1">
              <a:off x="6469063" y="2983865"/>
              <a:ext cx="6350"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94" name="Line 1442">
              <a:extLst>
                <a:ext uri="{FF2B5EF4-FFF2-40B4-BE49-F238E27FC236}">
                  <a16:creationId xmlns:a16="http://schemas.microsoft.com/office/drawing/2014/main" id="{E77CD20F-AD42-45DD-8C78-105672C823B3}"/>
                </a:ext>
              </a:extLst>
            </p:cNvPr>
            <p:cNvSpPr>
              <a:spLocks noChangeAspect="1" noChangeShapeType="1"/>
            </p:cNvSpPr>
            <p:nvPr/>
          </p:nvSpPr>
          <p:spPr bwMode="auto">
            <a:xfrm flipH="1" flipV="1">
              <a:off x="6465889" y="2971165"/>
              <a:ext cx="3175"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95" name="Line 1443">
              <a:extLst>
                <a:ext uri="{FF2B5EF4-FFF2-40B4-BE49-F238E27FC236}">
                  <a16:creationId xmlns:a16="http://schemas.microsoft.com/office/drawing/2014/main" id="{0169CFFC-F057-402E-B29B-3B1F1BFD93A7}"/>
                </a:ext>
              </a:extLst>
            </p:cNvPr>
            <p:cNvSpPr>
              <a:spLocks noChangeAspect="1" noChangeShapeType="1"/>
            </p:cNvSpPr>
            <p:nvPr/>
          </p:nvSpPr>
          <p:spPr bwMode="auto">
            <a:xfrm flipH="1" flipV="1">
              <a:off x="6464300" y="2963229"/>
              <a:ext cx="1588"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96" name="Line 1444">
              <a:extLst>
                <a:ext uri="{FF2B5EF4-FFF2-40B4-BE49-F238E27FC236}">
                  <a16:creationId xmlns:a16="http://schemas.microsoft.com/office/drawing/2014/main" id="{A110523F-26AC-48E7-8F7F-9BB44EFE0AEC}"/>
                </a:ext>
              </a:extLst>
            </p:cNvPr>
            <p:cNvSpPr>
              <a:spLocks noChangeAspect="1" noChangeShapeType="1"/>
            </p:cNvSpPr>
            <p:nvPr/>
          </p:nvSpPr>
          <p:spPr bwMode="auto">
            <a:xfrm flipH="1" flipV="1">
              <a:off x="6461125" y="2937828"/>
              <a:ext cx="1588"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97" name="Line 1445">
              <a:extLst>
                <a:ext uri="{FF2B5EF4-FFF2-40B4-BE49-F238E27FC236}">
                  <a16:creationId xmlns:a16="http://schemas.microsoft.com/office/drawing/2014/main" id="{C16E4C0E-73DF-4818-A2E5-CB9CD7BAF898}"/>
                </a:ext>
              </a:extLst>
            </p:cNvPr>
            <p:cNvSpPr>
              <a:spLocks noChangeAspect="1" noChangeShapeType="1"/>
            </p:cNvSpPr>
            <p:nvPr/>
          </p:nvSpPr>
          <p:spPr bwMode="auto">
            <a:xfrm flipH="1" flipV="1">
              <a:off x="6454775" y="2891790"/>
              <a:ext cx="6350" cy="460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98" name="Line 1446">
              <a:extLst>
                <a:ext uri="{FF2B5EF4-FFF2-40B4-BE49-F238E27FC236}">
                  <a16:creationId xmlns:a16="http://schemas.microsoft.com/office/drawing/2014/main" id="{78B25504-FB06-4A70-AA9B-F5274DAA7FE9}"/>
                </a:ext>
              </a:extLst>
            </p:cNvPr>
            <p:cNvSpPr>
              <a:spLocks noChangeAspect="1" noChangeShapeType="1"/>
            </p:cNvSpPr>
            <p:nvPr/>
          </p:nvSpPr>
          <p:spPr bwMode="auto">
            <a:xfrm flipH="1" flipV="1">
              <a:off x="6454775" y="2890204"/>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8999" name="Line 1447">
              <a:extLst>
                <a:ext uri="{FF2B5EF4-FFF2-40B4-BE49-F238E27FC236}">
                  <a16:creationId xmlns:a16="http://schemas.microsoft.com/office/drawing/2014/main" id="{7DBD2120-FAB0-4BDB-B399-721C0C8CD958}"/>
                </a:ext>
              </a:extLst>
            </p:cNvPr>
            <p:cNvSpPr>
              <a:spLocks noChangeAspect="1" noChangeShapeType="1"/>
            </p:cNvSpPr>
            <p:nvPr/>
          </p:nvSpPr>
          <p:spPr bwMode="auto">
            <a:xfrm flipH="1" flipV="1">
              <a:off x="6450014" y="2845754"/>
              <a:ext cx="3175"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00" name="Line 1448">
              <a:extLst>
                <a:ext uri="{FF2B5EF4-FFF2-40B4-BE49-F238E27FC236}">
                  <a16:creationId xmlns:a16="http://schemas.microsoft.com/office/drawing/2014/main" id="{143482E0-9A4E-4C7A-8701-CC367B344369}"/>
                </a:ext>
              </a:extLst>
            </p:cNvPr>
            <p:cNvSpPr>
              <a:spLocks noChangeAspect="1" noChangeShapeType="1"/>
            </p:cNvSpPr>
            <p:nvPr/>
          </p:nvSpPr>
          <p:spPr bwMode="auto">
            <a:xfrm flipH="1" flipV="1">
              <a:off x="6448425" y="2814003"/>
              <a:ext cx="1588"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01" name="Line 1449">
              <a:extLst>
                <a:ext uri="{FF2B5EF4-FFF2-40B4-BE49-F238E27FC236}">
                  <a16:creationId xmlns:a16="http://schemas.microsoft.com/office/drawing/2014/main" id="{543738D7-4FFE-48FC-BE42-66138DE188D6}"/>
                </a:ext>
              </a:extLst>
            </p:cNvPr>
            <p:cNvSpPr>
              <a:spLocks noChangeAspect="1" noChangeShapeType="1"/>
            </p:cNvSpPr>
            <p:nvPr/>
          </p:nvSpPr>
          <p:spPr bwMode="auto">
            <a:xfrm flipH="1" flipV="1">
              <a:off x="6445250" y="2755265"/>
              <a:ext cx="1588"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02" name="Line 1450">
              <a:extLst>
                <a:ext uri="{FF2B5EF4-FFF2-40B4-BE49-F238E27FC236}">
                  <a16:creationId xmlns:a16="http://schemas.microsoft.com/office/drawing/2014/main" id="{FF4244E5-7B46-4594-B1FD-A80212AC039E}"/>
                </a:ext>
              </a:extLst>
            </p:cNvPr>
            <p:cNvSpPr>
              <a:spLocks noChangeAspect="1" noChangeShapeType="1"/>
            </p:cNvSpPr>
            <p:nvPr/>
          </p:nvSpPr>
          <p:spPr bwMode="auto">
            <a:xfrm flipV="1">
              <a:off x="6445250" y="2739391"/>
              <a:ext cx="1588"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03" name="Line 1451">
              <a:extLst>
                <a:ext uri="{FF2B5EF4-FFF2-40B4-BE49-F238E27FC236}">
                  <a16:creationId xmlns:a16="http://schemas.microsoft.com/office/drawing/2014/main" id="{C36925B5-16D7-48D0-9209-E909E1055678}"/>
                </a:ext>
              </a:extLst>
            </p:cNvPr>
            <p:cNvSpPr>
              <a:spLocks noChangeAspect="1" noChangeShapeType="1"/>
            </p:cNvSpPr>
            <p:nvPr/>
          </p:nvSpPr>
          <p:spPr bwMode="auto">
            <a:xfrm flipH="1" flipV="1">
              <a:off x="6443664" y="2710815"/>
              <a:ext cx="1587"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04" name="Line 1452">
              <a:extLst>
                <a:ext uri="{FF2B5EF4-FFF2-40B4-BE49-F238E27FC236}">
                  <a16:creationId xmlns:a16="http://schemas.microsoft.com/office/drawing/2014/main" id="{1602A4E4-E3BA-4434-A37D-A9628F1431B4}"/>
                </a:ext>
              </a:extLst>
            </p:cNvPr>
            <p:cNvSpPr>
              <a:spLocks noChangeAspect="1" noChangeShapeType="1"/>
            </p:cNvSpPr>
            <p:nvPr/>
          </p:nvSpPr>
          <p:spPr bwMode="auto">
            <a:xfrm flipV="1">
              <a:off x="6443664" y="2664779"/>
              <a:ext cx="1587"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05" name="Line 1453">
              <a:extLst>
                <a:ext uri="{FF2B5EF4-FFF2-40B4-BE49-F238E27FC236}">
                  <a16:creationId xmlns:a16="http://schemas.microsoft.com/office/drawing/2014/main" id="{AEC2DA0B-CD1E-4375-B963-777A39541335}"/>
                </a:ext>
              </a:extLst>
            </p:cNvPr>
            <p:cNvSpPr>
              <a:spLocks noChangeAspect="1" noChangeShapeType="1"/>
            </p:cNvSpPr>
            <p:nvPr/>
          </p:nvSpPr>
          <p:spPr bwMode="auto">
            <a:xfrm flipV="1">
              <a:off x="6446839" y="2618741"/>
              <a:ext cx="1587" cy="301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06" name="Line 1454">
              <a:extLst>
                <a:ext uri="{FF2B5EF4-FFF2-40B4-BE49-F238E27FC236}">
                  <a16:creationId xmlns:a16="http://schemas.microsoft.com/office/drawing/2014/main" id="{3F8F4250-0AA2-4CAB-B2DF-98FBBB775CEF}"/>
                </a:ext>
              </a:extLst>
            </p:cNvPr>
            <p:cNvSpPr>
              <a:spLocks noChangeAspect="1" noChangeShapeType="1"/>
            </p:cNvSpPr>
            <p:nvPr/>
          </p:nvSpPr>
          <p:spPr bwMode="auto">
            <a:xfrm flipV="1">
              <a:off x="6448426" y="2588578"/>
              <a:ext cx="3175" cy="301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07" name="Line 1455">
              <a:extLst>
                <a:ext uri="{FF2B5EF4-FFF2-40B4-BE49-F238E27FC236}">
                  <a16:creationId xmlns:a16="http://schemas.microsoft.com/office/drawing/2014/main" id="{E6B07FA7-817F-4C72-84A3-1A0B31FA4C71}"/>
                </a:ext>
              </a:extLst>
            </p:cNvPr>
            <p:cNvSpPr>
              <a:spLocks noChangeAspect="1" noChangeShapeType="1"/>
            </p:cNvSpPr>
            <p:nvPr/>
          </p:nvSpPr>
          <p:spPr bwMode="auto">
            <a:xfrm flipV="1">
              <a:off x="6453188" y="2572704"/>
              <a:ext cx="0"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08" name="Line 1456">
              <a:extLst>
                <a:ext uri="{FF2B5EF4-FFF2-40B4-BE49-F238E27FC236}">
                  <a16:creationId xmlns:a16="http://schemas.microsoft.com/office/drawing/2014/main" id="{A117FB1A-46AA-4847-BFFA-B02C6E017C88}"/>
                </a:ext>
              </a:extLst>
            </p:cNvPr>
            <p:cNvSpPr>
              <a:spLocks noChangeAspect="1" noChangeShapeType="1"/>
            </p:cNvSpPr>
            <p:nvPr/>
          </p:nvSpPr>
          <p:spPr bwMode="auto">
            <a:xfrm flipV="1">
              <a:off x="6453188" y="2526665"/>
              <a:ext cx="4762" cy="460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09" name="Line 1457">
              <a:extLst>
                <a:ext uri="{FF2B5EF4-FFF2-40B4-BE49-F238E27FC236}">
                  <a16:creationId xmlns:a16="http://schemas.microsoft.com/office/drawing/2014/main" id="{36C9DA4F-94AA-4ECC-8B86-6B00B28C550C}"/>
                </a:ext>
              </a:extLst>
            </p:cNvPr>
            <p:cNvSpPr>
              <a:spLocks noChangeAspect="1" noChangeShapeType="1"/>
            </p:cNvSpPr>
            <p:nvPr/>
          </p:nvSpPr>
          <p:spPr bwMode="auto">
            <a:xfrm flipV="1">
              <a:off x="6457951" y="2513965"/>
              <a:ext cx="3175"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10" name="Line 1458">
              <a:extLst>
                <a:ext uri="{FF2B5EF4-FFF2-40B4-BE49-F238E27FC236}">
                  <a16:creationId xmlns:a16="http://schemas.microsoft.com/office/drawing/2014/main" id="{EEEDB195-2074-4B57-99F7-71E02A8972B5}"/>
                </a:ext>
              </a:extLst>
            </p:cNvPr>
            <p:cNvSpPr>
              <a:spLocks noChangeAspect="1" noChangeShapeType="1"/>
            </p:cNvSpPr>
            <p:nvPr/>
          </p:nvSpPr>
          <p:spPr bwMode="auto">
            <a:xfrm flipV="1">
              <a:off x="6462714" y="2480628"/>
              <a:ext cx="3175"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11" name="Line 1459">
              <a:extLst>
                <a:ext uri="{FF2B5EF4-FFF2-40B4-BE49-F238E27FC236}">
                  <a16:creationId xmlns:a16="http://schemas.microsoft.com/office/drawing/2014/main" id="{B74A9602-1084-4A18-9255-F5294672E509}"/>
                </a:ext>
              </a:extLst>
            </p:cNvPr>
            <p:cNvSpPr>
              <a:spLocks noChangeAspect="1" noChangeShapeType="1"/>
            </p:cNvSpPr>
            <p:nvPr/>
          </p:nvSpPr>
          <p:spPr bwMode="auto">
            <a:xfrm flipV="1">
              <a:off x="6465889" y="2479040"/>
              <a:ext cx="1587"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12" name="Line 1460">
              <a:extLst>
                <a:ext uri="{FF2B5EF4-FFF2-40B4-BE49-F238E27FC236}">
                  <a16:creationId xmlns:a16="http://schemas.microsoft.com/office/drawing/2014/main" id="{CF3D1680-5C7A-4859-BE16-401A979CE992}"/>
                </a:ext>
              </a:extLst>
            </p:cNvPr>
            <p:cNvSpPr>
              <a:spLocks noChangeAspect="1" noChangeShapeType="1"/>
            </p:cNvSpPr>
            <p:nvPr/>
          </p:nvSpPr>
          <p:spPr bwMode="auto">
            <a:xfrm flipV="1">
              <a:off x="6465888" y="2440940"/>
              <a:ext cx="6350"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13" name="Line 1461">
              <a:extLst>
                <a:ext uri="{FF2B5EF4-FFF2-40B4-BE49-F238E27FC236}">
                  <a16:creationId xmlns:a16="http://schemas.microsoft.com/office/drawing/2014/main" id="{1681DD57-F472-439C-8760-C4E4D9069850}"/>
                </a:ext>
              </a:extLst>
            </p:cNvPr>
            <p:cNvSpPr>
              <a:spLocks noChangeAspect="1" noChangeShapeType="1"/>
            </p:cNvSpPr>
            <p:nvPr/>
          </p:nvSpPr>
          <p:spPr bwMode="auto">
            <a:xfrm flipV="1">
              <a:off x="6475414" y="2388553"/>
              <a:ext cx="9525"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14" name="Line 1462">
              <a:extLst>
                <a:ext uri="{FF2B5EF4-FFF2-40B4-BE49-F238E27FC236}">
                  <a16:creationId xmlns:a16="http://schemas.microsoft.com/office/drawing/2014/main" id="{52DE1A48-5652-49A1-A583-20899A6911B2}"/>
                </a:ext>
              </a:extLst>
            </p:cNvPr>
            <p:cNvSpPr>
              <a:spLocks noChangeAspect="1" noChangeShapeType="1"/>
            </p:cNvSpPr>
            <p:nvPr/>
          </p:nvSpPr>
          <p:spPr bwMode="auto">
            <a:xfrm flipV="1">
              <a:off x="6484938" y="2367915"/>
              <a:ext cx="4762"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15" name="Line 1463">
              <a:extLst>
                <a:ext uri="{FF2B5EF4-FFF2-40B4-BE49-F238E27FC236}">
                  <a16:creationId xmlns:a16="http://schemas.microsoft.com/office/drawing/2014/main" id="{0BD29228-0A5D-473F-8559-2B348E0C9C3F}"/>
                </a:ext>
              </a:extLst>
            </p:cNvPr>
            <p:cNvSpPr>
              <a:spLocks noChangeAspect="1" noChangeShapeType="1"/>
            </p:cNvSpPr>
            <p:nvPr/>
          </p:nvSpPr>
          <p:spPr bwMode="auto">
            <a:xfrm flipV="1">
              <a:off x="6494464" y="2342516"/>
              <a:ext cx="3175"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16" name="Line 1464">
              <a:extLst>
                <a:ext uri="{FF2B5EF4-FFF2-40B4-BE49-F238E27FC236}">
                  <a16:creationId xmlns:a16="http://schemas.microsoft.com/office/drawing/2014/main" id="{A781B32A-E094-4824-965C-E58BD03449B8}"/>
                </a:ext>
              </a:extLst>
            </p:cNvPr>
            <p:cNvSpPr>
              <a:spLocks noChangeAspect="1" noChangeShapeType="1"/>
            </p:cNvSpPr>
            <p:nvPr/>
          </p:nvSpPr>
          <p:spPr bwMode="auto">
            <a:xfrm flipV="1">
              <a:off x="6497638" y="2298065"/>
              <a:ext cx="12700"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17" name="Line 1465">
              <a:extLst>
                <a:ext uri="{FF2B5EF4-FFF2-40B4-BE49-F238E27FC236}">
                  <a16:creationId xmlns:a16="http://schemas.microsoft.com/office/drawing/2014/main" id="{1658B207-E5EA-4972-90F0-A643D2D657C0}"/>
                </a:ext>
              </a:extLst>
            </p:cNvPr>
            <p:cNvSpPr>
              <a:spLocks noChangeAspect="1" noChangeShapeType="1"/>
            </p:cNvSpPr>
            <p:nvPr/>
          </p:nvSpPr>
          <p:spPr bwMode="auto">
            <a:xfrm flipV="1">
              <a:off x="6516689" y="2250440"/>
              <a:ext cx="9525" cy="333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18" name="Line 1466">
              <a:extLst>
                <a:ext uri="{FF2B5EF4-FFF2-40B4-BE49-F238E27FC236}">
                  <a16:creationId xmlns:a16="http://schemas.microsoft.com/office/drawing/2014/main" id="{1A6F6E86-D3CA-4F84-AB24-916DD239EBE9}"/>
                </a:ext>
              </a:extLst>
            </p:cNvPr>
            <p:cNvSpPr>
              <a:spLocks noChangeAspect="1" noChangeShapeType="1"/>
            </p:cNvSpPr>
            <p:nvPr/>
          </p:nvSpPr>
          <p:spPr bwMode="auto">
            <a:xfrm flipV="1">
              <a:off x="6526214" y="2228216"/>
              <a:ext cx="9525"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19" name="Line 1467">
              <a:extLst>
                <a:ext uri="{FF2B5EF4-FFF2-40B4-BE49-F238E27FC236}">
                  <a16:creationId xmlns:a16="http://schemas.microsoft.com/office/drawing/2014/main" id="{7F2EAAF5-E16B-416E-946C-A2B3CB4BE3BE}"/>
                </a:ext>
              </a:extLst>
            </p:cNvPr>
            <p:cNvSpPr>
              <a:spLocks noChangeAspect="1" noChangeShapeType="1"/>
            </p:cNvSpPr>
            <p:nvPr/>
          </p:nvSpPr>
          <p:spPr bwMode="auto">
            <a:xfrm flipV="1">
              <a:off x="6542089" y="2205990"/>
              <a:ext cx="1587"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20" name="Line 1468">
              <a:extLst>
                <a:ext uri="{FF2B5EF4-FFF2-40B4-BE49-F238E27FC236}">
                  <a16:creationId xmlns:a16="http://schemas.microsoft.com/office/drawing/2014/main" id="{5346811B-87F2-449A-8951-58E842057485}"/>
                </a:ext>
              </a:extLst>
            </p:cNvPr>
            <p:cNvSpPr>
              <a:spLocks noChangeAspect="1" noChangeShapeType="1"/>
            </p:cNvSpPr>
            <p:nvPr/>
          </p:nvSpPr>
          <p:spPr bwMode="auto">
            <a:xfrm flipV="1">
              <a:off x="6543675" y="2175828"/>
              <a:ext cx="14288" cy="301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21" name="Line 1469">
              <a:extLst>
                <a:ext uri="{FF2B5EF4-FFF2-40B4-BE49-F238E27FC236}">
                  <a16:creationId xmlns:a16="http://schemas.microsoft.com/office/drawing/2014/main" id="{7C7E94CF-E5B1-4144-A4C7-A3B5C33B5239}"/>
                </a:ext>
              </a:extLst>
            </p:cNvPr>
            <p:cNvSpPr>
              <a:spLocks noChangeAspect="1" noChangeShapeType="1"/>
            </p:cNvSpPr>
            <p:nvPr/>
          </p:nvSpPr>
          <p:spPr bwMode="auto">
            <a:xfrm flipV="1">
              <a:off x="6557963" y="2161540"/>
              <a:ext cx="6350"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22" name="Line 1470">
              <a:extLst>
                <a:ext uri="{FF2B5EF4-FFF2-40B4-BE49-F238E27FC236}">
                  <a16:creationId xmlns:a16="http://schemas.microsoft.com/office/drawing/2014/main" id="{C7243A86-F570-476A-AAEC-27513646DAB4}"/>
                </a:ext>
              </a:extLst>
            </p:cNvPr>
            <p:cNvSpPr>
              <a:spLocks noChangeAspect="1" noChangeShapeType="1"/>
            </p:cNvSpPr>
            <p:nvPr/>
          </p:nvSpPr>
          <p:spPr bwMode="auto">
            <a:xfrm flipV="1">
              <a:off x="6570663" y="2115504"/>
              <a:ext cx="17462" cy="333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23" name="Line 1471">
              <a:extLst>
                <a:ext uri="{FF2B5EF4-FFF2-40B4-BE49-F238E27FC236}">
                  <a16:creationId xmlns:a16="http://schemas.microsoft.com/office/drawing/2014/main" id="{636CA6F6-BDE9-494C-913E-DD9C5769C3DB}"/>
                </a:ext>
              </a:extLst>
            </p:cNvPr>
            <p:cNvSpPr>
              <a:spLocks noChangeAspect="1" noChangeShapeType="1"/>
            </p:cNvSpPr>
            <p:nvPr/>
          </p:nvSpPr>
          <p:spPr bwMode="auto">
            <a:xfrm flipV="1">
              <a:off x="6588126" y="2098041"/>
              <a:ext cx="9525"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24" name="Line 1472">
              <a:extLst>
                <a:ext uri="{FF2B5EF4-FFF2-40B4-BE49-F238E27FC236}">
                  <a16:creationId xmlns:a16="http://schemas.microsoft.com/office/drawing/2014/main" id="{8540141C-64DD-446F-BFDA-33B44BA11D11}"/>
                </a:ext>
              </a:extLst>
            </p:cNvPr>
            <p:cNvSpPr>
              <a:spLocks noChangeAspect="1" noChangeShapeType="1"/>
            </p:cNvSpPr>
            <p:nvPr/>
          </p:nvSpPr>
          <p:spPr bwMode="auto">
            <a:xfrm flipV="1">
              <a:off x="6604000" y="2085340"/>
              <a:ext cx="15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25" name="Line 1473">
              <a:extLst>
                <a:ext uri="{FF2B5EF4-FFF2-40B4-BE49-F238E27FC236}">
                  <a16:creationId xmlns:a16="http://schemas.microsoft.com/office/drawing/2014/main" id="{E018465F-F767-4213-B2FA-2F1DC66C435D}"/>
                </a:ext>
              </a:extLst>
            </p:cNvPr>
            <p:cNvSpPr>
              <a:spLocks noChangeAspect="1" noChangeShapeType="1"/>
            </p:cNvSpPr>
            <p:nvPr/>
          </p:nvSpPr>
          <p:spPr bwMode="auto">
            <a:xfrm flipV="1">
              <a:off x="6604001" y="2069466"/>
              <a:ext cx="11113"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26" name="Line 1474">
              <a:extLst>
                <a:ext uri="{FF2B5EF4-FFF2-40B4-BE49-F238E27FC236}">
                  <a16:creationId xmlns:a16="http://schemas.microsoft.com/office/drawing/2014/main" id="{426CD739-9BC3-49F0-A9B1-E8883A5C7D3E}"/>
                </a:ext>
              </a:extLst>
            </p:cNvPr>
            <p:cNvSpPr>
              <a:spLocks noChangeAspect="1" noChangeShapeType="1"/>
            </p:cNvSpPr>
            <p:nvPr/>
          </p:nvSpPr>
          <p:spPr bwMode="auto">
            <a:xfrm flipV="1">
              <a:off x="6615113" y="2037715"/>
              <a:ext cx="19050"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27" name="Line 1475">
              <a:extLst>
                <a:ext uri="{FF2B5EF4-FFF2-40B4-BE49-F238E27FC236}">
                  <a16:creationId xmlns:a16="http://schemas.microsoft.com/office/drawing/2014/main" id="{BB325D80-DE2B-49F4-A59F-67ECBC89D132}"/>
                </a:ext>
              </a:extLst>
            </p:cNvPr>
            <p:cNvSpPr>
              <a:spLocks noChangeAspect="1" noChangeShapeType="1"/>
            </p:cNvSpPr>
            <p:nvPr/>
          </p:nvSpPr>
          <p:spPr bwMode="auto">
            <a:xfrm flipV="1">
              <a:off x="6642100" y="2023429"/>
              <a:ext cx="0"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28" name="Line 1476">
              <a:extLst>
                <a:ext uri="{FF2B5EF4-FFF2-40B4-BE49-F238E27FC236}">
                  <a16:creationId xmlns:a16="http://schemas.microsoft.com/office/drawing/2014/main" id="{0299BA25-A975-4373-B01F-9F6D16D0A68C}"/>
                </a:ext>
              </a:extLst>
            </p:cNvPr>
            <p:cNvSpPr>
              <a:spLocks noChangeAspect="1" noChangeShapeType="1"/>
            </p:cNvSpPr>
            <p:nvPr/>
          </p:nvSpPr>
          <p:spPr bwMode="auto">
            <a:xfrm flipV="1">
              <a:off x="6642101" y="2012316"/>
              <a:ext cx="9525"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29" name="Line 1477">
              <a:extLst>
                <a:ext uri="{FF2B5EF4-FFF2-40B4-BE49-F238E27FC236}">
                  <a16:creationId xmlns:a16="http://schemas.microsoft.com/office/drawing/2014/main" id="{9347E0FE-F4F5-4885-8462-61646AD7FD2F}"/>
                </a:ext>
              </a:extLst>
            </p:cNvPr>
            <p:cNvSpPr>
              <a:spLocks noChangeAspect="1" noChangeShapeType="1"/>
            </p:cNvSpPr>
            <p:nvPr/>
          </p:nvSpPr>
          <p:spPr bwMode="auto">
            <a:xfrm flipV="1">
              <a:off x="6651626" y="1978979"/>
              <a:ext cx="22225" cy="333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30" name="Line 1478">
              <a:extLst>
                <a:ext uri="{FF2B5EF4-FFF2-40B4-BE49-F238E27FC236}">
                  <a16:creationId xmlns:a16="http://schemas.microsoft.com/office/drawing/2014/main" id="{247EAF96-D239-41D5-9C31-57BF22D759DF}"/>
                </a:ext>
              </a:extLst>
            </p:cNvPr>
            <p:cNvSpPr>
              <a:spLocks noChangeAspect="1" noChangeShapeType="1"/>
            </p:cNvSpPr>
            <p:nvPr/>
          </p:nvSpPr>
          <p:spPr bwMode="auto">
            <a:xfrm flipV="1">
              <a:off x="6681789" y="1951991"/>
              <a:ext cx="14287"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31" name="Line 1479">
              <a:extLst>
                <a:ext uri="{FF2B5EF4-FFF2-40B4-BE49-F238E27FC236}">
                  <a16:creationId xmlns:a16="http://schemas.microsoft.com/office/drawing/2014/main" id="{DE1A788D-FF9C-463D-B206-80776DC1B592}"/>
                </a:ext>
              </a:extLst>
            </p:cNvPr>
            <p:cNvSpPr>
              <a:spLocks noChangeAspect="1" noChangeShapeType="1"/>
            </p:cNvSpPr>
            <p:nvPr/>
          </p:nvSpPr>
          <p:spPr bwMode="auto">
            <a:xfrm flipV="1">
              <a:off x="6696075" y="1931354"/>
              <a:ext cx="19050"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32" name="Line 1480">
              <a:extLst>
                <a:ext uri="{FF2B5EF4-FFF2-40B4-BE49-F238E27FC236}">
                  <a16:creationId xmlns:a16="http://schemas.microsoft.com/office/drawing/2014/main" id="{3B156720-6EFF-46D3-BF90-719851DA6D9B}"/>
                </a:ext>
              </a:extLst>
            </p:cNvPr>
            <p:cNvSpPr>
              <a:spLocks noChangeAspect="1" noChangeShapeType="1"/>
            </p:cNvSpPr>
            <p:nvPr/>
          </p:nvSpPr>
          <p:spPr bwMode="auto">
            <a:xfrm flipV="1">
              <a:off x="6715126" y="1926591"/>
              <a:ext cx="3175"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33" name="Line 1481">
              <a:extLst>
                <a:ext uri="{FF2B5EF4-FFF2-40B4-BE49-F238E27FC236}">
                  <a16:creationId xmlns:a16="http://schemas.microsoft.com/office/drawing/2014/main" id="{546C70B1-42E2-47DA-B949-3387E179ECE7}"/>
                </a:ext>
              </a:extLst>
            </p:cNvPr>
            <p:cNvSpPr>
              <a:spLocks noChangeAspect="1" noChangeShapeType="1"/>
            </p:cNvSpPr>
            <p:nvPr/>
          </p:nvSpPr>
          <p:spPr bwMode="auto">
            <a:xfrm flipV="1">
              <a:off x="6727825" y="1901191"/>
              <a:ext cx="14288"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34" name="Line 1482">
              <a:extLst>
                <a:ext uri="{FF2B5EF4-FFF2-40B4-BE49-F238E27FC236}">
                  <a16:creationId xmlns:a16="http://schemas.microsoft.com/office/drawing/2014/main" id="{8B6C14C8-223F-4A7D-B19B-47FD240C2DC9}"/>
                </a:ext>
              </a:extLst>
            </p:cNvPr>
            <p:cNvSpPr>
              <a:spLocks noChangeAspect="1" noChangeShapeType="1"/>
            </p:cNvSpPr>
            <p:nvPr/>
          </p:nvSpPr>
          <p:spPr bwMode="auto">
            <a:xfrm flipV="1">
              <a:off x="6742113" y="1885316"/>
              <a:ext cx="17462"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35" name="Line 1483">
              <a:extLst>
                <a:ext uri="{FF2B5EF4-FFF2-40B4-BE49-F238E27FC236}">
                  <a16:creationId xmlns:a16="http://schemas.microsoft.com/office/drawing/2014/main" id="{F24039A2-9B37-4325-96C1-CE9BCFEA2C8F}"/>
                </a:ext>
              </a:extLst>
            </p:cNvPr>
            <p:cNvSpPr>
              <a:spLocks noChangeAspect="1" noChangeShapeType="1"/>
            </p:cNvSpPr>
            <p:nvPr/>
          </p:nvSpPr>
          <p:spPr bwMode="auto">
            <a:xfrm flipV="1">
              <a:off x="6759575" y="1880553"/>
              <a:ext cx="6350"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36" name="Line 1484">
              <a:extLst>
                <a:ext uri="{FF2B5EF4-FFF2-40B4-BE49-F238E27FC236}">
                  <a16:creationId xmlns:a16="http://schemas.microsoft.com/office/drawing/2014/main" id="{E1E18ECD-099D-4F56-A290-3C243D36777C}"/>
                </a:ext>
              </a:extLst>
            </p:cNvPr>
            <p:cNvSpPr>
              <a:spLocks noChangeAspect="1" noChangeShapeType="1"/>
            </p:cNvSpPr>
            <p:nvPr/>
          </p:nvSpPr>
          <p:spPr bwMode="auto">
            <a:xfrm flipV="1">
              <a:off x="6777038" y="1859916"/>
              <a:ext cx="11112"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37" name="Line 1485">
              <a:extLst>
                <a:ext uri="{FF2B5EF4-FFF2-40B4-BE49-F238E27FC236}">
                  <a16:creationId xmlns:a16="http://schemas.microsoft.com/office/drawing/2014/main" id="{4456648E-EDA0-4B44-B8E5-3DAEA60830BA}"/>
                </a:ext>
              </a:extLst>
            </p:cNvPr>
            <p:cNvSpPr>
              <a:spLocks noChangeAspect="1" noChangeShapeType="1"/>
            </p:cNvSpPr>
            <p:nvPr/>
          </p:nvSpPr>
          <p:spPr bwMode="auto">
            <a:xfrm flipV="1">
              <a:off x="6788150" y="1839279"/>
              <a:ext cx="25400"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38" name="Line 1486">
              <a:extLst>
                <a:ext uri="{FF2B5EF4-FFF2-40B4-BE49-F238E27FC236}">
                  <a16:creationId xmlns:a16="http://schemas.microsoft.com/office/drawing/2014/main" id="{8A53DF1E-36D4-4224-BD64-2793FA9F2F22}"/>
                </a:ext>
              </a:extLst>
            </p:cNvPr>
            <p:cNvSpPr>
              <a:spLocks noChangeAspect="1" noChangeShapeType="1"/>
            </p:cNvSpPr>
            <p:nvPr/>
          </p:nvSpPr>
          <p:spPr bwMode="auto">
            <a:xfrm flipV="1">
              <a:off x="6813551" y="1837690"/>
              <a:ext cx="3175"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39" name="Line 1487">
              <a:extLst>
                <a:ext uri="{FF2B5EF4-FFF2-40B4-BE49-F238E27FC236}">
                  <a16:creationId xmlns:a16="http://schemas.microsoft.com/office/drawing/2014/main" id="{4711F502-120C-41DF-8C2F-F28247ACC57F}"/>
                </a:ext>
              </a:extLst>
            </p:cNvPr>
            <p:cNvSpPr>
              <a:spLocks noChangeAspect="1" noChangeShapeType="1"/>
            </p:cNvSpPr>
            <p:nvPr/>
          </p:nvSpPr>
          <p:spPr bwMode="auto">
            <a:xfrm flipV="1">
              <a:off x="6827838" y="1824991"/>
              <a:ext cx="6350"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40" name="Line 1488">
              <a:extLst>
                <a:ext uri="{FF2B5EF4-FFF2-40B4-BE49-F238E27FC236}">
                  <a16:creationId xmlns:a16="http://schemas.microsoft.com/office/drawing/2014/main" id="{817E44F0-5D8A-4233-AB44-FF2AD99DC1BF}"/>
                </a:ext>
              </a:extLst>
            </p:cNvPr>
            <p:cNvSpPr>
              <a:spLocks noChangeAspect="1" noChangeShapeType="1"/>
            </p:cNvSpPr>
            <p:nvPr/>
          </p:nvSpPr>
          <p:spPr bwMode="auto">
            <a:xfrm flipV="1">
              <a:off x="6834188" y="1801178"/>
              <a:ext cx="38100" cy="238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41" name="Line 1489">
              <a:extLst>
                <a:ext uri="{FF2B5EF4-FFF2-40B4-BE49-F238E27FC236}">
                  <a16:creationId xmlns:a16="http://schemas.microsoft.com/office/drawing/2014/main" id="{E8B66812-9867-4CDF-AAA6-47158AC65483}"/>
                </a:ext>
              </a:extLst>
            </p:cNvPr>
            <p:cNvSpPr>
              <a:spLocks noChangeAspect="1" noChangeShapeType="1"/>
            </p:cNvSpPr>
            <p:nvPr/>
          </p:nvSpPr>
          <p:spPr bwMode="auto">
            <a:xfrm flipV="1">
              <a:off x="6883401" y="1793241"/>
              <a:ext cx="31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42" name="Line 1490">
              <a:extLst>
                <a:ext uri="{FF2B5EF4-FFF2-40B4-BE49-F238E27FC236}">
                  <a16:creationId xmlns:a16="http://schemas.microsoft.com/office/drawing/2014/main" id="{3DFFBBBB-CCEF-4882-9FE4-A28DEFA86E63}"/>
                </a:ext>
              </a:extLst>
            </p:cNvPr>
            <p:cNvSpPr>
              <a:spLocks noChangeAspect="1" noChangeShapeType="1"/>
            </p:cNvSpPr>
            <p:nvPr/>
          </p:nvSpPr>
          <p:spPr bwMode="auto">
            <a:xfrm flipV="1">
              <a:off x="6886576" y="1774190"/>
              <a:ext cx="41275"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43" name="Line 1491">
              <a:extLst>
                <a:ext uri="{FF2B5EF4-FFF2-40B4-BE49-F238E27FC236}">
                  <a16:creationId xmlns:a16="http://schemas.microsoft.com/office/drawing/2014/main" id="{754E4998-3709-47BC-9E19-C9BFCF11E867}"/>
                </a:ext>
              </a:extLst>
            </p:cNvPr>
            <p:cNvSpPr>
              <a:spLocks noChangeAspect="1" noChangeShapeType="1"/>
            </p:cNvSpPr>
            <p:nvPr/>
          </p:nvSpPr>
          <p:spPr bwMode="auto">
            <a:xfrm flipV="1">
              <a:off x="6927850" y="1772604"/>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44" name="Line 1492">
              <a:extLst>
                <a:ext uri="{FF2B5EF4-FFF2-40B4-BE49-F238E27FC236}">
                  <a16:creationId xmlns:a16="http://schemas.microsoft.com/office/drawing/2014/main" id="{F3CF6810-90EE-4698-8145-40E75BC6FCE6}"/>
                </a:ext>
              </a:extLst>
            </p:cNvPr>
            <p:cNvSpPr>
              <a:spLocks noChangeAspect="1" noChangeShapeType="1"/>
            </p:cNvSpPr>
            <p:nvPr/>
          </p:nvSpPr>
          <p:spPr bwMode="auto">
            <a:xfrm flipV="1">
              <a:off x="6940550" y="1758316"/>
              <a:ext cx="33338"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45" name="Line 1493">
              <a:extLst>
                <a:ext uri="{FF2B5EF4-FFF2-40B4-BE49-F238E27FC236}">
                  <a16:creationId xmlns:a16="http://schemas.microsoft.com/office/drawing/2014/main" id="{05ED8199-D976-49AA-A9FB-869F8BF74033}"/>
                </a:ext>
              </a:extLst>
            </p:cNvPr>
            <p:cNvSpPr>
              <a:spLocks noChangeAspect="1" noChangeShapeType="1"/>
            </p:cNvSpPr>
            <p:nvPr/>
          </p:nvSpPr>
          <p:spPr bwMode="auto">
            <a:xfrm flipV="1">
              <a:off x="6973889" y="1753553"/>
              <a:ext cx="15875"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46" name="Line 1494">
              <a:extLst>
                <a:ext uri="{FF2B5EF4-FFF2-40B4-BE49-F238E27FC236}">
                  <a16:creationId xmlns:a16="http://schemas.microsoft.com/office/drawing/2014/main" id="{2FA17924-4870-4CDE-BF9D-7FC47406DC55}"/>
                </a:ext>
              </a:extLst>
            </p:cNvPr>
            <p:cNvSpPr>
              <a:spLocks noChangeAspect="1" noChangeShapeType="1"/>
            </p:cNvSpPr>
            <p:nvPr/>
          </p:nvSpPr>
          <p:spPr bwMode="auto">
            <a:xfrm flipV="1">
              <a:off x="7002464" y="1747203"/>
              <a:ext cx="14287"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47" name="Line 1495">
              <a:extLst>
                <a:ext uri="{FF2B5EF4-FFF2-40B4-BE49-F238E27FC236}">
                  <a16:creationId xmlns:a16="http://schemas.microsoft.com/office/drawing/2014/main" id="{43AB6B0C-7EAD-43EE-A45D-9B9AA1BE309E}"/>
                </a:ext>
              </a:extLst>
            </p:cNvPr>
            <p:cNvSpPr>
              <a:spLocks noChangeAspect="1" noChangeShapeType="1"/>
            </p:cNvSpPr>
            <p:nvPr/>
          </p:nvSpPr>
          <p:spPr bwMode="auto">
            <a:xfrm flipV="1">
              <a:off x="7016751" y="1747204"/>
              <a:ext cx="3175"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48" name="Line 1496">
              <a:extLst>
                <a:ext uri="{FF2B5EF4-FFF2-40B4-BE49-F238E27FC236}">
                  <a16:creationId xmlns:a16="http://schemas.microsoft.com/office/drawing/2014/main" id="{69CC5499-4308-4751-8A15-1E09FCA5A804}"/>
                </a:ext>
              </a:extLst>
            </p:cNvPr>
            <p:cNvSpPr>
              <a:spLocks noChangeAspect="1" noChangeShapeType="1"/>
            </p:cNvSpPr>
            <p:nvPr/>
          </p:nvSpPr>
          <p:spPr bwMode="auto">
            <a:xfrm flipV="1">
              <a:off x="7019926" y="1744029"/>
              <a:ext cx="30163"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49" name="Line 1497">
              <a:extLst>
                <a:ext uri="{FF2B5EF4-FFF2-40B4-BE49-F238E27FC236}">
                  <a16:creationId xmlns:a16="http://schemas.microsoft.com/office/drawing/2014/main" id="{B28BAA27-EE40-402E-8976-94B966262B46}"/>
                </a:ext>
              </a:extLst>
            </p:cNvPr>
            <p:cNvSpPr>
              <a:spLocks noChangeAspect="1" noChangeShapeType="1"/>
            </p:cNvSpPr>
            <p:nvPr/>
          </p:nvSpPr>
          <p:spPr bwMode="auto">
            <a:xfrm flipV="1">
              <a:off x="7064375" y="1740854"/>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50" name="Line 1498">
              <a:extLst>
                <a:ext uri="{FF2B5EF4-FFF2-40B4-BE49-F238E27FC236}">
                  <a16:creationId xmlns:a16="http://schemas.microsoft.com/office/drawing/2014/main" id="{D77CAE4D-9833-47E1-8009-44C2B0C6B70E}"/>
                </a:ext>
              </a:extLst>
            </p:cNvPr>
            <p:cNvSpPr>
              <a:spLocks noChangeAspect="1" noChangeShapeType="1"/>
            </p:cNvSpPr>
            <p:nvPr/>
          </p:nvSpPr>
          <p:spPr bwMode="auto">
            <a:xfrm flipV="1">
              <a:off x="7065964" y="1739265"/>
              <a:ext cx="46037"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51" name="Line 1499">
              <a:extLst>
                <a:ext uri="{FF2B5EF4-FFF2-40B4-BE49-F238E27FC236}">
                  <a16:creationId xmlns:a16="http://schemas.microsoft.com/office/drawing/2014/main" id="{043FAA71-4375-4E99-AF77-F71A6EE2455B}"/>
                </a:ext>
              </a:extLst>
            </p:cNvPr>
            <p:cNvSpPr>
              <a:spLocks noChangeAspect="1" noChangeShapeType="1"/>
            </p:cNvSpPr>
            <p:nvPr/>
          </p:nvSpPr>
          <p:spPr bwMode="auto">
            <a:xfrm>
              <a:off x="7112000" y="1739265"/>
              <a:ext cx="0"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52" name="Line 1500">
              <a:extLst>
                <a:ext uri="{FF2B5EF4-FFF2-40B4-BE49-F238E27FC236}">
                  <a16:creationId xmlns:a16="http://schemas.microsoft.com/office/drawing/2014/main" id="{3A003CD5-D8BA-448F-ADA0-4B192D1B4435}"/>
                </a:ext>
              </a:extLst>
            </p:cNvPr>
            <p:cNvSpPr>
              <a:spLocks noChangeAspect="1" noChangeShapeType="1"/>
            </p:cNvSpPr>
            <p:nvPr/>
          </p:nvSpPr>
          <p:spPr bwMode="auto">
            <a:xfrm>
              <a:off x="7124700" y="1740854"/>
              <a:ext cx="31750"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53" name="Line 1501">
              <a:extLst>
                <a:ext uri="{FF2B5EF4-FFF2-40B4-BE49-F238E27FC236}">
                  <a16:creationId xmlns:a16="http://schemas.microsoft.com/office/drawing/2014/main" id="{87423D76-02C4-4987-8230-2EB52A266790}"/>
                </a:ext>
              </a:extLst>
            </p:cNvPr>
            <p:cNvSpPr>
              <a:spLocks noChangeAspect="1" noChangeShapeType="1"/>
            </p:cNvSpPr>
            <p:nvPr/>
          </p:nvSpPr>
          <p:spPr bwMode="auto">
            <a:xfrm>
              <a:off x="7156450" y="1744029"/>
              <a:ext cx="19050"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54" name="Line 1502">
              <a:extLst>
                <a:ext uri="{FF2B5EF4-FFF2-40B4-BE49-F238E27FC236}">
                  <a16:creationId xmlns:a16="http://schemas.microsoft.com/office/drawing/2014/main" id="{2D1F195E-DA5D-46BB-87DA-BEDAE4BD9524}"/>
                </a:ext>
              </a:extLst>
            </p:cNvPr>
            <p:cNvSpPr>
              <a:spLocks noChangeAspect="1" noChangeShapeType="1"/>
            </p:cNvSpPr>
            <p:nvPr/>
          </p:nvSpPr>
          <p:spPr bwMode="auto">
            <a:xfrm>
              <a:off x="7186613" y="1748791"/>
              <a:ext cx="17462"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55" name="Line 1503">
              <a:extLst>
                <a:ext uri="{FF2B5EF4-FFF2-40B4-BE49-F238E27FC236}">
                  <a16:creationId xmlns:a16="http://schemas.microsoft.com/office/drawing/2014/main" id="{105AB9DC-CA77-48B4-809C-C1D36BC60F64}"/>
                </a:ext>
              </a:extLst>
            </p:cNvPr>
            <p:cNvSpPr>
              <a:spLocks noChangeAspect="1" noChangeShapeType="1"/>
            </p:cNvSpPr>
            <p:nvPr/>
          </p:nvSpPr>
          <p:spPr bwMode="auto">
            <a:xfrm>
              <a:off x="7204075" y="1751965"/>
              <a:ext cx="31750"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56" name="Line 1504">
              <a:extLst>
                <a:ext uri="{FF2B5EF4-FFF2-40B4-BE49-F238E27FC236}">
                  <a16:creationId xmlns:a16="http://schemas.microsoft.com/office/drawing/2014/main" id="{7F4A8B17-F270-42FB-93BE-965AFFDD6A17}"/>
                </a:ext>
              </a:extLst>
            </p:cNvPr>
            <p:cNvSpPr>
              <a:spLocks noChangeAspect="1" noChangeShapeType="1"/>
            </p:cNvSpPr>
            <p:nvPr/>
          </p:nvSpPr>
          <p:spPr bwMode="auto">
            <a:xfrm>
              <a:off x="7246939" y="1763078"/>
              <a:ext cx="3175"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57" name="Line 1505">
              <a:extLst>
                <a:ext uri="{FF2B5EF4-FFF2-40B4-BE49-F238E27FC236}">
                  <a16:creationId xmlns:a16="http://schemas.microsoft.com/office/drawing/2014/main" id="{99D1CF7E-856E-4EDE-8443-535974C0AF8B}"/>
                </a:ext>
              </a:extLst>
            </p:cNvPr>
            <p:cNvSpPr>
              <a:spLocks noChangeAspect="1" noChangeShapeType="1"/>
            </p:cNvSpPr>
            <p:nvPr/>
          </p:nvSpPr>
          <p:spPr bwMode="auto">
            <a:xfrm>
              <a:off x="7250114" y="1763078"/>
              <a:ext cx="46037"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58" name="Line 1506">
              <a:extLst>
                <a:ext uri="{FF2B5EF4-FFF2-40B4-BE49-F238E27FC236}">
                  <a16:creationId xmlns:a16="http://schemas.microsoft.com/office/drawing/2014/main" id="{54C83D8D-6516-423C-906F-72DCAC76ABB0}"/>
                </a:ext>
              </a:extLst>
            </p:cNvPr>
            <p:cNvSpPr>
              <a:spLocks noChangeAspect="1" noChangeShapeType="1"/>
            </p:cNvSpPr>
            <p:nvPr/>
          </p:nvSpPr>
          <p:spPr bwMode="auto">
            <a:xfrm>
              <a:off x="7307264" y="1785304"/>
              <a:ext cx="20637"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59" name="Line 1507">
              <a:extLst>
                <a:ext uri="{FF2B5EF4-FFF2-40B4-BE49-F238E27FC236}">
                  <a16:creationId xmlns:a16="http://schemas.microsoft.com/office/drawing/2014/main" id="{F976F8C2-054D-47C2-B308-18745A5770FA}"/>
                </a:ext>
              </a:extLst>
            </p:cNvPr>
            <p:cNvSpPr>
              <a:spLocks noChangeAspect="1" noChangeShapeType="1"/>
            </p:cNvSpPr>
            <p:nvPr/>
          </p:nvSpPr>
          <p:spPr bwMode="auto">
            <a:xfrm>
              <a:off x="7327900" y="1793240"/>
              <a:ext cx="14288"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60" name="Line 1508">
              <a:extLst>
                <a:ext uri="{FF2B5EF4-FFF2-40B4-BE49-F238E27FC236}">
                  <a16:creationId xmlns:a16="http://schemas.microsoft.com/office/drawing/2014/main" id="{A10B62F3-89F0-418E-B76A-0DDE3231EBB7}"/>
                </a:ext>
              </a:extLst>
            </p:cNvPr>
            <p:cNvSpPr>
              <a:spLocks noChangeAspect="1" noChangeShapeType="1"/>
            </p:cNvSpPr>
            <p:nvPr/>
          </p:nvSpPr>
          <p:spPr bwMode="auto">
            <a:xfrm>
              <a:off x="7342188" y="1799590"/>
              <a:ext cx="11112"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61" name="Line 1509">
              <a:extLst>
                <a:ext uri="{FF2B5EF4-FFF2-40B4-BE49-F238E27FC236}">
                  <a16:creationId xmlns:a16="http://schemas.microsoft.com/office/drawing/2014/main" id="{71B548C0-37FA-463F-9044-AA1C61315445}"/>
                </a:ext>
              </a:extLst>
            </p:cNvPr>
            <p:cNvSpPr>
              <a:spLocks noChangeAspect="1" noChangeShapeType="1"/>
            </p:cNvSpPr>
            <p:nvPr/>
          </p:nvSpPr>
          <p:spPr bwMode="auto">
            <a:xfrm>
              <a:off x="7364413" y="1812290"/>
              <a:ext cx="23812"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62" name="Line 1510">
              <a:extLst>
                <a:ext uri="{FF2B5EF4-FFF2-40B4-BE49-F238E27FC236}">
                  <a16:creationId xmlns:a16="http://schemas.microsoft.com/office/drawing/2014/main" id="{550F05F6-D296-4B47-B312-D80C0A0B1800}"/>
                </a:ext>
              </a:extLst>
            </p:cNvPr>
            <p:cNvSpPr>
              <a:spLocks noChangeAspect="1" noChangeShapeType="1"/>
            </p:cNvSpPr>
            <p:nvPr/>
          </p:nvSpPr>
          <p:spPr bwMode="auto">
            <a:xfrm>
              <a:off x="7388225" y="1826578"/>
              <a:ext cx="20638"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63" name="Line 1511">
              <a:extLst>
                <a:ext uri="{FF2B5EF4-FFF2-40B4-BE49-F238E27FC236}">
                  <a16:creationId xmlns:a16="http://schemas.microsoft.com/office/drawing/2014/main" id="{88BA9A8D-26C3-4307-B3C4-D3D6CA08325E}"/>
                </a:ext>
              </a:extLst>
            </p:cNvPr>
            <p:cNvSpPr>
              <a:spLocks noChangeAspect="1" noChangeShapeType="1"/>
            </p:cNvSpPr>
            <p:nvPr/>
          </p:nvSpPr>
          <p:spPr bwMode="auto">
            <a:xfrm>
              <a:off x="7408864" y="1839279"/>
              <a:ext cx="1587"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64" name="Line 1512">
              <a:extLst>
                <a:ext uri="{FF2B5EF4-FFF2-40B4-BE49-F238E27FC236}">
                  <a16:creationId xmlns:a16="http://schemas.microsoft.com/office/drawing/2014/main" id="{54616B9C-4C2B-4612-BEA0-ECF24DA0D9F8}"/>
                </a:ext>
              </a:extLst>
            </p:cNvPr>
            <p:cNvSpPr>
              <a:spLocks noChangeAspect="1" noChangeShapeType="1"/>
            </p:cNvSpPr>
            <p:nvPr/>
          </p:nvSpPr>
          <p:spPr bwMode="auto">
            <a:xfrm>
              <a:off x="7419975" y="1847215"/>
              <a:ext cx="14288"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65" name="Line 1513">
              <a:extLst>
                <a:ext uri="{FF2B5EF4-FFF2-40B4-BE49-F238E27FC236}">
                  <a16:creationId xmlns:a16="http://schemas.microsoft.com/office/drawing/2014/main" id="{6F88F5FD-E50D-4F9B-8FF5-04FDF180C930}"/>
                </a:ext>
              </a:extLst>
            </p:cNvPr>
            <p:cNvSpPr>
              <a:spLocks noChangeAspect="1" noChangeShapeType="1"/>
            </p:cNvSpPr>
            <p:nvPr/>
          </p:nvSpPr>
          <p:spPr bwMode="auto">
            <a:xfrm>
              <a:off x="7434264" y="1855153"/>
              <a:ext cx="28575" cy="238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66" name="Line 1514">
              <a:extLst>
                <a:ext uri="{FF2B5EF4-FFF2-40B4-BE49-F238E27FC236}">
                  <a16:creationId xmlns:a16="http://schemas.microsoft.com/office/drawing/2014/main" id="{1421D883-8850-4DE0-8CA2-730482AA840A}"/>
                </a:ext>
              </a:extLst>
            </p:cNvPr>
            <p:cNvSpPr>
              <a:spLocks noChangeAspect="1" noChangeShapeType="1"/>
            </p:cNvSpPr>
            <p:nvPr/>
          </p:nvSpPr>
          <p:spPr bwMode="auto">
            <a:xfrm>
              <a:off x="7472364" y="1886904"/>
              <a:ext cx="7937"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67" name="Line 1515">
              <a:extLst>
                <a:ext uri="{FF2B5EF4-FFF2-40B4-BE49-F238E27FC236}">
                  <a16:creationId xmlns:a16="http://schemas.microsoft.com/office/drawing/2014/main" id="{AC2303A2-A16F-4BF9-89DF-0A365B024E23}"/>
                </a:ext>
              </a:extLst>
            </p:cNvPr>
            <p:cNvSpPr>
              <a:spLocks noChangeAspect="1" noChangeShapeType="1"/>
            </p:cNvSpPr>
            <p:nvPr/>
          </p:nvSpPr>
          <p:spPr bwMode="auto">
            <a:xfrm>
              <a:off x="7480300" y="1890078"/>
              <a:ext cx="33338" cy="301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68" name="Line 1516">
              <a:extLst>
                <a:ext uri="{FF2B5EF4-FFF2-40B4-BE49-F238E27FC236}">
                  <a16:creationId xmlns:a16="http://schemas.microsoft.com/office/drawing/2014/main" id="{8F27BE00-E8D9-409E-8228-E410B3CE277F}"/>
                </a:ext>
              </a:extLst>
            </p:cNvPr>
            <p:cNvSpPr>
              <a:spLocks noChangeAspect="1" noChangeShapeType="1"/>
            </p:cNvSpPr>
            <p:nvPr/>
          </p:nvSpPr>
          <p:spPr bwMode="auto">
            <a:xfrm>
              <a:off x="7524750" y="1929765"/>
              <a:ext cx="15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69" name="Line 1517">
              <a:extLst>
                <a:ext uri="{FF2B5EF4-FFF2-40B4-BE49-F238E27FC236}">
                  <a16:creationId xmlns:a16="http://schemas.microsoft.com/office/drawing/2014/main" id="{ED25DC6D-19C8-45F5-B0D3-47DA7267C7EE}"/>
                </a:ext>
              </a:extLst>
            </p:cNvPr>
            <p:cNvSpPr>
              <a:spLocks noChangeAspect="1" noChangeShapeType="1"/>
            </p:cNvSpPr>
            <p:nvPr/>
          </p:nvSpPr>
          <p:spPr bwMode="auto">
            <a:xfrm>
              <a:off x="7526339" y="1931354"/>
              <a:ext cx="1587"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70" name="Line 1518">
              <a:extLst>
                <a:ext uri="{FF2B5EF4-FFF2-40B4-BE49-F238E27FC236}">
                  <a16:creationId xmlns:a16="http://schemas.microsoft.com/office/drawing/2014/main" id="{42D1B68D-63AC-49DA-8573-C334293E1735}"/>
                </a:ext>
              </a:extLst>
            </p:cNvPr>
            <p:cNvSpPr>
              <a:spLocks noChangeAspect="1" noChangeShapeType="1"/>
            </p:cNvSpPr>
            <p:nvPr/>
          </p:nvSpPr>
          <p:spPr bwMode="auto">
            <a:xfrm>
              <a:off x="7527926" y="1932941"/>
              <a:ext cx="34925"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71" name="Line 1519">
              <a:extLst>
                <a:ext uri="{FF2B5EF4-FFF2-40B4-BE49-F238E27FC236}">
                  <a16:creationId xmlns:a16="http://schemas.microsoft.com/office/drawing/2014/main" id="{44F38812-CE72-49F2-96BB-1B4B8F7BBFE8}"/>
                </a:ext>
              </a:extLst>
            </p:cNvPr>
            <p:cNvSpPr>
              <a:spLocks noChangeAspect="1" noChangeShapeType="1"/>
            </p:cNvSpPr>
            <p:nvPr/>
          </p:nvSpPr>
          <p:spPr bwMode="auto">
            <a:xfrm>
              <a:off x="7572375" y="1977390"/>
              <a:ext cx="0"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72" name="Line 1520">
              <a:extLst>
                <a:ext uri="{FF2B5EF4-FFF2-40B4-BE49-F238E27FC236}">
                  <a16:creationId xmlns:a16="http://schemas.microsoft.com/office/drawing/2014/main" id="{6519B112-15CC-4A7E-BF20-19DF451FD58A}"/>
                </a:ext>
              </a:extLst>
            </p:cNvPr>
            <p:cNvSpPr>
              <a:spLocks noChangeAspect="1" noChangeShapeType="1"/>
            </p:cNvSpPr>
            <p:nvPr/>
          </p:nvSpPr>
          <p:spPr bwMode="auto">
            <a:xfrm>
              <a:off x="7572376" y="1977390"/>
              <a:ext cx="36513" cy="396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73" name="Line 1521">
              <a:extLst>
                <a:ext uri="{FF2B5EF4-FFF2-40B4-BE49-F238E27FC236}">
                  <a16:creationId xmlns:a16="http://schemas.microsoft.com/office/drawing/2014/main" id="{84363148-A8C7-4071-B327-91694064FC59}"/>
                </a:ext>
              </a:extLst>
            </p:cNvPr>
            <p:cNvSpPr>
              <a:spLocks noChangeAspect="1" noChangeShapeType="1"/>
            </p:cNvSpPr>
            <p:nvPr/>
          </p:nvSpPr>
          <p:spPr bwMode="auto">
            <a:xfrm>
              <a:off x="7616825" y="2026604"/>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74" name="Line 1522">
              <a:extLst>
                <a:ext uri="{FF2B5EF4-FFF2-40B4-BE49-F238E27FC236}">
                  <a16:creationId xmlns:a16="http://schemas.microsoft.com/office/drawing/2014/main" id="{EE69ED25-61E2-452A-AB14-FD8973496F26}"/>
                </a:ext>
              </a:extLst>
            </p:cNvPr>
            <p:cNvSpPr>
              <a:spLocks noChangeAspect="1" noChangeShapeType="1"/>
            </p:cNvSpPr>
            <p:nvPr/>
          </p:nvSpPr>
          <p:spPr bwMode="auto">
            <a:xfrm>
              <a:off x="7618414" y="2028191"/>
              <a:ext cx="33337" cy="412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75" name="Line 1523">
              <a:extLst>
                <a:ext uri="{FF2B5EF4-FFF2-40B4-BE49-F238E27FC236}">
                  <a16:creationId xmlns:a16="http://schemas.microsoft.com/office/drawing/2014/main" id="{078E2471-35D6-41BF-B266-F4DD3C7E382A}"/>
                </a:ext>
              </a:extLst>
            </p:cNvPr>
            <p:cNvSpPr>
              <a:spLocks noChangeAspect="1" noChangeShapeType="1"/>
            </p:cNvSpPr>
            <p:nvPr/>
          </p:nvSpPr>
          <p:spPr bwMode="auto">
            <a:xfrm>
              <a:off x="7651750" y="2069465"/>
              <a:ext cx="1588"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76" name="Line 1524">
              <a:extLst>
                <a:ext uri="{FF2B5EF4-FFF2-40B4-BE49-F238E27FC236}">
                  <a16:creationId xmlns:a16="http://schemas.microsoft.com/office/drawing/2014/main" id="{95B5D269-52E8-4B3D-94ED-8A74C9C94AC2}"/>
                </a:ext>
              </a:extLst>
            </p:cNvPr>
            <p:cNvSpPr>
              <a:spLocks noChangeAspect="1" noChangeShapeType="1"/>
            </p:cNvSpPr>
            <p:nvPr/>
          </p:nvSpPr>
          <p:spPr bwMode="auto">
            <a:xfrm>
              <a:off x="7662864" y="2080578"/>
              <a:ext cx="1587"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77" name="Line 1525">
              <a:extLst>
                <a:ext uri="{FF2B5EF4-FFF2-40B4-BE49-F238E27FC236}">
                  <a16:creationId xmlns:a16="http://schemas.microsoft.com/office/drawing/2014/main" id="{032505C3-83E5-44E9-92ED-583A9559C2F8}"/>
                </a:ext>
              </a:extLst>
            </p:cNvPr>
            <p:cNvSpPr>
              <a:spLocks noChangeAspect="1" noChangeShapeType="1"/>
            </p:cNvSpPr>
            <p:nvPr/>
          </p:nvSpPr>
          <p:spPr bwMode="auto">
            <a:xfrm>
              <a:off x="7664451" y="2086929"/>
              <a:ext cx="22225"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78" name="Line 1526">
              <a:extLst>
                <a:ext uri="{FF2B5EF4-FFF2-40B4-BE49-F238E27FC236}">
                  <a16:creationId xmlns:a16="http://schemas.microsoft.com/office/drawing/2014/main" id="{54E1F87D-D760-4B81-B1F5-DA8289D4AEE7}"/>
                </a:ext>
              </a:extLst>
            </p:cNvPr>
            <p:cNvSpPr>
              <a:spLocks noChangeAspect="1" noChangeShapeType="1"/>
            </p:cNvSpPr>
            <p:nvPr/>
          </p:nvSpPr>
          <p:spPr bwMode="auto">
            <a:xfrm>
              <a:off x="7686675" y="2115503"/>
              <a:ext cx="7938"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79" name="Line 1527">
              <a:extLst>
                <a:ext uri="{FF2B5EF4-FFF2-40B4-BE49-F238E27FC236}">
                  <a16:creationId xmlns:a16="http://schemas.microsoft.com/office/drawing/2014/main" id="{A3101989-B02D-4010-AE5C-8EA1F7F32D4E}"/>
                </a:ext>
              </a:extLst>
            </p:cNvPr>
            <p:cNvSpPr>
              <a:spLocks noChangeAspect="1" noChangeShapeType="1"/>
            </p:cNvSpPr>
            <p:nvPr/>
          </p:nvSpPr>
          <p:spPr bwMode="auto">
            <a:xfrm>
              <a:off x="7702550" y="2139315"/>
              <a:ext cx="7938"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80" name="Line 1528">
              <a:extLst>
                <a:ext uri="{FF2B5EF4-FFF2-40B4-BE49-F238E27FC236}">
                  <a16:creationId xmlns:a16="http://schemas.microsoft.com/office/drawing/2014/main" id="{F92CB12A-5EC9-439A-BA15-111EC557A48D}"/>
                </a:ext>
              </a:extLst>
            </p:cNvPr>
            <p:cNvSpPr>
              <a:spLocks noChangeAspect="1" noChangeShapeType="1"/>
            </p:cNvSpPr>
            <p:nvPr/>
          </p:nvSpPr>
          <p:spPr bwMode="auto">
            <a:xfrm>
              <a:off x="7710488" y="2152015"/>
              <a:ext cx="6350"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81" name="Line 1529">
              <a:extLst>
                <a:ext uri="{FF2B5EF4-FFF2-40B4-BE49-F238E27FC236}">
                  <a16:creationId xmlns:a16="http://schemas.microsoft.com/office/drawing/2014/main" id="{C3027FFB-4E50-47AD-BA53-71B8E4DA7EE1}"/>
                </a:ext>
              </a:extLst>
            </p:cNvPr>
            <p:cNvSpPr>
              <a:spLocks noChangeAspect="1" noChangeShapeType="1"/>
            </p:cNvSpPr>
            <p:nvPr/>
          </p:nvSpPr>
          <p:spPr bwMode="auto">
            <a:xfrm>
              <a:off x="7716839" y="2159954"/>
              <a:ext cx="14287" cy="269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82" name="Line 1530">
              <a:extLst>
                <a:ext uri="{FF2B5EF4-FFF2-40B4-BE49-F238E27FC236}">
                  <a16:creationId xmlns:a16="http://schemas.microsoft.com/office/drawing/2014/main" id="{F75160E9-CD30-4504-9FA8-36B9C48E62A2}"/>
                </a:ext>
              </a:extLst>
            </p:cNvPr>
            <p:cNvSpPr>
              <a:spLocks noChangeAspect="1" noChangeShapeType="1"/>
            </p:cNvSpPr>
            <p:nvPr/>
          </p:nvSpPr>
          <p:spPr bwMode="auto">
            <a:xfrm>
              <a:off x="7739063" y="2199640"/>
              <a:ext cx="4762"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83" name="Line 1531">
              <a:extLst>
                <a:ext uri="{FF2B5EF4-FFF2-40B4-BE49-F238E27FC236}">
                  <a16:creationId xmlns:a16="http://schemas.microsoft.com/office/drawing/2014/main" id="{885152B1-773F-4F4D-A0E7-8F50B81DACD3}"/>
                </a:ext>
              </a:extLst>
            </p:cNvPr>
            <p:cNvSpPr>
              <a:spLocks noChangeAspect="1" noChangeShapeType="1"/>
            </p:cNvSpPr>
            <p:nvPr/>
          </p:nvSpPr>
          <p:spPr bwMode="auto">
            <a:xfrm>
              <a:off x="7743825" y="2205990"/>
              <a:ext cx="12700" cy="333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84" name="Line 1532">
              <a:extLst>
                <a:ext uri="{FF2B5EF4-FFF2-40B4-BE49-F238E27FC236}">
                  <a16:creationId xmlns:a16="http://schemas.microsoft.com/office/drawing/2014/main" id="{333145ED-C750-4EAA-8E1F-6EEA8F7E5F93}"/>
                </a:ext>
              </a:extLst>
            </p:cNvPr>
            <p:cNvSpPr>
              <a:spLocks noChangeAspect="1" noChangeShapeType="1"/>
            </p:cNvSpPr>
            <p:nvPr/>
          </p:nvSpPr>
          <p:spPr bwMode="auto">
            <a:xfrm>
              <a:off x="7756525" y="2239328"/>
              <a:ext cx="6350"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85" name="Line 1533">
              <a:extLst>
                <a:ext uri="{FF2B5EF4-FFF2-40B4-BE49-F238E27FC236}">
                  <a16:creationId xmlns:a16="http://schemas.microsoft.com/office/drawing/2014/main" id="{9B1F46C6-B337-4A27-8812-2161B6A168B9}"/>
                </a:ext>
              </a:extLst>
            </p:cNvPr>
            <p:cNvSpPr>
              <a:spLocks noChangeAspect="1" noChangeShapeType="1"/>
            </p:cNvSpPr>
            <p:nvPr/>
          </p:nvSpPr>
          <p:spPr bwMode="auto">
            <a:xfrm>
              <a:off x="7767638" y="2264728"/>
              <a:ext cx="12700"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86" name="Line 1534">
              <a:extLst>
                <a:ext uri="{FF2B5EF4-FFF2-40B4-BE49-F238E27FC236}">
                  <a16:creationId xmlns:a16="http://schemas.microsoft.com/office/drawing/2014/main" id="{ABC449F9-BA6F-4352-AD25-D9039453C5B1}"/>
                </a:ext>
              </a:extLst>
            </p:cNvPr>
            <p:cNvSpPr>
              <a:spLocks noChangeAspect="1" noChangeShapeType="1"/>
            </p:cNvSpPr>
            <p:nvPr/>
          </p:nvSpPr>
          <p:spPr bwMode="auto">
            <a:xfrm>
              <a:off x="7780339" y="2296478"/>
              <a:ext cx="7937"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87" name="Line 1535">
              <a:extLst>
                <a:ext uri="{FF2B5EF4-FFF2-40B4-BE49-F238E27FC236}">
                  <a16:creationId xmlns:a16="http://schemas.microsoft.com/office/drawing/2014/main" id="{24D2B54C-11BA-4F5A-9E5B-EF38A2DB46B0}"/>
                </a:ext>
              </a:extLst>
            </p:cNvPr>
            <p:cNvSpPr>
              <a:spLocks noChangeAspect="1" noChangeShapeType="1"/>
            </p:cNvSpPr>
            <p:nvPr/>
          </p:nvSpPr>
          <p:spPr bwMode="auto">
            <a:xfrm>
              <a:off x="7791450" y="2334579"/>
              <a:ext cx="1588"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88" name="Line 1536">
              <a:extLst>
                <a:ext uri="{FF2B5EF4-FFF2-40B4-BE49-F238E27FC236}">
                  <a16:creationId xmlns:a16="http://schemas.microsoft.com/office/drawing/2014/main" id="{6764A60C-C1FF-4DC3-B9F5-E9381A786A2B}"/>
                </a:ext>
              </a:extLst>
            </p:cNvPr>
            <p:cNvSpPr>
              <a:spLocks noChangeAspect="1" noChangeShapeType="1"/>
            </p:cNvSpPr>
            <p:nvPr/>
          </p:nvSpPr>
          <p:spPr bwMode="auto">
            <a:xfrm>
              <a:off x="7793038" y="2342515"/>
              <a:ext cx="11112" cy="460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89" name="Line 1537">
              <a:extLst>
                <a:ext uri="{FF2B5EF4-FFF2-40B4-BE49-F238E27FC236}">
                  <a16:creationId xmlns:a16="http://schemas.microsoft.com/office/drawing/2014/main" id="{4B2F84AF-AB48-4B29-82AD-3544E319ED29}"/>
                </a:ext>
              </a:extLst>
            </p:cNvPr>
            <p:cNvSpPr>
              <a:spLocks noChangeAspect="1" noChangeShapeType="1"/>
            </p:cNvSpPr>
            <p:nvPr/>
          </p:nvSpPr>
          <p:spPr bwMode="auto">
            <a:xfrm>
              <a:off x="7804150" y="2388554"/>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90" name="Line 1538">
              <a:extLst>
                <a:ext uri="{FF2B5EF4-FFF2-40B4-BE49-F238E27FC236}">
                  <a16:creationId xmlns:a16="http://schemas.microsoft.com/office/drawing/2014/main" id="{531C03E6-742D-4742-A2CC-71B7FDF4566E}"/>
                </a:ext>
              </a:extLst>
            </p:cNvPr>
            <p:cNvSpPr>
              <a:spLocks noChangeAspect="1" noChangeShapeType="1"/>
            </p:cNvSpPr>
            <p:nvPr/>
          </p:nvSpPr>
          <p:spPr bwMode="auto">
            <a:xfrm>
              <a:off x="7804150" y="2388553"/>
              <a:ext cx="1588"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91" name="Line 1539">
              <a:extLst>
                <a:ext uri="{FF2B5EF4-FFF2-40B4-BE49-F238E27FC236}">
                  <a16:creationId xmlns:a16="http://schemas.microsoft.com/office/drawing/2014/main" id="{C24CB386-7841-4EC0-B27E-56876B7D832A}"/>
                </a:ext>
              </a:extLst>
            </p:cNvPr>
            <p:cNvSpPr>
              <a:spLocks noChangeAspect="1" noChangeShapeType="1"/>
            </p:cNvSpPr>
            <p:nvPr/>
          </p:nvSpPr>
          <p:spPr bwMode="auto">
            <a:xfrm>
              <a:off x="7807326" y="2407604"/>
              <a:ext cx="3175" cy="269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92" name="Line 1540">
              <a:extLst>
                <a:ext uri="{FF2B5EF4-FFF2-40B4-BE49-F238E27FC236}">
                  <a16:creationId xmlns:a16="http://schemas.microsoft.com/office/drawing/2014/main" id="{60638FCF-EA63-44C5-8E80-219BA4768BAA}"/>
                </a:ext>
              </a:extLst>
            </p:cNvPr>
            <p:cNvSpPr>
              <a:spLocks noChangeAspect="1" noChangeShapeType="1"/>
            </p:cNvSpPr>
            <p:nvPr/>
          </p:nvSpPr>
          <p:spPr bwMode="auto">
            <a:xfrm>
              <a:off x="7810501" y="2434590"/>
              <a:ext cx="4763"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93" name="Line 1541">
              <a:extLst>
                <a:ext uri="{FF2B5EF4-FFF2-40B4-BE49-F238E27FC236}">
                  <a16:creationId xmlns:a16="http://schemas.microsoft.com/office/drawing/2014/main" id="{18B9DDCF-B7C5-4271-A145-171FE0033902}"/>
                </a:ext>
              </a:extLst>
            </p:cNvPr>
            <p:cNvSpPr>
              <a:spLocks noChangeAspect="1" noChangeShapeType="1"/>
            </p:cNvSpPr>
            <p:nvPr/>
          </p:nvSpPr>
          <p:spPr bwMode="auto">
            <a:xfrm>
              <a:off x="7815264" y="2482215"/>
              <a:ext cx="3175"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94" name="Line 1542">
              <a:extLst>
                <a:ext uri="{FF2B5EF4-FFF2-40B4-BE49-F238E27FC236}">
                  <a16:creationId xmlns:a16="http://schemas.microsoft.com/office/drawing/2014/main" id="{0DA9687D-54C7-42D8-B717-010AE3DBFAA1}"/>
                </a:ext>
              </a:extLst>
            </p:cNvPr>
            <p:cNvSpPr>
              <a:spLocks noChangeAspect="1" noChangeShapeType="1"/>
            </p:cNvSpPr>
            <p:nvPr/>
          </p:nvSpPr>
          <p:spPr bwMode="auto">
            <a:xfrm>
              <a:off x="7818439" y="2526666"/>
              <a:ext cx="1587"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95" name="Line 1543">
              <a:extLst>
                <a:ext uri="{FF2B5EF4-FFF2-40B4-BE49-F238E27FC236}">
                  <a16:creationId xmlns:a16="http://schemas.microsoft.com/office/drawing/2014/main" id="{A3373527-9565-4BF5-A650-4935BA161833}"/>
                </a:ext>
              </a:extLst>
            </p:cNvPr>
            <p:cNvSpPr>
              <a:spLocks noChangeAspect="1" noChangeShapeType="1"/>
            </p:cNvSpPr>
            <p:nvPr/>
          </p:nvSpPr>
          <p:spPr bwMode="auto">
            <a:xfrm>
              <a:off x="7818439" y="2556829"/>
              <a:ext cx="1587"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96" name="Line 1544">
              <a:extLst>
                <a:ext uri="{FF2B5EF4-FFF2-40B4-BE49-F238E27FC236}">
                  <a16:creationId xmlns:a16="http://schemas.microsoft.com/office/drawing/2014/main" id="{8EAF3E1F-382C-46D2-84F6-BBAB0DE3FE34}"/>
                </a:ext>
              </a:extLst>
            </p:cNvPr>
            <p:cNvSpPr>
              <a:spLocks noChangeAspect="1" noChangeShapeType="1"/>
            </p:cNvSpPr>
            <p:nvPr/>
          </p:nvSpPr>
          <p:spPr bwMode="auto">
            <a:xfrm flipH="1">
              <a:off x="7816850" y="2572703"/>
              <a:ext cx="1588"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97" name="Line 1545">
              <a:extLst>
                <a:ext uri="{FF2B5EF4-FFF2-40B4-BE49-F238E27FC236}">
                  <a16:creationId xmlns:a16="http://schemas.microsoft.com/office/drawing/2014/main" id="{68C79D6D-3B8E-4852-B1EA-EE10B41D7D19}"/>
                </a:ext>
              </a:extLst>
            </p:cNvPr>
            <p:cNvSpPr>
              <a:spLocks noChangeAspect="1" noChangeShapeType="1"/>
            </p:cNvSpPr>
            <p:nvPr/>
          </p:nvSpPr>
          <p:spPr bwMode="auto">
            <a:xfrm flipH="1">
              <a:off x="7813675" y="2631440"/>
              <a:ext cx="1588" cy="333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98" name="Line 1546">
              <a:extLst>
                <a:ext uri="{FF2B5EF4-FFF2-40B4-BE49-F238E27FC236}">
                  <a16:creationId xmlns:a16="http://schemas.microsoft.com/office/drawing/2014/main" id="{17549ADD-43BB-484D-8EAA-EEE1FD7D61F3}"/>
                </a:ext>
              </a:extLst>
            </p:cNvPr>
            <p:cNvSpPr>
              <a:spLocks noChangeAspect="1" noChangeShapeType="1"/>
            </p:cNvSpPr>
            <p:nvPr/>
          </p:nvSpPr>
          <p:spPr bwMode="auto">
            <a:xfrm flipH="1">
              <a:off x="7808913" y="2664779"/>
              <a:ext cx="4762"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099" name="Line 1547">
              <a:extLst>
                <a:ext uri="{FF2B5EF4-FFF2-40B4-BE49-F238E27FC236}">
                  <a16:creationId xmlns:a16="http://schemas.microsoft.com/office/drawing/2014/main" id="{6CA7E1A5-D63A-4F6D-86F6-9ACD24C666E6}"/>
                </a:ext>
              </a:extLst>
            </p:cNvPr>
            <p:cNvSpPr>
              <a:spLocks noChangeAspect="1" noChangeShapeType="1"/>
            </p:cNvSpPr>
            <p:nvPr/>
          </p:nvSpPr>
          <p:spPr bwMode="auto">
            <a:xfrm flipH="1">
              <a:off x="7807325" y="2707641"/>
              <a:ext cx="0"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00" name="Line 1548">
              <a:extLst>
                <a:ext uri="{FF2B5EF4-FFF2-40B4-BE49-F238E27FC236}">
                  <a16:creationId xmlns:a16="http://schemas.microsoft.com/office/drawing/2014/main" id="{A16908BD-B57C-4A9C-B504-BF0CCD820425}"/>
                </a:ext>
              </a:extLst>
            </p:cNvPr>
            <p:cNvSpPr>
              <a:spLocks noChangeAspect="1" noChangeShapeType="1"/>
            </p:cNvSpPr>
            <p:nvPr/>
          </p:nvSpPr>
          <p:spPr bwMode="auto">
            <a:xfrm flipH="1">
              <a:off x="7804151" y="2710816"/>
              <a:ext cx="3175"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01" name="Line 1549">
              <a:extLst>
                <a:ext uri="{FF2B5EF4-FFF2-40B4-BE49-F238E27FC236}">
                  <a16:creationId xmlns:a16="http://schemas.microsoft.com/office/drawing/2014/main" id="{30099409-1452-49CC-BED1-002C45218938}"/>
                </a:ext>
              </a:extLst>
            </p:cNvPr>
            <p:cNvSpPr>
              <a:spLocks noChangeAspect="1" noChangeShapeType="1"/>
            </p:cNvSpPr>
            <p:nvPr/>
          </p:nvSpPr>
          <p:spPr bwMode="auto">
            <a:xfrm flipH="1">
              <a:off x="7797800" y="2726691"/>
              <a:ext cx="6350"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02" name="Line 1550">
              <a:extLst>
                <a:ext uri="{FF2B5EF4-FFF2-40B4-BE49-F238E27FC236}">
                  <a16:creationId xmlns:a16="http://schemas.microsoft.com/office/drawing/2014/main" id="{EB5139D2-FF49-45AE-9453-7B0558CC3269}"/>
                </a:ext>
              </a:extLst>
            </p:cNvPr>
            <p:cNvSpPr>
              <a:spLocks noChangeAspect="1" noChangeShapeType="1"/>
            </p:cNvSpPr>
            <p:nvPr/>
          </p:nvSpPr>
          <p:spPr bwMode="auto">
            <a:xfrm flipH="1">
              <a:off x="7796214" y="2755266"/>
              <a:ext cx="1587"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03" name="Line 1551">
              <a:extLst>
                <a:ext uri="{FF2B5EF4-FFF2-40B4-BE49-F238E27FC236}">
                  <a16:creationId xmlns:a16="http://schemas.microsoft.com/office/drawing/2014/main" id="{14BA009A-6A4F-4FD4-98BE-5EE05CBC9C2B}"/>
                </a:ext>
              </a:extLst>
            </p:cNvPr>
            <p:cNvSpPr>
              <a:spLocks noChangeAspect="1" noChangeShapeType="1"/>
            </p:cNvSpPr>
            <p:nvPr/>
          </p:nvSpPr>
          <p:spPr bwMode="auto">
            <a:xfrm flipH="1">
              <a:off x="7788276" y="2780665"/>
              <a:ext cx="3175"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04" name="Line 1552">
              <a:extLst>
                <a:ext uri="{FF2B5EF4-FFF2-40B4-BE49-F238E27FC236}">
                  <a16:creationId xmlns:a16="http://schemas.microsoft.com/office/drawing/2014/main" id="{FA7BF9B5-35E9-446F-83D0-C123550070D6}"/>
                </a:ext>
              </a:extLst>
            </p:cNvPr>
            <p:cNvSpPr>
              <a:spLocks noChangeAspect="1" noChangeShapeType="1"/>
            </p:cNvSpPr>
            <p:nvPr/>
          </p:nvSpPr>
          <p:spPr bwMode="auto">
            <a:xfrm flipH="1">
              <a:off x="7777163" y="2801303"/>
              <a:ext cx="11112" cy="365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05" name="Line 1553">
              <a:extLst>
                <a:ext uri="{FF2B5EF4-FFF2-40B4-BE49-F238E27FC236}">
                  <a16:creationId xmlns:a16="http://schemas.microsoft.com/office/drawing/2014/main" id="{FE9CB8D8-3CD3-4BB1-A272-4976DF4BDD75}"/>
                </a:ext>
              </a:extLst>
            </p:cNvPr>
            <p:cNvSpPr>
              <a:spLocks noChangeAspect="1" noChangeShapeType="1"/>
            </p:cNvSpPr>
            <p:nvPr/>
          </p:nvSpPr>
          <p:spPr bwMode="auto">
            <a:xfrm flipH="1">
              <a:off x="7759700" y="2852104"/>
              <a:ext cx="12700" cy="396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06" name="Line 1554">
              <a:extLst>
                <a:ext uri="{FF2B5EF4-FFF2-40B4-BE49-F238E27FC236}">
                  <a16:creationId xmlns:a16="http://schemas.microsoft.com/office/drawing/2014/main" id="{E327AB62-549C-42B9-B7B1-FB1858FD326F}"/>
                </a:ext>
              </a:extLst>
            </p:cNvPr>
            <p:cNvSpPr>
              <a:spLocks noChangeAspect="1" noChangeShapeType="1"/>
            </p:cNvSpPr>
            <p:nvPr/>
          </p:nvSpPr>
          <p:spPr bwMode="auto">
            <a:xfrm flipH="1">
              <a:off x="7756526" y="2891791"/>
              <a:ext cx="3175"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07" name="Line 1555">
              <a:extLst>
                <a:ext uri="{FF2B5EF4-FFF2-40B4-BE49-F238E27FC236}">
                  <a16:creationId xmlns:a16="http://schemas.microsoft.com/office/drawing/2014/main" id="{B4689A76-C9DD-4AFF-9F43-A0C68942114D}"/>
                </a:ext>
              </a:extLst>
            </p:cNvPr>
            <p:cNvSpPr>
              <a:spLocks noChangeAspect="1" noChangeShapeType="1"/>
            </p:cNvSpPr>
            <p:nvPr/>
          </p:nvSpPr>
          <p:spPr bwMode="auto">
            <a:xfrm flipH="1">
              <a:off x="7753351" y="2896553"/>
              <a:ext cx="3175"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08" name="Line 1556">
              <a:extLst>
                <a:ext uri="{FF2B5EF4-FFF2-40B4-BE49-F238E27FC236}">
                  <a16:creationId xmlns:a16="http://schemas.microsoft.com/office/drawing/2014/main" id="{F73F2FBB-040D-4151-BCAD-95A5250D8288}"/>
                </a:ext>
              </a:extLst>
            </p:cNvPr>
            <p:cNvSpPr>
              <a:spLocks noChangeAspect="1" noChangeShapeType="1"/>
            </p:cNvSpPr>
            <p:nvPr/>
          </p:nvSpPr>
          <p:spPr bwMode="auto">
            <a:xfrm flipH="1">
              <a:off x="7742238" y="2920366"/>
              <a:ext cx="6350"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09" name="Line 1557">
              <a:extLst>
                <a:ext uri="{FF2B5EF4-FFF2-40B4-BE49-F238E27FC236}">
                  <a16:creationId xmlns:a16="http://schemas.microsoft.com/office/drawing/2014/main" id="{14276EBF-C414-448F-9CCA-869B17AB498F}"/>
                </a:ext>
              </a:extLst>
            </p:cNvPr>
            <p:cNvSpPr>
              <a:spLocks noChangeAspect="1" noChangeShapeType="1"/>
            </p:cNvSpPr>
            <p:nvPr/>
          </p:nvSpPr>
          <p:spPr bwMode="auto">
            <a:xfrm flipH="1">
              <a:off x="7726364" y="2937828"/>
              <a:ext cx="15875" cy="365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10" name="Line 1558">
              <a:extLst>
                <a:ext uri="{FF2B5EF4-FFF2-40B4-BE49-F238E27FC236}">
                  <a16:creationId xmlns:a16="http://schemas.microsoft.com/office/drawing/2014/main" id="{849F33D8-1083-4F05-85F5-893410E2EFA2}"/>
                </a:ext>
              </a:extLst>
            </p:cNvPr>
            <p:cNvSpPr>
              <a:spLocks noChangeAspect="1" noChangeShapeType="1"/>
            </p:cNvSpPr>
            <p:nvPr/>
          </p:nvSpPr>
          <p:spPr bwMode="auto">
            <a:xfrm flipH="1">
              <a:off x="7710489" y="2988628"/>
              <a:ext cx="9525"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11" name="Line 1559">
              <a:extLst>
                <a:ext uri="{FF2B5EF4-FFF2-40B4-BE49-F238E27FC236}">
                  <a16:creationId xmlns:a16="http://schemas.microsoft.com/office/drawing/2014/main" id="{92BF9B32-F7E0-4B8E-97D6-2A844A008C35}"/>
                </a:ext>
              </a:extLst>
            </p:cNvPr>
            <p:cNvSpPr>
              <a:spLocks noChangeAspect="1" noChangeShapeType="1"/>
            </p:cNvSpPr>
            <p:nvPr/>
          </p:nvSpPr>
          <p:spPr bwMode="auto">
            <a:xfrm flipH="1">
              <a:off x="7700964" y="3007679"/>
              <a:ext cx="9525"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12" name="Line 1560">
              <a:extLst>
                <a:ext uri="{FF2B5EF4-FFF2-40B4-BE49-F238E27FC236}">
                  <a16:creationId xmlns:a16="http://schemas.microsoft.com/office/drawing/2014/main" id="{1B6D1938-2412-40AD-9B27-90B9268AB906}"/>
                </a:ext>
              </a:extLst>
            </p:cNvPr>
            <p:cNvSpPr>
              <a:spLocks noChangeAspect="1" noChangeShapeType="1"/>
            </p:cNvSpPr>
            <p:nvPr/>
          </p:nvSpPr>
          <p:spPr bwMode="auto">
            <a:xfrm flipH="1">
              <a:off x="7696201" y="3029904"/>
              <a:ext cx="4763"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13" name="Line 1561">
              <a:extLst>
                <a:ext uri="{FF2B5EF4-FFF2-40B4-BE49-F238E27FC236}">
                  <a16:creationId xmlns:a16="http://schemas.microsoft.com/office/drawing/2014/main" id="{15F8C2D1-43E0-49AA-8A78-C0E1565208ED}"/>
                </a:ext>
              </a:extLst>
            </p:cNvPr>
            <p:cNvSpPr>
              <a:spLocks noChangeAspect="1" noChangeShapeType="1"/>
            </p:cNvSpPr>
            <p:nvPr/>
          </p:nvSpPr>
          <p:spPr bwMode="auto">
            <a:xfrm flipH="1">
              <a:off x="7677150" y="3053716"/>
              <a:ext cx="12700"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14" name="Line 1562">
              <a:extLst>
                <a:ext uri="{FF2B5EF4-FFF2-40B4-BE49-F238E27FC236}">
                  <a16:creationId xmlns:a16="http://schemas.microsoft.com/office/drawing/2014/main" id="{F9280672-3FD4-42AB-9BCB-EF3733D24A12}"/>
                </a:ext>
              </a:extLst>
            </p:cNvPr>
            <p:cNvSpPr>
              <a:spLocks noChangeAspect="1" noChangeShapeType="1"/>
            </p:cNvSpPr>
            <p:nvPr/>
          </p:nvSpPr>
          <p:spPr bwMode="auto">
            <a:xfrm flipH="1">
              <a:off x="7664450" y="3075941"/>
              <a:ext cx="12700" cy="238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15" name="Line 1563">
              <a:extLst>
                <a:ext uri="{FF2B5EF4-FFF2-40B4-BE49-F238E27FC236}">
                  <a16:creationId xmlns:a16="http://schemas.microsoft.com/office/drawing/2014/main" id="{EE76B10A-133D-427C-86BC-55F029AD39F1}"/>
                </a:ext>
              </a:extLst>
            </p:cNvPr>
            <p:cNvSpPr>
              <a:spLocks noChangeAspect="1" noChangeShapeType="1"/>
            </p:cNvSpPr>
            <p:nvPr/>
          </p:nvSpPr>
          <p:spPr bwMode="auto">
            <a:xfrm flipH="1">
              <a:off x="7662864" y="3099754"/>
              <a:ext cx="1587"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16" name="Line 1564">
              <a:extLst>
                <a:ext uri="{FF2B5EF4-FFF2-40B4-BE49-F238E27FC236}">
                  <a16:creationId xmlns:a16="http://schemas.microsoft.com/office/drawing/2014/main" id="{A4B0AAEC-CAD4-4868-BC66-A04CE124B763}"/>
                </a:ext>
              </a:extLst>
            </p:cNvPr>
            <p:cNvSpPr>
              <a:spLocks noChangeAspect="1" noChangeShapeType="1"/>
            </p:cNvSpPr>
            <p:nvPr/>
          </p:nvSpPr>
          <p:spPr bwMode="auto">
            <a:xfrm flipH="1">
              <a:off x="7653339" y="3117216"/>
              <a:ext cx="1587"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17" name="Line 1565">
              <a:extLst>
                <a:ext uri="{FF2B5EF4-FFF2-40B4-BE49-F238E27FC236}">
                  <a16:creationId xmlns:a16="http://schemas.microsoft.com/office/drawing/2014/main" id="{CE2856FF-ADE5-4E53-A775-34860DCD87C0}"/>
                </a:ext>
              </a:extLst>
            </p:cNvPr>
            <p:cNvSpPr>
              <a:spLocks noChangeAspect="1" noChangeShapeType="1"/>
            </p:cNvSpPr>
            <p:nvPr/>
          </p:nvSpPr>
          <p:spPr bwMode="auto">
            <a:xfrm flipH="1">
              <a:off x="7626350" y="3121978"/>
              <a:ext cx="26988" cy="428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18" name="Line 1566">
              <a:extLst>
                <a:ext uri="{FF2B5EF4-FFF2-40B4-BE49-F238E27FC236}">
                  <a16:creationId xmlns:a16="http://schemas.microsoft.com/office/drawing/2014/main" id="{A32F41E5-5A6F-49E0-A89A-B330B13031D8}"/>
                </a:ext>
              </a:extLst>
            </p:cNvPr>
            <p:cNvSpPr>
              <a:spLocks noChangeAspect="1" noChangeShapeType="1"/>
            </p:cNvSpPr>
            <p:nvPr/>
          </p:nvSpPr>
          <p:spPr bwMode="auto">
            <a:xfrm flipH="1">
              <a:off x="7618414" y="3179129"/>
              <a:ext cx="1587"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19" name="Line 1567">
              <a:extLst>
                <a:ext uri="{FF2B5EF4-FFF2-40B4-BE49-F238E27FC236}">
                  <a16:creationId xmlns:a16="http://schemas.microsoft.com/office/drawing/2014/main" id="{909473C4-FE9E-4668-A00A-53E4A6357AD2}"/>
                </a:ext>
              </a:extLst>
            </p:cNvPr>
            <p:cNvSpPr>
              <a:spLocks noChangeAspect="1" noChangeShapeType="1"/>
            </p:cNvSpPr>
            <p:nvPr/>
          </p:nvSpPr>
          <p:spPr bwMode="auto">
            <a:xfrm flipH="1">
              <a:off x="7599363" y="3180715"/>
              <a:ext cx="19050" cy="333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20" name="Line 1568">
              <a:extLst>
                <a:ext uri="{FF2B5EF4-FFF2-40B4-BE49-F238E27FC236}">
                  <a16:creationId xmlns:a16="http://schemas.microsoft.com/office/drawing/2014/main" id="{66091EAB-6318-4990-A6B1-2E44A6B54403}"/>
                </a:ext>
              </a:extLst>
            </p:cNvPr>
            <p:cNvSpPr>
              <a:spLocks noChangeAspect="1" noChangeShapeType="1"/>
            </p:cNvSpPr>
            <p:nvPr/>
          </p:nvSpPr>
          <p:spPr bwMode="auto">
            <a:xfrm flipH="1">
              <a:off x="7589839" y="3214053"/>
              <a:ext cx="9525"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21" name="Line 1569">
              <a:extLst>
                <a:ext uri="{FF2B5EF4-FFF2-40B4-BE49-F238E27FC236}">
                  <a16:creationId xmlns:a16="http://schemas.microsoft.com/office/drawing/2014/main" id="{4BC9966A-FA39-432A-B702-02AFB04F8DDE}"/>
                </a:ext>
              </a:extLst>
            </p:cNvPr>
            <p:cNvSpPr>
              <a:spLocks noChangeAspect="1" noChangeShapeType="1"/>
            </p:cNvSpPr>
            <p:nvPr/>
          </p:nvSpPr>
          <p:spPr bwMode="auto">
            <a:xfrm flipH="1">
              <a:off x="7572376" y="3239453"/>
              <a:ext cx="11113"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22" name="Line 1570">
              <a:extLst>
                <a:ext uri="{FF2B5EF4-FFF2-40B4-BE49-F238E27FC236}">
                  <a16:creationId xmlns:a16="http://schemas.microsoft.com/office/drawing/2014/main" id="{8BF0EFB7-B06C-49F1-AB38-08BC661B1D90}"/>
                </a:ext>
              </a:extLst>
            </p:cNvPr>
            <p:cNvSpPr>
              <a:spLocks noChangeAspect="1" noChangeShapeType="1"/>
            </p:cNvSpPr>
            <p:nvPr/>
          </p:nvSpPr>
          <p:spPr bwMode="auto">
            <a:xfrm flipH="1">
              <a:off x="7572375" y="3256916"/>
              <a:ext cx="0"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23" name="Line 1571">
              <a:extLst>
                <a:ext uri="{FF2B5EF4-FFF2-40B4-BE49-F238E27FC236}">
                  <a16:creationId xmlns:a16="http://schemas.microsoft.com/office/drawing/2014/main" id="{6B2A04D6-2229-4BE2-9898-A29391552472}"/>
                </a:ext>
              </a:extLst>
            </p:cNvPr>
            <p:cNvSpPr>
              <a:spLocks noChangeAspect="1" noChangeShapeType="1"/>
            </p:cNvSpPr>
            <p:nvPr/>
          </p:nvSpPr>
          <p:spPr bwMode="auto">
            <a:xfrm flipH="1">
              <a:off x="7553325" y="3260090"/>
              <a:ext cx="19050"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24" name="Line 1572">
              <a:extLst>
                <a:ext uri="{FF2B5EF4-FFF2-40B4-BE49-F238E27FC236}">
                  <a16:creationId xmlns:a16="http://schemas.microsoft.com/office/drawing/2014/main" id="{D5A12E5E-C388-4C07-B40F-BC2958503ABF}"/>
                </a:ext>
              </a:extLst>
            </p:cNvPr>
            <p:cNvSpPr>
              <a:spLocks noChangeAspect="1" noChangeShapeType="1"/>
            </p:cNvSpPr>
            <p:nvPr/>
          </p:nvSpPr>
          <p:spPr bwMode="auto">
            <a:xfrm flipH="1">
              <a:off x="7540626" y="3298190"/>
              <a:ext cx="4763"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25" name="Line 1573">
              <a:extLst>
                <a:ext uri="{FF2B5EF4-FFF2-40B4-BE49-F238E27FC236}">
                  <a16:creationId xmlns:a16="http://schemas.microsoft.com/office/drawing/2014/main" id="{E1A84BBB-11A9-4251-A708-6824FD1E7D2A}"/>
                </a:ext>
              </a:extLst>
            </p:cNvPr>
            <p:cNvSpPr>
              <a:spLocks noChangeAspect="1" noChangeShapeType="1"/>
            </p:cNvSpPr>
            <p:nvPr/>
          </p:nvSpPr>
          <p:spPr bwMode="auto">
            <a:xfrm flipH="1">
              <a:off x="7527925" y="3306128"/>
              <a:ext cx="12700"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26" name="Line 1574">
              <a:extLst>
                <a:ext uri="{FF2B5EF4-FFF2-40B4-BE49-F238E27FC236}">
                  <a16:creationId xmlns:a16="http://schemas.microsoft.com/office/drawing/2014/main" id="{1BE77923-1159-4F64-B84F-CF95464FE7BD}"/>
                </a:ext>
              </a:extLst>
            </p:cNvPr>
            <p:cNvSpPr>
              <a:spLocks noChangeAspect="1" noChangeShapeType="1"/>
            </p:cNvSpPr>
            <p:nvPr/>
          </p:nvSpPr>
          <p:spPr bwMode="auto">
            <a:xfrm flipH="1">
              <a:off x="7512051" y="3325178"/>
              <a:ext cx="15875"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27" name="Line 1575">
              <a:extLst>
                <a:ext uri="{FF2B5EF4-FFF2-40B4-BE49-F238E27FC236}">
                  <a16:creationId xmlns:a16="http://schemas.microsoft.com/office/drawing/2014/main" id="{ECE4DF6D-4A10-4DD3-BCA9-59C5271B5A5D}"/>
                </a:ext>
              </a:extLst>
            </p:cNvPr>
            <p:cNvSpPr>
              <a:spLocks noChangeAspect="1" noChangeShapeType="1"/>
            </p:cNvSpPr>
            <p:nvPr/>
          </p:nvSpPr>
          <p:spPr bwMode="auto">
            <a:xfrm flipH="1">
              <a:off x="7480301" y="3353754"/>
              <a:ext cx="23813" cy="333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28" name="Line 1576">
              <a:extLst>
                <a:ext uri="{FF2B5EF4-FFF2-40B4-BE49-F238E27FC236}">
                  <a16:creationId xmlns:a16="http://schemas.microsoft.com/office/drawing/2014/main" id="{D7E70044-94DE-4130-9967-5E6C8A951881}"/>
                </a:ext>
              </a:extLst>
            </p:cNvPr>
            <p:cNvSpPr>
              <a:spLocks noChangeAspect="1" noChangeShapeType="1"/>
            </p:cNvSpPr>
            <p:nvPr/>
          </p:nvSpPr>
          <p:spPr bwMode="auto">
            <a:xfrm flipH="1">
              <a:off x="7472364" y="3387091"/>
              <a:ext cx="7937"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29" name="Line 1577">
              <a:extLst>
                <a:ext uri="{FF2B5EF4-FFF2-40B4-BE49-F238E27FC236}">
                  <a16:creationId xmlns:a16="http://schemas.microsoft.com/office/drawing/2014/main" id="{669D003F-0A7C-4431-BA5C-2179E6148C29}"/>
                </a:ext>
              </a:extLst>
            </p:cNvPr>
            <p:cNvSpPr>
              <a:spLocks noChangeAspect="1" noChangeShapeType="1"/>
            </p:cNvSpPr>
            <p:nvPr/>
          </p:nvSpPr>
          <p:spPr bwMode="auto">
            <a:xfrm flipH="1">
              <a:off x="7470775" y="3396615"/>
              <a:ext cx="1588"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30" name="Line 1578">
              <a:extLst>
                <a:ext uri="{FF2B5EF4-FFF2-40B4-BE49-F238E27FC236}">
                  <a16:creationId xmlns:a16="http://schemas.microsoft.com/office/drawing/2014/main" id="{56822E8B-274D-48CF-B84B-7B716B6E429D}"/>
                </a:ext>
              </a:extLst>
            </p:cNvPr>
            <p:cNvSpPr>
              <a:spLocks noChangeAspect="1" noChangeShapeType="1"/>
            </p:cNvSpPr>
            <p:nvPr/>
          </p:nvSpPr>
          <p:spPr bwMode="auto">
            <a:xfrm flipH="1">
              <a:off x="7434264" y="3407728"/>
              <a:ext cx="26987"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31" name="Line 1579">
              <a:extLst>
                <a:ext uri="{FF2B5EF4-FFF2-40B4-BE49-F238E27FC236}">
                  <a16:creationId xmlns:a16="http://schemas.microsoft.com/office/drawing/2014/main" id="{1C5F0CE6-CD01-4509-B25F-592B11DEC274}"/>
                </a:ext>
              </a:extLst>
            </p:cNvPr>
            <p:cNvSpPr>
              <a:spLocks noChangeAspect="1" noChangeShapeType="1"/>
            </p:cNvSpPr>
            <p:nvPr/>
          </p:nvSpPr>
          <p:spPr bwMode="auto">
            <a:xfrm flipH="1">
              <a:off x="7431089" y="3439479"/>
              <a:ext cx="31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32" name="Line 1580">
              <a:extLst>
                <a:ext uri="{FF2B5EF4-FFF2-40B4-BE49-F238E27FC236}">
                  <a16:creationId xmlns:a16="http://schemas.microsoft.com/office/drawing/2014/main" id="{6FE90514-14F1-40B5-B089-4A942085034C}"/>
                </a:ext>
              </a:extLst>
            </p:cNvPr>
            <p:cNvSpPr>
              <a:spLocks noChangeAspect="1" noChangeShapeType="1"/>
            </p:cNvSpPr>
            <p:nvPr/>
          </p:nvSpPr>
          <p:spPr bwMode="auto">
            <a:xfrm flipH="1">
              <a:off x="7424738" y="3442653"/>
              <a:ext cx="6350"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33" name="Line 1581">
              <a:extLst>
                <a:ext uri="{FF2B5EF4-FFF2-40B4-BE49-F238E27FC236}">
                  <a16:creationId xmlns:a16="http://schemas.microsoft.com/office/drawing/2014/main" id="{DB109BA2-F71C-4CE2-BA5F-86FD4B852E4D}"/>
                </a:ext>
              </a:extLst>
            </p:cNvPr>
            <p:cNvSpPr>
              <a:spLocks noChangeAspect="1" noChangeShapeType="1"/>
            </p:cNvSpPr>
            <p:nvPr/>
          </p:nvSpPr>
          <p:spPr bwMode="auto">
            <a:xfrm flipH="1">
              <a:off x="7388225" y="3460115"/>
              <a:ext cx="26988"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34" name="Line 1582">
              <a:extLst>
                <a:ext uri="{FF2B5EF4-FFF2-40B4-BE49-F238E27FC236}">
                  <a16:creationId xmlns:a16="http://schemas.microsoft.com/office/drawing/2014/main" id="{2F19D3F8-639E-4263-B680-2CFA08FCF704}"/>
                </a:ext>
              </a:extLst>
            </p:cNvPr>
            <p:cNvSpPr>
              <a:spLocks noChangeAspect="1" noChangeShapeType="1"/>
            </p:cNvSpPr>
            <p:nvPr/>
          </p:nvSpPr>
          <p:spPr bwMode="auto">
            <a:xfrm flipH="1">
              <a:off x="7388225" y="3487104"/>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35" name="Line 1583">
              <a:extLst>
                <a:ext uri="{FF2B5EF4-FFF2-40B4-BE49-F238E27FC236}">
                  <a16:creationId xmlns:a16="http://schemas.microsoft.com/office/drawing/2014/main" id="{AB04CFD7-A531-4A05-B579-915E8CEEA3AB}"/>
                </a:ext>
              </a:extLst>
            </p:cNvPr>
            <p:cNvSpPr>
              <a:spLocks noChangeAspect="1" noChangeShapeType="1"/>
            </p:cNvSpPr>
            <p:nvPr/>
          </p:nvSpPr>
          <p:spPr bwMode="auto">
            <a:xfrm flipH="1">
              <a:off x="7377113" y="3487103"/>
              <a:ext cx="11112"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36" name="Line 1584">
              <a:extLst>
                <a:ext uri="{FF2B5EF4-FFF2-40B4-BE49-F238E27FC236}">
                  <a16:creationId xmlns:a16="http://schemas.microsoft.com/office/drawing/2014/main" id="{BD75B0B2-5224-4928-B94A-FCA028F5C649}"/>
                </a:ext>
              </a:extLst>
            </p:cNvPr>
            <p:cNvSpPr>
              <a:spLocks noChangeAspect="1" noChangeShapeType="1"/>
            </p:cNvSpPr>
            <p:nvPr/>
          </p:nvSpPr>
          <p:spPr bwMode="auto">
            <a:xfrm flipH="1">
              <a:off x="7342188" y="3507740"/>
              <a:ext cx="25400"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37" name="Line 1585">
              <a:extLst>
                <a:ext uri="{FF2B5EF4-FFF2-40B4-BE49-F238E27FC236}">
                  <a16:creationId xmlns:a16="http://schemas.microsoft.com/office/drawing/2014/main" id="{4453D1B8-0360-4CEE-BB54-B9E2219C9DC5}"/>
                </a:ext>
              </a:extLst>
            </p:cNvPr>
            <p:cNvSpPr>
              <a:spLocks noChangeAspect="1" noChangeShapeType="1"/>
            </p:cNvSpPr>
            <p:nvPr/>
          </p:nvSpPr>
          <p:spPr bwMode="auto">
            <a:xfrm flipH="1">
              <a:off x="7342189" y="3533140"/>
              <a:ext cx="1587"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38" name="Line 1586">
              <a:extLst>
                <a:ext uri="{FF2B5EF4-FFF2-40B4-BE49-F238E27FC236}">
                  <a16:creationId xmlns:a16="http://schemas.microsoft.com/office/drawing/2014/main" id="{B280A814-FA6B-4700-9792-C35627A21CB6}"/>
                </a:ext>
              </a:extLst>
            </p:cNvPr>
            <p:cNvSpPr>
              <a:spLocks noChangeAspect="1" noChangeShapeType="1"/>
            </p:cNvSpPr>
            <p:nvPr/>
          </p:nvSpPr>
          <p:spPr bwMode="auto">
            <a:xfrm flipH="1">
              <a:off x="7329488" y="3534728"/>
              <a:ext cx="12700"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39" name="Line 1587">
              <a:extLst>
                <a:ext uri="{FF2B5EF4-FFF2-40B4-BE49-F238E27FC236}">
                  <a16:creationId xmlns:a16="http://schemas.microsoft.com/office/drawing/2014/main" id="{9D1C753E-10AD-442D-AA21-EBC796022A19}"/>
                </a:ext>
              </a:extLst>
            </p:cNvPr>
            <p:cNvSpPr>
              <a:spLocks noChangeAspect="1" noChangeShapeType="1"/>
            </p:cNvSpPr>
            <p:nvPr/>
          </p:nvSpPr>
          <p:spPr bwMode="auto">
            <a:xfrm flipH="1">
              <a:off x="7296151" y="3555366"/>
              <a:ext cx="23813" cy="238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40" name="Line 1588">
              <a:extLst>
                <a:ext uri="{FF2B5EF4-FFF2-40B4-BE49-F238E27FC236}">
                  <a16:creationId xmlns:a16="http://schemas.microsoft.com/office/drawing/2014/main" id="{12DAA0D7-E24E-456D-A91C-38F3633CE9B4}"/>
                </a:ext>
              </a:extLst>
            </p:cNvPr>
            <p:cNvSpPr>
              <a:spLocks noChangeAspect="1" noChangeShapeType="1"/>
            </p:cNvSpPr>
            <p:nvPr/>
          </p:nvSpPr>
          <p:spPr bwMode="auto">
            <a:xfrm flipH="1">
              <a:off x="7296150" y="3579179"/>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41" name="Line 1589">
              <a:extLst>
                <a:ext uri="{FF2B5EF4-FFF2-40B4-BE49-F238E27FC236}">
                  <a16:creationId xmlns:a16="http://schemas.microsoft.com/office/drawing/2014/main" id="{DCE48A38-55B0-4773-81DC-BBDF2009E782}"/>
                </a:ext>
              </a:extLst>
            </p:cNvPr>
            <p:cNvSpPr>
              <a:spLocks noChangeAspect="1" noChangeShapeType="1"/>
            </p:cNvSpPr>
            <p:nvPr/>
          </p:nvSpPr>
          <p:spPr bwMode="auto">
            <a:xfrm flipH="1">
              <a:off x="7281864" y="3579179"/>
              <a:ext cx="14287"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42" name="Line 1590">
              <a:extLst>
                <a:ext uri="{FF2B5EF4-FFF2-40B4-BE49-F238E27FC236}">
                  <a16:creationId xmlns:a16="http://schemas.microsoft.com/office/drawing/2014/main" id="{23159C48-12FB-4ECE-A5CD-90B778B7FE66}"/>
                </a:ext>
              </a:extLst>
            </p:cNvPr>
            <p:cNvSpPr>
              <a:spLocks noChangeAspect="1" noChangeShapeType="1"/>
            </p:cNvSpPr>
            <p:nvPr/>
          </p:nvSpPr>
          <p:spPr bwMode="auto">
            <a:xfrm flipH="1">
              <a:off x="7250114" y="3602990"/>
              <a:ext cx="22225"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43" name="Line 1591">
              <a:extLst>
                <a:ext uri="{FF2B5EF4-FFF2-40B4-BE49-F238E27FC236}">
                  <a16:creationId xmlns:a16="http://schemas.microsoft.com/office/drawing/2014/main" id="{AA4A3806-3585-42D2-80B1-57B94396AAA5}"/>
                </a:ext>
              </a:extLst>
            </p:cNvPr>
            <p:cNvSpPr>
              <a:spLocks noChangeAspect="1" noChangeShapeType="1"/>
            </p:cNvSpPr>
            <p:nvPr/>
          </p:nvSpPr>
          <p:spPr bwMode="auto">
            <a:xfrm flipH="1">
              <a:off x="7248525" y="3623629"/>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44" name="Line 1592">
              <a:extLst>
                <a:ext uri="{FF2B5EF4-FFF2-40B4-BE49-F238E27FC236}">
                  <a16:creationId xmlns:a16="http://schemas.microsoft.com/office/drawing/2014/main" id="{843F1053-2D19-49FB-988E-478FFC7D7628}"/>
                </a:ext>
              </a:extLst>
            </p:cNvPr>
            <p:cNvSpPr>
              <a:spLocks noChangeAspect="1" noChangeShapeType="1"/>
            </p:cNvSpPr>
            <p:nvPr/>
          </p:nvSpPr>
          <p:spPr bwMode="auto">
            <a:xfrm flipH="1">
              <a:off x="7232651" y="3625216"/>
              <a:ext cx="15875"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45" name="Line 1593">
              <a:extLst>
                <a:ext uri="{FF2B5EF4-FFF2-40B4-BE49-F238E27FC236}">
                  <a16:creationId xmlns:a16="http://schemas.microsoft.com/office/drawing/2014/main" id="{F5B7DD7B-B444-416E-B5B9-833CFCD0269C}"/>
                </a:ext>
              </a:extLst>
            </p:cNvPr>
            <p:cNvSpPr>
              <a:spLocks noChangeAspect="1" noChangeShapeType="1"/>
            </p:cNvSpPr>
            <p:nvPr/>
          </p:nvSpPr>
          <p:spPr bwMode="auto">
            <a:xfrm flipH="1">
              <a:off x="7204075" y="3650615"/>
              <a:ext cx="19050"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46" name="Line 1594">
              <a:extLst>
                <a:ext uri="{FF2B5EF4-FFF2-40B4-BE49-F238E27FC236}">
                  <a16:creationId xmlns:a16="http://schemas.microsoft.com/office/drawing/2014/main" id="{FE3EA4A5-2A52-48E0-8049-73D810D1A81F}"/>
                </a:ext>
              </a:extLst>
            </p:cNvPr>
            <p:cNvSpPr>
              <a:spLocks noChangeAspect="1" noChangeShapeType="1"/>
            </p:cNvSpPr>
            <p:nvPr/>
          </p:nvSpPr>
          <p:spPr bwMode="auto">
            <a:xfrm flipH="1">
              <a:off x="7202489" y="3669665"/>
              <a:ext cx="1587"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47" name="Line 1595">
              <a:extLst>
                <a:ext uri="{FF2B5EF4-FFF2-40B4-BE49-F238E27FC236}">
                  <a16:creationId xmlns:a16="http://schemas.microsoft.com/office/drawing/2014/main" id="{BEB34316-685B-42FB-80AF-0AF9BF0CFE1D}"/>
                </a:ext>
              </a:extLst>
            </p:cNvPr>
            <p:cNvSpPr>
              <a:spLocks noChangeAspect="1" noChangeShapeType="1"/>
            </p:cNvSpPr>
            <p:nvPr/>
          </p:nvSpPr>
          <p:spPr bwMode="auto">
            <a:xfrm flipH="1">
              <a:off x="7185026" y="3671253"/>
              <a:ext cx="17463"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48" name="Line 1596">
              <a:extLst>
                <a:ext uri="{FF2B5EF4-FFF2-40B4-BE49-F238E27FC236}">
                  <a16:creationId xmlns:a16="http://schemas.microsoft.com/office/drawing/2014/main" id="{715D968D-3DFA-4C0B-B937-F36625272FEA}"/>
                </a:ext>
              </a:extLst>
            </p:cNvPr>
            <p:cNvSpPr>
              <a:spLocks noChangeAspect="1" noChangeShapeType="1"/>
            </p:cNvSpPr>
            <p:nvPr/>
          </p:nvSpPr>
          <p:spPr bwMode="auto">
            <a:xfrm flipH="1">
              <a:off x="7158038" y="3699828"/>
              <a:ext cx="17462"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49" name="Line 1597">
              <a:extLst>
                <a:ext uri="{FF2B5EF4-FFF2-40B4-BE49-F238E27FC236}">
                  <a16:creationId xmlns:a16="http://schemas.microsoft.com/office/drawing/2014/main" id="{35CEB244-22AD-4AE5-8E13-DAEAF8446B0F}"/>
                </a:ext>
              </a:extLst>
            </p:cNvPr>
            <p:cNvSpPr>
              <a:spLocks noChangeAspect="1" noChangeShapeType="1"/>
            </p:cNvSpPr>
            <p:nvPr/>
          </p:nvSpPr>
          <p:spPr bwMode="auto">
            <a:xfrm flipH="1">
              <a:off x="7156450" y="3717290"/>
              <a:ext cx="15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50" name="Line 1598">
              <a:extLst>
                <a:ext uri="{FF2B5EF4-FFF2-40B4-BE49-F238E27FC236}">
                  <a16:creationId xmlns:a16="http://schemas.microsoft.com/office/drawing/2014/main" id="{545695EA-F0C4-44DF-B306-EB30C07A4CD2}"/>
                </a:ext>
              </a:extLst>
            </p:cNvPr>
            <p:cNvSpPr>
              <a:spLocks noChangeAspect="1" noChangeShapeType="1"/>
            </p:cNvSpPr>
            <p:nvPr/>
          </p:nvSpPr>
          <p:spPr bwMode="auto">
            <a:xfrm flipH="1">
              <a:off x="7138988" y="3718879"/>
              <a:ext cx="17462"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51" name="Line 1599">
              <a:extLst>
                <a:ext uri="{FF2B5EF4-FFF2-40B4-BE49-F238E27FC236}">
                  <a16:creationId xmlns:a16="http://schemas.microsoft.com/office/drawing/2014/main" id="{9897FC8F-1F11-4B1C-A856-4F6701A8F3A8}"/>
                </a:ext>
              </a:extLst>
            </p:cNvPr>
            <p:cNvSpPr>
              <a:spLocks noChangeAspect="1" noChangeShapeType="1"/>
            </p:cNvSpPr>
            <p:nvPr/>
          </p:nvSpPr>
          <p:spPr bwMode="auto">
            <a:xfrm flipH="1">
              <a:off x="7121526" y="3750628"/>
              <a:ext cx="9525"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52" name="Line 1600">
              <a:extLst>
                <a:ext uri="{FF2B5EF4-FFF2-40B4-BE49-F238E27FC236}">
                  <a16:creationId xmlns:a16="http://schemas.microsoft.com/office/drawing/2014/main" id="{7A0F03DA-A4DD-4402-B115-CD669BC582B3}"/>
                </a:ext>
              </a:extLst>
            </p:cNvPr>
            <p:cNvSpPr>
              <a:spLocks noChangeAspect="1" noChangeShapeType="1"/>
            </p:cNvSpPr>
            <p:nvPr/>
          </p:nvSpPr>
          <p:spPr bwMode="auto">
            <a:xfrm flipH="1">
              <a:off x="7112001" y="3763329"/>
              <a:ext cx="9525"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53" name="Line 1601">
              <a:extLst>
                <a:ext uri="{FF2B5EF4-FFF2-40B4-BE49-F238E27FC236}">
                  <a16:creationId xmlns:a16="http://schemas.microsoft.com/office/drawing/2014/main" id="{67D4A0BD-C0FE-4386-96DF-E6198855C8D6}"/>
                </a:ext>
              </a:extLst>
            </p:cNvPr>
            <p:cNvSpPr>
              <a:spLocks noChangeAspect="1" noChangeShapeType="1"/>
            </p:cNvSpPr>
            <p:nvPr/>
          </p:nvSpPr>
          <p:spPr bwMode="auto">
            <a:xfrm flipH="1">
              <a:off x="7099300" y="3779203"/>
              <a:ext cx="12700"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54" name="Line 1602">
              <a:extLst>
                <a:ext uri="{FF2B5EF4-FFF2-40B4-BE49-F238E27FC236}">
                  <a16:creationId xmlns:a16="http://schemas.microsoft.com/office/drawing/2014/main" id="{AB484561-494B-4B95-BE3C-C46163E6F1C2}"/>
                </a:ext>
              </a:extLst>
            </p:cNvPr>
            <p:cNvSpPr>
              <a:spLocks noChangeAspect="1" noChangeShapeType="1"/>
            </p:cNvSpPr>
            <p:nvPr/>
          </p:nvSpPr>
          <p:spPr bwMode="auto">
            <a:xfrm flipH="1">
              <a:off x="7091364" y="3807779"/>
              <a:ext cx="1587"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55" name="Line 1603">
              <a:extLst>
                <a:ext uri="{FF2B5EF4-FFF2-40B4-BE49-F238E27FC236}">
                  <a16:creationId xmlns:a16="http://schemas.microsoft.com/office/drawing/2014/main" id="{712BC328-C024-47EB-B567-C8E7C7929E35}"/>
                </a:ext>
              </a:extLst>
            </p:cNvPr>
            <p:cNvSpPr>
              <a:spLocks noChangeAspect="1" noChangeShapeType="1"/>
            </p:cNvSpPr>
            <p:nvPr/>
          </p:nvSpPr>
          <p:spPr bwMode="auto">
            <a:xfrm flipH="1">
              <a:off x="7073901" y="3809365"/>
              <a:ext cx="17463"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56" name="Line 1604">
              <a:extLst>
                <a:ext uri="{FF2B5EF4-FFF2-40B4-BE49-F238E27FC236}">
                  <a16:creationId xmlns:a16="http://schemas.microsoft.com/office/drawing/2014/main" id="{23E0E7BD-55C5-479D-AEE6-FF124103E19B}"/>
                </a:ext>
              </a:extLst>
            </p:cNvPr>
            <p:cNvSpPr>
              <a:spLocks noChangeAspect="1" noChangeShapeType="1"/>
            </p:cNvSpPr>
            <p:nvPr/>
          </p:nvSpPr>
          <p:spPr bwMode="auto">
            <a:xfrm flipH="1">
              <a:off x="7073900" y="3853816"/>
              <a:ext cx="1588"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57" name="Line 1605">
              <a:extLst>
                <a:ext uri="{FF2B5EF4-FFF2-40B4-BE49-F238E27FC236}">
                  <a16:creationId xmlns:a16="http://schemas.microsoft.com/office/drawing/2014/main" id="{65E5AA5B-C0DC-4DBC-AB10-D3E6C62FDE40}"/>
                </a:ext>
              </a:extLst>
            </p:cNvPr>
            <p:cNvSpPr>
              <a:spLocks noChangeAspect="1" noChangeShapeType="1"/>
            </p:cNvSpPr>
            <p:nvPr/>
          </p:nvSpPr>
          <p:spPr bwMode="auto">
            <a:xfrm flipH="1">
              <a:off x="7069139" y="3879215"/>
              <a:ext cx="3175"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58" name="Line 1606">
              <a:extLst>
                <a:ext uri="{FF2B5EF4-FFF2-40B4-BE49-F238E27FC236}">
                  <a16:creationId xmlns:a16="http://schemas.microsoft.com/office/drawing/2014/main" id="{79982BBA-3030-4496-B3BE-FE1BAC32F9E0}"/>
                </a:ext>
              </a:extLst>
            </p:cNvPr>
            <p:cNvSpPr>
              <a:spLocks noChangeAspect="1" noChangeShapeType="1"/>
            </p:cNvSpPr>
            <p:nvPr/>
          </p:nvSpPr>
          <p:spPr bwMode="auto">
            <a:xfrm>
              <a:off x="7069138" y="3899854"/>
              <a:ext cx="4762" cy="396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59" name="Line 1607">
              <a:extLst>
                <a:ext uri="{FF2B5EF4-FFF2-40B4-BE49-F238E27FC236}">
                  <a16:creationId xmlns:a16="http://schemas.microsoft.com/office/drawing/2014/main" id="{08B2A740-CC2E-4E23-9FEE-5D512BF2ECCB}"/>
                </a:ext>
              </a:extLst>
            </p:cNvPr>
            <p:cNvSpPr>
              <a:spLocks noChangeAspect="1" noChangeShapeType="1"/>
            </p:cNvSpPr>
            <p:nvPr/>
          </p:nvSpPr>
          <p:spPr bwMode="auto">
            <a:xfrm>
              <a:off x="7077075" y="3952240"/>
              <a:ext cx="12700" cy="396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60" name="Line 1608">
              <a:extLst>
                <a:ext uri="{FF2B5EF4-FFF2-40B4-BE49-F238E27FC236}">
                  <a16:creationId xmlns:a16="http://schemas.microsoft.com/office/drawing/2014/main" id="{C259793F-6C94-44C7-8FFB-C2FFD5BECE01}"/>
                </a:ext>
              </a:extLst>
            </p:cNvPr>
            <p:cNvSpPr>
              <a:spLocks noChangeAspect="1" noChangeShapeType="1"/>
            </p:cNvSpPr>
            <p:nvPr/>
          </p:nvSpPr>
          <p:spPr bwMode="auto">
            <a:xfrm>
              <a:off x="7089775" y="3991929"/>
              <a:ext cx="7938"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61" name="Line 1609">
              <a:extLst>
                <a:ext uri="{FF2B5EF4-FFF2-40B4-BE49-F238E27FC236}">
                  <a16:creationId xmlns:a16="http://schemas.microsoft.com/office/drawing/2014/main" id="{66D69995-D428-460F-AC12-2F4771EF3A56}"/>
                </a:ext>
              </a:extLst>
            </p:cNvPr>
            <p:cNvSpPr>
              <a:spLocks noChangeAspect="1" noChangeShapeType="1"/>
            </p:cNvSpPr>
            <p:nvPr/>
          </p:nvSpPr>
          <p:spPr bwMode="auto">
            <a:xfrm>
              <a:off x="7102476" y="4020503"/>
              <a:ext cx="9525"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62" name="Line 1610">
              <a:extLst>
                <a:ext uri="{FF2B5EF4-FFF2-40B4-BE49-F238E27FC236}">
                  <a16:creationId xmlns:a16="http://schemas.microsoft.com/office/drawing/2014/main" id="{9D52BA87-FCA3-44CF-9DFF-89488AC186B3}"/>
                </a:ext>
              </a:extLst>
            </p:cNvPr>
            <p:cNvSpPr>
              <a:spLocks noChangeAspect="1" noChangeShapeType="1"/>
            </p:cNvSpPr>
            <p:nvPr/>
          </p:nvSpPr>
          <p:spPr bwMode="auto">
            <a:xfrm>
              <a:off x="7112000" y="4037965"/>
              <a:ext cx="0"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63" name="Line 1611">
              <a:extLst>
                <a:ext uri="{FF2B5EF4-FFF2-40B4-BE49-F238E27FC236}">
                  <a16:creationId xmlns:a16="http://schemas.microsoft.com/office/drawing/2014/main" id="{698C1092-2B3D-473B-A839-A94C13A4559C}"/>
                </a:ext>
              </a:extLst>
            </p:cNvPr>
            <p:cNvSpPr>
              <a:spLocks noChangeAspect="1" noChangeShapeType="1"/>
            </p:cNvSpPr>
            <p:nvPr/>
          </p:nvSpPr>
          <p:spPr bwMode="auto">
            <a:xfrm>
              <a:off x="7112001" y="4037966"/>
              <a:ext cx="17463"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64" name="Line 1612">
              <a:extLst>
                <a:ext uri="{FF2B5EF4-FFF2-40B4-BE49-F238E27FC236}">
                  <a16:creationId xmlns:a16="http://schemas.microsoft.com/office/drawing/2014/main" id="{EBA09F59-EBD3-4198-B23E-12EFD711DA49}"/>
                </a:ext>
              </a:extLst>
            </p:cNvPr>
            <p:cNvSpPr>
              <a:spLocks noChangeAspect="1" noChangeShapeType="1"/>
            </p:cNvSpPr>
            <p:nvPr/>
          </p:nvSpPr>
          <p:spPr bwMode="auto">
            <a:xfrm>
              <a:off x="7137400" y="4084003"/>
              <a:ext cx="19050"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65" name="Line 1613">
              <a:extLst>
                <a:ext uri="{FF2B5EF4-FFF2-40B4-BE49-F238E27FC236}">
                  <a16:creationId xmlns:a16="http://schemas.microsoft.com/office/drawing/2014/main" id="{2810E8B4-A0DE-4017-A338-CD6D5024E824}"/>
                </a:ext>
              </a:extLst>
            </p:cNvPr>
            <p:cNvSpPr>
              <a:spLocks noChangeAspect="1" noChangeShapeType="1"/>
            </p:cNvSpPr>
            <p:nvPr/>
          </p:nvSpPr>
          <p:spPr bwMode="auto">
            <a:xfrm>
              <a:off x="7156451" y="4115753"/>
              <a:ext cx="9525"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66" name="Line 1614">
              <a:extLst>
                <a:ext uri="{FF2B5EF4-FFF2-40B4-BE49-F238E27FC236}">
                  <a16:creationId xmlns:a16="http://schemas.microsoft.com/office/drawing/2014/main" id="{BEBE24D9-6506-4366-93FE-956B7248ED48}"/>
                </a:ext>
              </a:extLst>
            </p:cNvPr>
            <p:cNvSpPr>
              <a:spLocks noChangeAspect="1" noChangeShapeType="1"/>
            </p:cNvSpPr>
            <p:nvPr/>
          </p:nvSpPr>
          <p:spPr bwMode="auto">
            <a:xfrm>
              <a:off x="7165975" y="4128454"/>
              <a:ext cx="0"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67" name="Line 1615">
              <a:extLst>
                <a:ext uri="{FF2B5EF4-FFF2-40B4-BE49-F238E27FC236}">
                  <a16:creationId xmlns:a16="http://schemas.microsoft.com/office/drawing/2014/main" id="{61AA5772-86C7-46BD-ADF2-D21F0F82D872}"/>
                </a:ext>
              </a:extLst>
            </p:cNvPr>
            <p:cNvSpPr>
              <a:spLocks noChangeAspect="1" noChangeShapeType="1"/>
            </p:cNvSpPr>
            <p:nvPr/>
          </p:nvSpPr>
          <p:spPr bwMode="auto">
            <a:xfrm>
              <a:off x="7175500" y="4144328"/>
              <a:ext cx="20638" cy="301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68" name="Line 1616">
              <a:extLst>
                <a:ext uri="{FF2B5EF4-FFF2-40B4-BE49-F238E27FC236}">
                  <a16:creationId xmlns:a16="http://schemas.microsoft.com/office/drawing/2014/main" id="{62CD3F7A-FE2A-4D32-AB51-B5919222F083}"/>
                </a:ext>
              </a:extLst>
            </p:cNvPr>
            <p:cNvSpPr>
              <a:spLocks noChangeAspect="1" noChangeShapeType="1"/>
            </p:cNvSpPr>
            <p:nvPr/>
          </p:nvSpPr>
          <p:spPr bwMode="auto">
            <a:xfrm>
              <a:off x="7196139" y="4174491"/>
              <a:ext cx="7937"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69" name="Line 1617">
              <a:extLst>
                <a:ext uri="{FF2B5EF4-FFF2-40B4-BE49-F238E27FC236}">
                  <a16:creationId xmlns:a16="http://schemas.microsoft.com/office/drawing/2014/main" id="{C394B802-830C-4374-AC8A-D05F5C02997D}"/>
                </a:ext>
              </a:extLst>
            </p:cNvPr>
            <p:cNvSpPr>
              <a:spLocks noChangeAspect="1" noChangeShapeType="1"/>
            </p:cNvSpPr>
            <p:nvPr/>
          </p:nvSpPr>
          <p:spPr bwMode="auto">
            <a:xfrm>
              <a:off x="7204076" y="4184015"/>
              <a:ext cx="3175"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70" name="Line 1618">
              <a:extLst>
                <a:ext uri="{FF2B5EF4-FFF2-40B4-BE49-F238E27FC236}">
                  <a16:creationId xmlns:a16="http://schemas.microsoft.com/office/drawing/2014/main" id="{BC258259-598A-4E9E-B674-DD0AEC81D385}"/>
                </a:ext>
              </a:extLst>
            </p:cNvPr>
            <p:cNvSpPr>
              <a:spLocks noChangeAspect="1" noChangeShapeType="1"/>
            </p:cNvSpPr>
            <p:nvPr/>
          </p:nvSpPr>
          <p:spPr bwMode="auto">
            <a:xfrm>
              <a:off x="7215189" y="4201478"/>
              <a:ext cx="14287"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71" name="Line 1619">
              <a:extLst>
                <a:ext uri="{FF2B5EF4-FFF2-40B4-BE49-F238E27FC236}">
                  <a16:creationId xmlns:a16="http://schemas.microsoft.com/office/drawing/2014/main" id="{66986FED-EF1E-47FA-90F6-F73EE1067261}"/>
                </a:ext>
              </a:extLst>
            </p:cNvPr>
            <p:cNvSpPr>
              <a:spLocks noChangeAspect="1" noChangeShapeType="1"/>
            </p:cNvSpPr>
            <p:nvPr/>
          </p:nvSpPr>
          <p:spPr bwMode="auto">
            <a:xfrm>
              <a:off x="7229476" y="4220528"/>
              <a:ext cx="17463"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72" name="Line 1620">
              <a:extLst>
                <a:ext uri="{FF2B5EF4-FFF2-40B4-BE49-F238E27FC236}">
                  <a16:creationId xmlns:a16="http://schemas.microsoft.com/office/drawing/2014/main" id="{653D908A-4371-4983-B030-5971D02F60C3}"/>
                </a:ext>
              </a:extLst>
            </p:cNvPr>
            <p:cNvSpPr>
              <a:spLocks noChangeAspect="1" noChangeShapeType="1"/>
            </p:cNvSpPr>
            <p:nvPr/>
          </p:nvSpPr>
          <p:spPr bwMode="auto">
            <a:xfrm>
              <a:off x="7256463" y="4257041"/>
              <a:ext cx="4762"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73" name="Line 1621">
              <a:extLst>
                <a:ext uri="{FF2B5EF4-FFF2-40B4-BE49-F238E27FC236}">
                  <a16:creationId xmlns:a16="http://schemas.microsoft.com/office/drawing/2014/main" id="{2E14210F-F22E-44D0-8656-78656A55EFA1}"/>
                </a:ext>
              </a:extLst>
            </p:cNvPr>
            <p:cNvSpPr>
              <a:spLocks noChangeAspect="1" noChangeShapeType="1"/>
            </p:cNvSpPr>
            <p:nvPr/>
          </p:nvSpPr>
          <p:spPr bwMode="auto">
            <a:xfrm>
              <a:off x="8364538" y="4312604"/>
              <a:ext cx="1960562"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74" name="Line 1622">
              <a:extLst>
                <a:ext uri="{FF2B5EF4-FFF2-40B4-BE49-F238E27FC236}">
                  <a16:creationId xmlns:a16="http://schemas.microsoft.com/office/drawing/2014/main" id="{8256BA6C-314F-42F6-B68F-7E64D35FB6B6}"/>
                </a:ext>
              </a:extLst>
            </p:cNvPr>
            <p:cNvSpPr>
              <a:spLocks noChangeAspect="1" noChangeShapeType="1"/>
            </p:cNvSpPr>
            <p:nvPr/>
          </p:nvSpPr>
          <p:spPr bwMode="auto">
            <a:xfrm flipV="1">
              <a:off x="8480425" y="4247515"/>
              <a:ext cx="1588" cy="650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75" name="Rectangle 1623">
              <a:extLst>
                <a:ext uri="{FF2B5EF4-FFF2-40B4-BE49-F238E27FC236}">
                  <a16:creationId xmlns:a16="http://schemas.microsoft.com/office/drawing/2014/main" id="{3F165A26-E5D4-49A5-890C-4F85DF7E45D9}"/>
                </a:ext>
              </a:extLst>
            </p:cNvPr>
            <p:cNvSpPr>
              <a:spLocks noChangeAspect="1" noChangeArrowheads="1"/>
            </p:cNvSpPr>
            <p:nvPr/>
          </p:nvSpPr>
          <p:spPr bwMode="auto">
            <a:xfrm>
              <a:off x="8389938" y="4330065"/>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1.0</a:t>
              </a:r>
              <a:endParaRPr lang="en-GB" altLang="en-DE" b="1"/>
            </a:p>
          </p:txBody>
        </p:sp>
        <p:sp>
          <p:nvSpPr>
            <p:cNvPr id="409176" name="Line 1624">
              <a:extLst>
                <a:ext uri="{FF2B5EF4-FFF2-40B4-BE49-F238E27FC236}">
                  <a16:creationId xmlns:a16="http://schemas.microsoft.com/office/drawing/2014/main" id="{BAAA96A0-2FF8-4C94-91C9-B6F0DA72E6E7}"/>
                </a:ext>
              </a:extLst>
            </p:cNvPr>
            <p:cNvSpPr>
              <a:spLocks noChangeAspect="1" noChangeShapeType="1"/>
            </p:cNvSpPr>
            <p:nvPr/>
          </p:nvSpPr>
          <p:spPr bwMode="auto">
            <a:xfrm flipV="1">
              <a:off x="9056689" y="4247515"/>
              <a:ext cx="1587" cy="650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77" name="Rectangle 1625">
              <a:extLst>
                <a:ext uri="{FF2B5EF4-FFF2-40B4-BE49-F238E27FC236}">
                  <a16:creationId xmlns:a16="http://schemas.microsoft.com/office/drawing/2014/main" id="{B62ED394-58C4-4804-9E34-EE93AFCCAE69}"/>
                </a:ext>
              </a:extLst>
            </p:cNvPr>
            <p:cNvSpPr>
              <a:spLocks noChangeAspect="1" noChangeArrowheads="1"/>
            </p:cNvSpPr>
            <p:nvPr/>
          </p:nvSpPr>
          <p:spPr bwMode="auto">
            <a:xfrm>
              <a:off x="8966200" y="4330065"/>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1.5</a:t>
              </a:r>
              <a:endParaRPr lang="en-GB" altLang="en-DE" b="1"/>
            </a:p>
          </p:txBody>
        </p:sp>
        <p:sp>
          <p:nvSpPr>
            <p:cNvPr id="409178" name="Line 1626">
              <a:extLst>
                <a:ext uri="{FF2B5EF4-FFF2-40B4-BE49-F238E27FC236}">
                  <a16:creationId xmlns:a16="http://schemas.microsoft.com/office/drawing/2014/main" id="{FEB75FC6-BB4C-4FAB-8B49-D0C4CDCD48E1}"/>
                </a:ext>
              </a:extLst>
            </p:cNvPr>
            <p:cNvSpPr>
              <a:spLocks noChangeAspect="1" noChangeShapeType="1"/>
            </p:cNvSpPr>
            <p:nvPr/>
          </p:nvSpPr>
          <p:spPr bwMode="auto">
            <a:xfrm flipV="1">
              <a:off x="9632950" y="4247515"/>
              <a:ext cx="1588" cy="650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79" name="Rectangle 1627">
              <a:extLst>
                <a:ext uri="{FF2B5EF4-FFF2-40B4-BE49-F238E27FC236}">
                  <a16:creationId xmlns:a16="http://schemas.microsoft.com/office/drawing/2014/main" id="{80133F91-4427-4B4B-9A11-0C9DF78DE55A}"/>
                </a:ext>
              </a:extLst>
            </p:cNvPr>
            <p:cNvSpPr>
              <a:spLocks noChangeAspect="1" noChangeArrowheads="1"/>
            </p:cNvSpPr>
            <p:nvPr/>
          </p:nvSpPr>
          <p:spPr bwMode="auto">
            <a:xfrm>
              <a:off x="9542463" y="4330065"/>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2.0</a:t>
              </a:r>
              <a:endParaRPr lang="en-GB" altLang="en-DE" b="1"/>
            </a:p>
          </p:txBody>
        </p:sp>
        <p:sp>
          <p:nvSpPr>
            <p:cNvPr id="409180" name="Line 1628">
              <a:extLst>
                <a:ext uri="{FF2B5EF4-FFF2-40B4-BE49-F238E27FC236}">
                  <a16:creationId xmlns:a16="http://schemas.microsoft.com/office/drawing/2014/main" id="{C5354AAD-6102-4233-B8DC-AC95C472193D}"/>
                </a:ext>
              </a:extLst>
            </p:cNvPr>
            <p:cNvSpPr>
              <a:spLocks noChangeAspect="1" noChangeShapeType="1"/>
            </p:cNvSpPr>
            <p:nvPr/>
          </p:nvSpPr>
          <p:spPr bwMode="auto">
            <a:xfrm flipV="1">
              <a:off x="10210800" y="4247515"/>
              <a:ext cx="0" cy="650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81" name="Rectangle 1629">
              <a:extLst>
                <a:ext uri="{FF2B5EF4-FFF2-40B4-BE49-F238E27FC236}">
                  <a16:creationId xmlns:a16="http://schemas.microsoft.com/office/drawing/2014/main" id="{E68335C9-C51C-4226-AEBF-214EA140675B}"/>
                </a:ext>
              </a:extLst>
            </p:cNvPr>
            <p:cNvSpPr>
              <a:spLocks noChangeAspect="1" noChangeArrowheads="1"/>
            </p:cNvSpPr>
            <p:nvPr/>
          </p:nvSpPr>
          <p:spPr bwMode="auto">
            <a:xfrm>
              <a:off x="10120313" y="4330065"/>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2.5</a:t>
              </a:r>
              <a:endParaRPr lang="en-GB" altLang="en-DE" b="1"/>
            </a:p>
          </p:txBody>
        </p:sp>
        <p:sp>
          <p:nvSpPr>
            <p:cNvPr id="409182" name="Line 1630">
              <a:extLst>
                <a:ext uri="{FF2B5EF4-FFF2-40B4-BE49-F238E27FC236}">
                  <a16:creationId xmlns:a16="http://schemas.microsoft.com/office/drawing/2014/main" id="{3055105E-11AD-4DCB-A963-5AD47B8746CE}"/>
                </a:ext>
              </a:extLst>
            </p:cNvPr>
            <p:cNvSpPr>
              <a:spLocks noChangeAspect="1" noChangeShapeType="1"/>
            </p:cNvSpPr>
            <p:nvPr/>
          </p:nvSpPr>
          <p:spPr bwMode="auto">
            <a:xfrm flipV="1">
              <a:off x="8594725"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83" name="Line 1631">
              <a:extLst>
                <a:ext uri="{FF2B5EF4-FFF2-40B4-BE49-F238E27FC236}">
                  <a16:creationId xmlns:a16="http://schemas.microsoft.com/office/drawing/2014/main" id="{92A6A688-E3E5-4BE0-889F-C298E95994E4}"/>
                </a:ext>
              </a:extLst>
            </p:cNvPr>
            <p:cNvSpPr>
              <a:spLocks noChangeAspect="1" noChangeShapeType="1"/>
            </p:cNvSpPr>
            <p:nvPr/>
          </p:nvSpPr>
          <p:spPr bwMode="auto">
            <a:xfrm flipV="1">
              <a:off x="8712200" y="4280853"/>
              <a:ext cx="0"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84" name="Line 1632">
              <a:extLst>
                <a:ext uri="{FF2B5EF4-FFF2-40B4-BE49-F238E27FC236}">
                  <a16:creationId xmlns:a16="http://schemas.microsoft.com/office/drawing/2014/main" id="{3DE6B87F-A6AC-4F4A-97D7-5E3FF7C9A947}"/>
                </a:ext>
              </a:extLst>
            </p:cNvPr>
            <p:cNvSpPr>
              <a:spLocks noChangeAspect="1" noChangeShapeType="1"/>
            </p:cNvSpPr>
            <p:nvPr/>
          </p:nvSpPr>
          <p:spPr bwMode="auto">
            <a:xfrm flipV="1">
              <a:off x="8826500"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85" name="Line 1633">
              <a:extLst>
                <a:ext uri="{FF2B5EF4-FFF2-40B4-BE49-F238E27FC236}">
                  <a16:creationId xmlns:a16="http://schemas.microsoft.com/office/drawing/2014/main" id="{8E7FC74C-D1FD-424B-9D24-10D5BE12BB85}"/>
                </a:ext>
              </a:extLst>
            </p:cNvPr>
            <p:cNvSpPr>
              <a:spLocks noChangeAspect="1" noChangeShapeType="1"/>
            </p:cNvSpPr>
            <p:nvPr/>
          </p:nvSpPr>
          <p:spPr bwMode="auto">
            <a:xfrm flipV="1">
              <a:off x="8940800"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86" name="Line 1634">
              <a:extLst>
                <a:ext uri="{FF2B5EF4-FFF2-40B4-BE49-F238E27FC236}">
                  <a16:creationId xmlns:a16="http://schemas.microsoft.com/office/drawing/2014/main" id="{22A67CB3-47C2-4C6C-8680-86D381EAE5DE}"/>
                </a:ext>
              </a:extLst>
            </p:cNvPr>
            <p:cNvSpPr>
              <a:spLocks noChangeAspect="1" noChangeShapeType="1"/>
            </p:cNvSpPr>
            <p:nvPr/>
          </p:nvSpPr>
          <p:spPr bwMode="auto">
            <a:xfrm flipV="1">
              <a:off x="9172575" y="4280853"/>
              <a:ext cx="0"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87" name="Line 1635">
              <a:extLst>
                <a:ext uri="{FF2B5EF4-FFF2-40B4-BE49-F238E27FC236}">
                  <a16:creationId xmlns:a16="http://schemas.microsoft.com/office/drawing/2014/main" id="{A2FC4309-E4DA-4254-8FAC-4DCD56945778}"/>
                </a:ext>
              </a:extLst>
            </p:cNvPr>
            <p:cNvSpPr>
              <a:spLocks noChangeAspect="1" noChangeShapeType="1"/>
            </p:cNvSpPr>
            <p:nvPr/>
          </p:nvSpPr>
          <p:spPr bwMode="auto">
            <a:xfrm flipV="1">
              <a:off x="9288464" y="4280853"/>
              <a:ext cx="1587"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88" name="Line 1636">
              <a:extLst>
                <a:ext uri="{FF2B5EF4-FFF2-40B4-BE49-F238E27FC236}">
                  <a16:creationId xmlns:a16="http://schemas.microsoft.com/office/drawing/2014/main" id="{D5102689-D4D8-4CAB-B0C2-2BB5EC111BF0}"/>
                </a:ext>
              </a:extLst>
            </p:cNvPr>
            <p:cNvSpPr>
              <a:spLocks noChangeAspect="1" noChangeShapeType="1"/>
            </p:cNvSpPr>
            <p:nvPr/>
          </p:nvSpPr>
          <p:spPr bwMode="auto">
            <a:xfrm flipV="1">
              <a:off x="9402764" y="4280853"/>
              <a:ext cx="1587"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89" name="Line 1637">
              <a:extLst>
                <a:ext uri="{FF2B5EF4-FFF2-40B4-BE49-F238E27FC236}">
                  <a16:creationId xmlns:a16="http://schemas.microsoft.com/office/drawing/2014/main" id="{C6216144-F8CD-4771-A5A1-A70797684295}"/>
                </a:ext>
              </a:extLst>
            </p:cNvPr>
            <p:cNvSpPr>
              <a:spLocks noChangeAspect="1" noChangeShapeType="1"/>
            </p:cNvSpPr>
            <p:nvPr/>
          </p:nvSpPr>
          <p:spPr bwMode="auto">
            <a:xfrm flipV="1">
              <a:off x="9517064" y="4280853"/>
              <a:ext cx="1587"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90" name="Line 1638">
              <a:extLst>
                <a:ext uri="{FF2B5EF4-FFF2-40B4-BE49-F238E27FC236}">
                  <a16:creationId xmlns:a16="http://schemas.microsoft.com/office/drawing/2014/main" id="{59FA76E9-C121-4CA7-90F3-EAF5BFE57FAF}"/>
                </a:ext>
              </a:extLst>
            </p:cNvPr>
            <p:cNvSpPr>
              <a:spLocks noChangeAspect="1" noChangeShapeType="1"/>
            </p:cNvSpPr>
            <p:nvPr/>
          </p:nvSpPr>
          <p:spPr bwMode="auto">
            <a:xfrm flipV="1">
              <a:off x="9748839" y="4280853"/>
              <a:ext cx="1587"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91" name="Line 1639">
              <a:extLst>
                <a:ext uri="{FF2B5EF4-FFF2-40B4-BE49-F238E27FC236}">
                  <a16:creationId xmlns:a16="http://schemas.microsoft.com/office/drawing/2014/main" id="{9CFCBDC1-6DD8-4F8E-B253-2DA5ADBC6BAA}"/>
                </a:ext>
              </a:extLst>
            </p:cNvPr>
            <p:cNvSpPr>
              <a:spLocks noChangeAspect="1" noChangeShapeType="1"/>
            </p:cNvSpPr>
            <p:nvPr/>
          </p:nvSpPr>
          <p:spPr bwMode="auto">
            <a:xfrm flipV="1">
              <a:off x="9864725"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92" name="Line 1640">
              <a:extLst>
                <a:ext uri="{FF2B5EF4-FFF2-40B4-BE49-F238E27FC236}">
                  <a16:creationId xmlns:a16="http://schemas.microsoft.com/office/drawing/2014/main" id="{42AC3F09-432D-4415-9B9D-DBA02C1FE021}"/>
                </a:ext>
              </a:extLst>
            </p:cNvPr>
            <p:cNvSpPr>
              <a:spLocks noChangeAspect="1" noChangeShapeType="1"/>
            </p:cNvSpPr>
            <p:nvPr/>
          </p:nvSpPr>
          <p:spPr bwMode="auto">
            <a:xfrm flipV="1">
              <a:off x="9979025"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93" name="Line 1641">
              <a:extLst>
                <a:ext uri="{FF2B5EF4-FFF2-40B4-BE49-F238E27FC236}">
                  <a16:creationId xmlns:a16="http://schemas.microsoft.com/office/drawing/2014/main" id="{F0CFE9E1-E8A0-4E81-881A-9933DA955E69}"/>
                </a:ext>
              </a:extLst>
            </p:cNvPr>
            <p:cNvSpPr>
              <a:spLocks noChangeAspect="1" noChangeShapeType="1"/>
            </p:cNvSpPr>
            <p:nvPr/>
          </p:nvSpPr>
          <p:spPr bwMode="auto">
            <a:xfrm flipV="1">
              <a:off x="10093325"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94" name="Line 1642">
              <a:extLst>
                <a:ext uri="{FF2B5EF4-FFF2-40B4-BE49-F238E27FC236}">
                  <a16:creationId xmlns:a16="http://schemas.microsoft.com/office/drawing/2014/main" id="{7A326474-6B61-492B-8DE9-EB303152A14B}"/>
                </a:ext>
              </a:extLst>
            </p:cNvPr>
            <p:cNvSpPr>
              <a:spLocks noChangeAspect="1" noChangeShapeType="1"/>
            </p:cNvSpPr>
            <p:nvPr/>
          </p:nvSpPr>
          <p:spPr bwMode="auto">
            <a:xfrm flipV="1">
              <a:off x="10325100" y="4280853"/>
              <a:ext cx="1588" cy="31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95" name="Rectangle 1643">
              <a:extLst>
                <a:ext uri="{FF2B5EF4-FFF2-40B4-BE49-F238E27FC236}">
                  <a16:creationId xmlns:a16="http://schemas.microsoft.com/office/drawing/2014/main" id="{2A6F7693-C09E-4E25-8FE2-E402115BED7E}"/>
                </a:ext>
              </a:extLst>
            </p:cNvPr>
            <p:cNvSpPr>
              <a:spLocks noChangeAspect="1" noChangeArrowheads="1"/>
            </p:cNvSpPr>
            <p:nvPr/>
          </p:nvSpPr>
          <p:spPr bwMode="auto">
            <a:xfrm>
              <a:off x="9213851" y="4438015"/>
              <a:ext cx="34945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sz="1200" b="1">
                  <a:solidFill>
                    <a:srgbClr val="000000"/>
                  </a:solidFill>
                </a:rPr>
                <a:t>R(m)</a:t>
              </a:r>
              <a:endParaRPr lang="en-GB" altLang="en-DE" b="1"/>
            </a:p>
          </p:txBody>
        </p:sp>
        <p:sp>
          <p:nvSpPr>
            <p:cNvPr id="409196" name="Line 1644">
              <a:extLst>
                <a:ext uri="{FF2B5EF4-FFF2-40B4-BE49-F238E27FC236}">
                  <a16:creationId xmlns:a16="http://schemas.microsoft.com/office/drawing/2014/main" id="{7804E5D1-2E50-44C8-8265-CE100C1D0FD8}"/>
                </a:ext>
              </a:extLst>
            </p:cNvPr>
            <p:cNvSpPr>
              <a:spLocks noChangeAspect="1" noChangeShapeType="1"/>
            </p:cNvSpPr>
            <p:nvPr/>
          </p:nvSpPr>
          <p:spPr bwMode="auto">
            <a:xfrm>
              <a:off x="8364538" y="1105854"/>
              <a:ext cx="1960562"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97" name="Line 1645">
              <a:extLst>
                <a:ext uri="{FF2B5EF4-FFF2-40B4-BE49-F238E27FC236}">
                  <a16:creationId xmlns:a16="http://schemas.microsoft.com/office/drawing/2014/main" id="{75210F95-6DD2-4A9B-91D3-667719A709F3}"/>
                </a:ext>
              </a:extLst>
            </p:cNvPr>
            <p:cNvSpPr>
              <a:spLocks noChangeAspect="1" noChangeShapeType="1"/>
            </p:cNvSpPr>
            <p:nvPr/>
          </p:nvSpPr>
          <p:spPr bwMode="auto">
            <a:xfrm>
              <a:off x="8480425" y="1105854"/>
              <a:ext cx="1588" cy="650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98" name="Line 1646">
              <a:extLst>
                <a:ext uri="{FF2B5EF4-FFF2-40B4-BE49-F238E27FC236}">
                  <a16:creationId xmlns:a16="http://schemas.microsoft.com/office/drawing/2014/main" id="{51337E0C-033F-4BA0-BB16-1437975F6E4A}"/>
                </a:ext>
              </a:extLst>
            </p:cNvPr>
            <p:cNvSpPr>
              <a:spLocks noChangeAspect="1" noChangeShapeType="1"/>
            </p:cNvSpPr>
            <p:nvPr/>
          </p:nvSpPr>
          <p:spPr bwMode="auto">
            <a:xfrm>
              <a:off x="9056689" y="1105854"/>
              <a:ext cx="1587" cy="650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199" name="Line 1647">
              <a:extLst>
                <a:ext uri="{FF2B5EF4-FFF2-40B4-BE49-F238E27FC236}">
                  <a16:creationId xmlns:a16="http://schemas.microsoft.com/office/drawing/2014/main" id="{39140C1B-4BD4-47B6-BD51-00B6B1AB3690}"/>
                </a:ext>
              </a:extLst>
            </p:cNvPr>
            <p:cNvSpPr>
              <a:spLocks noChangeAspect="1" noChangeShapeType="1"/>
            </p:cNvSpPr>
            <p:nvPr/>
          </p:nvSpPr>
          <p:spPr bwMode="auto">
            <a:xfrm>
              <a:off x="9632950" y="1105854"/>
              <a:ext cx="1588" cy="650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00" name="Line 1648">
              <a:extLst>
                <a:ext uri="{FF2B5EF4-FFF2-40B4-BE49-F238E27FC236}">
                  <a16:creationId xmlns:a16="http://schemas.microsoft.com/office/drawing/2014/main" id="{35AACA45-A32F-4C4E-926B-3024486C553D}"/>
                </a:ext>
              </a:extLst>
            </p:cNvPr>
            <p:cNvSpPr>
              <a:spLocks noChangeAspect="1" noChangeShapeType="1"/>
            </p:cNvSpPr>
            <p:nvPr/>
          </p:nvSpPr>
          <p:spPr bwMode="auto">
            <a:xfrm>
              <a:off x="10210800" y="1105854"/>
              <a:ext cx="0" cy="650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01" name="Line 1649">
              <a:extLst>
                <a:ext uri="{FF2B5EF4-FFF2-40B4-BE49-F238E27FC236}">
                  <a16:creationId xmlns:a16="http://schemas.microsoft.com/office/drawing/2014/main" id="{DCB6F211-9490-4B39-A847-A7904F8FECC9}"/>
                </a:ext>
              </a:extLst>
            </p:cNvPr>
            <p:cNvSpPr>
              <a:spLocks noChangeAspect="1" noChangeShapeType="1"/>
            </p:cNvSpPr>
            <p:nvPr/>
          </p:nvSpPr>
          <p:spPr bwMode="auto">
            <a:xfrm>
              <a:off x="8364539"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02" name="Line 1650">
              <a:extLst>
                <a:ext uri="{FF2B5EF4-FFF2-40B4-BE49-F238E27FC236}">
                  <a16:creationId xmlns:a16="http://schemas.microsoft.com/office/drawing/2014/main" id="{93DBCADE-CBEB-4736-9708-B7115F9C4E1B}"/>
                </a:ext>
              </a:extLst>
            </p:cNvPr>
            <p:cNvSpPr>
              <a:spLocks noChangeAspect="1" noChangeShapeType="1"/>
            </p:cNvSpPr>
            <p:nvPr/>
          </p:nvSpPr>
          <p:spPr bwMode="auto">
            <a:xfrm>
              <a:off x="8594725"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03" name="Line 1651">
              <a:extLst>
                <a:ext uri="{FF2B5EF4-FFF2-40B4-BE49-F238E27FC236}">
                  <a16:creationId xmlns:a16="http://schemas.microsoft.com/office/drawing/2014/main" id="{CC9315AF-AAE8-4441-9EBF-77E51867C5FA}"/>
                </a:ext>
              </a:extLst>
            </p:cNvPr>
            <p:cNvSpPr>
              <a:spLocks noChangeAspect="1" noChangeShapeType="1"/>
            </p:cNvSpPr>
            <p:nvPr/>
          </p:nvSpPr>
          <p:spPr bwMode="auto">
            <a:xfrm>
              <a:off x="8712200" y="1105854"/>
              <a:ext cx="0"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04" name="Line 1652">
              <a:extLst>
                <a:ext uri="{FF2B5EF4-FFF2-40B4-BE49-F238E27FC236}">
                  <a16:creationId xmlns:a16="http://schemas.microsoft.com/office/drawing/2014/main" id="{A105578A-85F1-45A7-81B0-80E4C86494E8}"/>
                </a:ext>
              </a:extLst>
            </p:cNvPr>
            <p:cNvSpPr>
              <a:spLocks noChangeAspect="1" noChangeShapeType="1"/>
            </p:cNvSpPr>
            <p:nvPr/>
          </p:nvSpPr>
          <p:spPr bwMode="auto">
            <a:xfrm>
              <a:off x="8826500"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05" name="Line 1653">
              <a:extLst>
                <a:ext uri="{FF2B5EF4-FFF2-40B4-BE49-F238E27FC236}">
                  <a16:creationId xmlns:a16="http://schemas.microsoft.com/office/drawing/2014/main" id="{E9CBDF32-4045-4953-8A77-DF34EE104044}"/>
                </a:ext>
              </a:extLst>
            </p:cNvPr>
            <p:cNvSpPr>
              <a:spLocks noChangeAspect="1" noChangeShapeType="1"/>
            </p:cNvSpPr>
            <p:nvPr/>
          </p:nvSpPr>
          <p:spPr bwMode="auto">
            <a:xfrm>
              <a:off x="8940800"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06" name="Line 1654">
              <a:extLst>
                <a:ext uri="{FF2B5EF4-FFF2-40B4-BE49-F238E27FC236}">
                  <a16:creationId xmlns:a16="http://schemas.microsoft.com/office/drawing/2014/main" id="{EC7CC476-498C-41E7-BB08-1EAA34F1B104}"/>
                </a:ext>
              </a:extLst>
            </p:cNvPr>
            <p:cNvSpPr>
              <a:spLocks noChangeAspect="1" noChangeShapeType="1"/>
            </p:cNvSpPr>
            <p:nvPr/>
          </p:nvSpPr>
          <p:spPr bwMode="auto">
            <a:xfrm>
              <a:off x="9172575" y="1105854"/>
              <a:ext cx="0"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07" name="Line 1655">
              <a:extLst>
                <a:ext uri="{FF2B5EF4-FFF2-40B4-BE49-F238E27FC236}">
                  <a16:creationId xmlns:a16="http://schemas.microsoft.com/office/drawing/2014/main" id="{4B86DF64-6ADB-4071-9036-409AFE1BE782}"/>
                </a:ext>
              </a:extLst>
            </p:cNvPr>
            <p:cNvSpPr>
              <a:spLocks noChangeAspect="1" noChangeShapeType="1"/>
            </p:cNvSpPr>
            <p:nvPr/>
          </p:nvSpPr>
          <p:spPr bwMode="auto">
            <a:xfrm>
              <a:off x="9288464"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08" name="Line 1656">
              <a:extLst>
                <a:ext uri="{FF2B5EF4-FFF2-40B4-BE49-F238E27FC236}">
                  <a16:creationId xmlns:a16="http://schemas.microsoft.com/office/drawing/2014/main" id="{6CD307C1-92DB-4C8F-A6DE-26311B5F7AD5}"/>
                </a:ext>
              </a:extLst>
            </p:cNvPr>
            <p:cNvSpPr>
              <a:spLocks noChangeAspect="1" noChangeShapeType="1"/>
            </p:cNvSpPr>
            <p:nvPr/>
          </p:nvSpPr>
          <p:spPr bwMode="auto">
            <a:xfrm>
              <a:off x="9402764"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09" name="Line 1657">
              <a:extLst>
                <a:ext uri="{FF2B5EF4-FFF2-40B4-BE49-F238E27FC236}">
                  <a16:creationId xmlns:a16="http://schemas.microsoft.com/office/drawing/2014/main" id="{DF3A6946-76E4-4E23-99AD-2A3FAA96D5EB}"/>
                </a:ext>
              </a:extLst>
            </p:cNvPr>
            <p:cNvSpPr>
              <a:spLocks noChangeAspect="1" noChangeShapeType="1"/>
            </p:cNvSpPr>
            <p:nvPr/>
          </p:nvSpPr>
          <p:spPr bwMode="auto">
            <a:xfrm>
              <a:off x="9517064"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10" name="Line 1658">
              <a:extLst>
                <a:ext uri="{FF2B5EF4-FFF2-40B4-BE49-F238E27FC236}">
                  <a16:creationId xmlns:a16="http://schemas.microsoft.com/office/drawing/2014/main" id="{1D2DF4D7-1258-4539-B038-618CBDCD1188}"/>
                </a:ext>
              </a:extLst>
            </p:cNvPr>
            <p:cNvSpPr>
              <a:spLocks noChangeAspect="1" noChangeShapeType="1"/>
            </p:cNvSpPr>
            <p:nvPr/>
          </p:nvSpPr>
          <p:spPr bwMode="auto">
            <a:xfrm>
              <a:off x="9748839" y="1105854"/>
              <a:ext cx="1587"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11" name="Line 1659">
              <a:extLst>
                <a:ext uri="{FF2B5EF4-FFF2-40B4-BE49-F238E27FC236}">
                  <a16:creationId xmlns:a16="http://schemas.microsoft.com/office/drawing/2014/main" id="{AFA4FCAF-311F-49FB-8EFC-6F6A1BA8F6A5}"/>
                </a:ext>
              </a:extLst>
            </p:cNvPr>
            <p:cNvSpPr>
              <a:spLocks noChangeAspect="1" noChangeShapeType="1"/>
            </p:cNvSpPr>
            <p:nvPr/>
          </p:nvSpPr>
          <p:spPr bwMode="auto">
            <a:xfrm>
              <a:off x="9864725"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12" name="Line 1660">
              <a:extLst>
                <a:ext uri="{FF2B5EF4-FFF2-40B4-BE49-F238E27FC236}">
                  <a16:creationId xmlns:a16="http://schemas.microsoft.com/office/drawing/2014/main" id="{4BB959B7-4A4D-4CC6-8B6A-DF232BB727AC}"/>
                </a:ext>
              </a:extLst>
            </p:cNvPr>
            <p:cNvSpPr>
              <a:spLocks noChangeAspect="1" noChangeShapeType="1"/>
            </p:cNvSpPr>
            <p:nvPr/>
          </p:nvSpPr>
          <p:spPr bwMode="auto">
            <a:xfrm>
              <a:off x="9979025"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13" name="Line 1661">
              <a:extLst>
                <a:ext uri="{FF2B5EF4-FFF2-40B4-BE49-F238E27FC236}">
                  <a16:creationId xmlns:a16="http://schemas.microsoft.com/office/drawing/2014/main" id="{9D212BF1-67E8-4EB3-8B5E-68F9951BA8E2}"/>
                </a:ext>
              </a:extLst>
            </p:cNvPr>
            <p:cNvSpPr>
              <a:spLocks noChangeAspect="1" noChangeShapeType="1"/>
            </p:cNvSpPr>
            <p:nvPr/>
          </p:nvSpPr>
          <p:spPr bwMode="auto">
            <a:xfrm>
              <a:off x="10093325"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14" name="Line 1662">
              <a:extLst>
                <a:ext uri="{FF2B5EF4-FFF2-40B4-BE49-F238E27FC236}">
                  <a16:creationId xmlns:a16="http://schemas.microsoft.com/office/drawing/2014/main" id="{6E064248-6FCD-4CEB-B665-8D893498139B}"/>
                </a:ext>
              </a:extLst>
            </p:cNvPr>
            <p:cNvSpPr>
              <a:spLocks noChangeAspect="1" noChangeShapeType="1"/>
            </p:cNvSpPr>
            <p:nvPr/>
          </p:nvSpPr>
          <p:spPr bwMode="auto">
            <a:xfrm>
              <a:off x="10325100" y="1105854"/>
              <a:ext cx="1588" cy="3333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15" name="Line 1663">
              <a:extLst>
                <a:ext uri="{FF2B5EF4-FFF2-40B4-BE49-F238E27FC236}">
                  <a16:creationId xmlns:a16="http://schemas.microsoft.com/office/drawing/2014/main" id="{856F4E91-CE6B-429D-8FFD-270D6E56F7DB}"/>
                </a:ext>
              </a:extLst>
            </p:cNvPr>
            <p:cNvSpPr>
              <a:spLocks noChangeAspect="1" noChangeShapeType="1"/>
            </p:cNvSpPr>
            <p:nvPr/>
          </p:nvSpPr>
          <p:spPr bwMode="auto">
            <a:xfrm flipV="1">
              <a:off x="8364539" y="1105853"/>
              <a:ext cx="1587" cy="3206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16" name="Line 1664">
              <a:extLst>
                <a:ext uri="{FF2B5EF4-FFF2-40B4-BE49-F238E27FC236}">
                  <a16:creationId xmlns:a16="http://schemas.microsoft.com/office/drawing/2014/main" id="{1048EB7D-1E2B-41B0-91A8-4EFEC1DFBBDE}"/>
                </a:ext>
              </a:extLst>
            </p:cNvPr>
            <p:cNvSpPr>
              <a:spLocks noChangeAspect="1" noChangeShapeType="1"/>
            </p:cNvSpPr>
            <p:nvPr/>
          </p:nvSpPr>
          <p:spPr bwMode="auto">
            <a:xfrm>
              <a:off x="8364539" y="3853815"/>
              <a:ext cx="3968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17" name="Line 1665">
              <a:extLst>
                <a:ext uri="{FF2B5EF4-FFF2-40B4-BE49-F238E27FC236}">
                  <a16:creationId xmlns:a16="http://schemas.microsoft.com/office/drawing/2014/main" id="{88CF2658-834D-4CCF-BE61-3AE86AA7F4D5}"/>
                </a:ext>
              </a:extLst>
            </p:cNvPr>
            <p:cNvSpPr>
              <a:spLocks noChangeAspect="1" noChangeShapeType="1"/>
            </p:cNvSpPr>
            <p:nvPr/>
          </p:nvSpPr>
          <p:spPr bwMode="auto">
            <a:xfrm>
              <a:off x="8364539" y="3282315"/>
              <a:ext cx="3968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18" name="Line 1666">
              <a:extLst>
                <a:ext uri="{FF2B5EF4-FFF2-40B4-BE49-F238E27FC236}">
                  <a16:creationId xmlns:a16="http://schemas.microsoft.com/office/drawing/2014/main" id="{B27B5408-783F-487F-ADC9-6C4D49FD1060}"/>
                </a:ext>
              </a:extLst>
            </p:cNvPr>
            <p:cNvSpPr>
              <a:spLocks noChangeAspect="1" noChangeShapeType="1"/>
            </p:cNvSpPr>
            <p:nvPr/>
          </p:nvSpPr>
          <p:spPr bwMode="auto">
            <a:xfrm>
              <a:off x="8364539" y="2710815"/>
              <a:ext cx="3968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19" name="Line 1667">
              <a:extLst>
                <a:ext uri="{FF2B5EF4-FFF2-40B4-BE49-F238E27FC236}">
                  <a16:creationId xmlns:a16="http://schemas.microsoft.com/office/drawing/2014/main" id="{ED71032C-73B0-418A-80E4-6DF8D0F8442B}"/>
                </a:ext>
              </a:extLst>
            </p:cNvPr>
            <p:cNvSpPr>
              <a:spLocks noChangeAspect="1" noChangeShapeType="1"/>
            </p:cNvSpPr>
            <p:nvPr/>
          </p:nvSpPr>
          <p:spPr bwMode="auto">
            <a:xfrm>
              <a:off x="8364539" y="2137729"/>
              <a:ext cx="3968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20" name="Line 1668">
              <a:extLst>
                <a:ext uri="{FF2B5EF4-FFF2-40B4-BE49-F238E27FC236}">
                  <a16:creationId xmlns:a16="http://schemas.microsoft.com/office/drawing/2014/main" id="{E8F31A35-F494-49C4-9E9B-229F96C50D63}"/>
                </a:ext>
              </a:extLst>
            </p:cNvPr>
            <p:cNvSpPr>
              <a:spLocks noChangeAspect="1" noChangeShapeType="1"/>
            </p:cNvSpPr>
            <p:nvPr/>
          </p:nvSpPr>
          <p:spPr bwMode="auto">
            <a:xfrm>
              <a:off x="8364539" y="1564640"/>
              <a:ext cx="3968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21" name="Line 1669">
              <a:extLst>
                <a:ext uri="{FF2B5EF4-FFF2-40B4-BE49-F238E27FC236}">
                  <a16:creationId xmlns:a16="http://schemas.microsoft.com/office/drawing/2014/main" id="{84C20498-99D2-41FF-A45A-4A00C56A49F3}"/>
                </a:ext>
              </a:extLst>
            </p:cNvPr>
            <p:cNvSpPr>
              <a:spLocks noChangeAspect="1" noChangeShapeType="1"/>
            </p:cNvSpPr>
            <p:nvPr/>
          </p:nvSpPr>
          <p:spPr bwMode="auto">
            <a:xfrm>
              <a:off x="8364539" y="4312604"/>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22" name="Line 1670">
              <a:extLst>
                <a:ext uri="{FF2B5EF4-FFF2-40B4-BE49-F238E27FC236}">
                  <a16:creationId xmlns:a16="http://schemas.microsoft.com/office/drawing/2014/main" id="{C18F0E96-02DF-495F-BB1D-3CA71A0B96C8}"/>
                </a:ext>
              </a:extLst>
            </p:cNvPr>
            <p:cNvSpPr>
              <a:spLocks noChangeAspect="1" noChangeShapeType="1"/>
            </p:cNvSpPr>
            <p:nvPr/>
          </p:nvSpPr>
          <p:spPr bwMode="auto">
            <a:xfrm>
              <a:off x="8364539" y="4198304"/>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23" name="Line 1671">
              <a:extLst>
                <a:ext uri="{FF2B5EF4-FFF2-40B4-BE49-F238E27FC236}">
                  <a16:creationId xmlns:a16="http://schemas.microsoft.com/office/drawing/2014/main" id="{1F6220C1-35A9-4984-9FA1-3082ECB80CD5}"/>
                </a:ext>
              </a:extLst>
            </p:cNvPr>
            <p:cNvSpPr>
              <a:spLocks noChangeAspect="1" noChangeShapeType="1"/>
            </p:cNvSpPr>
            <p:nvPr/>
          </p:nvSpPr>
          <p:spPr bwMode="auto">
            <a:xfrm>
              <a:off x="8364539" y="4084003"/>
              <a:ext cx="2063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24" name="Line 1672">
              <a:extLst>
                <a:ext uri="{FF2B5EF4-FFF2-40B4-BE49-F238E27FC236}">
                  <a16:creationId xmlns:a16="http://schemas.microsoft.com/office/drawing/2014/main" id="{7C4453E1-7A41-45EF-94F3-A428AAB65B28}"/>
                </a:ext>
              </a:extLst>
            </p:cNvPr>
            <p:cNvSpPr>
              <a:spLocks noChangeAspect="1" noChangeShapeType="1"/>
            </p:cNvSpPr>
            <p:nvPr/>
          </p:nvSpPr>
          <p:spPr bwMode="auto">
            <a:xfrm>
              <a:off x="8364539" y="3968115"/>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25" name="Line 1673">
              <a:extLst>
                <a:ext uri="{FF2B5EF4-FFF2-40B4-BE49-F238E27FC236}">
                  <a16:creationId xmlns:a16="http://schemas.microsoft.com/office/drawing/2014/main" id="{B10281A8-41D2-481F-B212-5008FE663CD0}"/>
                </a:ext>
              </a:extLst>
            </p:cNvPr>
            <p:cNvSpPr>
              <a:spLocks noChangeAspect="1" noChangeShapeType="1"/>
            </p:cNvSpPr>
            <p:nvPr/>
          </p:nvSpPr>
          <p:spPr bwMode="auto">
            <a:xfrm>
              <a:off x="8364539" y="3739515"/>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26" name="Line 1674">
              <a:extLst>
                <a:ext uri="{FF2B5EF4-FFF2-40B4-BE49-F238E27FC236}">
                  <a16:creationId xmlns:a16="http://schemas.microsoft.com/office/drawing/2014/main" id="{72A979BA-A0F4-4A85-B97E-7BBFF31F90E7}"/>
                </a:ext>
              </a:extLst>
            </p:cNvPr>
            <p:cNvSpPr>
              <a:spLocks noChangeAspect="1" noChangeShapeType="1"/>
            </p:cNvSpPr>
            <p:nvPr/>
          </p:nvSpPr>
          <p:spPr bwMode="auto">
            <a:xfrm>
              <a:off x="8364539" y="3625215"/>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27" name="Line 1675">
              <a:extLst>
                <a:ext uri="{FF2B5EF4-FFF2-40B4-BE49-F238E27FC236}">
                  <a16:creationId xmlns:a16="http://schemas.microsoft.com/office/drawing/2014/main" id="{D3664887-6D16-4470-AA1A-F42CA2814F28}"/>
                </a:ext>
              </a:extLst>
            </p:cNvPr>
            <p:cNvSpPr>
              <a:spLocks noChangeAspect="1" noChangeShapeType="1"/>
            </p:cNvSpPr>
            <p:nvPr/>
          </p:nvSpPr>
          <p:spPr bwMode="auto">
            <a:xfrm>
              <a:off x="8364539" y="3510915"/>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28" name="Line 1676">
              <a:extLst>
                <a:ext uri="{FF2B5EF4-FFF2-40B4-BE49-F238E27FC236}">
                  <a16:creationId xmlns:a16="http://schemas.microsoft.com/office/drawing/2014/main" id="{2F34D8E5-1F2E-4D32-8D5C-BD9CFA283DE1}"/>
                </a:ext>
              </a:extLst>
            </p:cNvPr>
            <p:cNvSpPr>
              <a:spLocks noChangeAspect="1" noChangeShapeType="1"/>
            </p:cNvSpPr>
            <p:nvPr/>
          </p:nvSpPr>
          <p:spPr bwMode="auto">
            <a:xfrm>
              <a:off x="8364539" y="3396615"/>
              <a:ext cx="2063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29" name="Line 1677">
              <a:extLst>
                <a:ext uri="{FF2B5EF4-FFF2-40B4-BE49-F238E27FC236}">
                  <a16:creationId xmlns:a16="http://schemas.microsoft.com/office/drawing/2014/main" id="{49AF680E-7CEC-4D33-B576-D113DFDEE0E4}"/>
                </a:ext>
              </a:extLst>
            </p:cNvPr>
            <p:cNvSpPr>
              <a:spLocks noChangeAspect="1" noChangeShapeType="1"/>
            </p:cNvSpPr>
            <p:nvPr/>
          </p:nvSpPr>
          <p:spPr bwMode="auto">
            <a:xfrm>
              <a:off x="8364539" y="3168015"/>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30" name="Line 1678">
              <a:extLst>
                <a:ext uri="{FF2B5EF4-FFF2-40B4-BE49-F238E27FC236}">
                  <a16:creationId xmlns:a16="http://schemas.microsoft.com/office/drawing/2014/main" id="{8FF6A7B4-825E-4343-9AD2-53C4189E491E}"/>
                </a:ext>
              </a:extLst>
            </p:cNvPr>
            <p:cNvSpPr>
              <a:spLocks noChangeAspect="1" noChangeShapeType="1"/>
            </p:cNvSpPr>
            <p:nvPr/>
          </p:nvSpPr>
          <p:spPr bwMode="auto">
            <a:xfrm>
              <a:off x="8364539" y="3053715"/>
              <a:ext cx="2063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31" name="Line 1679">
              <a:extLst>
                <a:ext uri="{FF2B5EF4-FFF2-40B4-BE49-F238E27FC236}">
                  <a16:creationId xmlns:a16="http://schemas.microsoft.com/office/drawing/2014/main" id="{54A386FB-29D1-4646-89E4-652913D10CF4}"/>
                </a:ext>
              </a:extLst>
            </p:cNvPr>
            <p:cNvSpPr>
              <a:spLocks noChangeAspect="1" noChangeShapeType="1"/>
            </p:cNvSpPr>
            <p:nvPr/>
          </p:nvSpPr>
          <p:spPr bwMode="auto">
            <a:xfrm>
              <a:off x="8364539" y="2937829"/>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32" name="Line 1680">
              <a:extLst>
                <a:ext uri="{FF2B5EF4-FFF2-40B4-BE49-F238E27FC236}">
                  <a16:creationId xmlns:a16="http://schemas.microsoft.com/office/drawing/2014/main" id="{C7A7B518-19ED-4560-B422-183EC482F5CA}"/>
                </a:ext>
              </a:extLst>
            </p:cNvPr>
            <p:cNvSpPr>
              <a:spLocks noChangeAspect="1" noChangeShapeType="1"/>
            </p:cNvSpPr>
            <p:nvPr/>
          </p:nvSpPr>
          <p:spPr bwMode="auto">
            <a:xfrm>
              <a:off x="8364539" y="2823529"/>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33" name="Line 1681">
              <a:extLst>
                <a:ext uri="{FF2B5EF4-FFF2-40B4-BE49-F238E27FC236}">
                  <a16:creationId xmlns:a16="http://schemas.microsoft.com/office/drawing/2014/main" id="{9277431C-6C3E-44BB-BE5D-34663F2A593C}"/>
                </a:ext>
              </a:extLst>
            </p:cNvPr>
            <p:cNvSpPr>
              <a:spLocks noChangeAspect="1" noChangeShapeType="1"/>
            </p:cNvSpPr>
            <p:nvPr/>
          </p:nvSpPr>
          <p:spPr bwMode="auto">
            <a:xfrm>
              <a:off x="8364539" y="2594929"/>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34" name="Line 1682">
              <a:extLst>
                <a:ext uri="{FF2B5EF4-FFF2-40B4-BE49-F238E27FC236}">
                  <a16:creationId xmlns:a16="http://schemas.microsoft.com/office/drawing/2014/main" id="{6F010731-5240-4F6E-B799-94477DBE813E}"/>
                </a:ext>
              </a:extLst>
            </p:cNvPr>
            <p:cNvSpPr>
              <a:spLocks noChangeAspect="1" noChangeShapeType="1"/>
            </p:cNvSpPr>
            <p:nvPr/>
          </p:nvSpPr>
          <p:spPr bwMode="auto">
            <a:xfrm>
              <a:off x="8364539" y="2480629"/>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35" name="Line 1683">
              <a:extLst>
                <a:ext uri="{FF2B5EF4-FFF2-40B4-BE49-F238E27FC236}">
                  <a16:creationId xmlns:a16="http://schemas.microsoft.com/office/drawing/2014/main" id="{C25F0919-D324-4064-A00E-091DA58C4D36}"/>
                </a:ext>
              </a:extLst>
            </p:cNvPr>
            <p:cNvSpPr>
              <a:spLocks noChangeAspect="1" noChangeShapeType="1"/>
            </p:cNvSpPr>
            <p:nvPr/>
          </p:nvSpPr>
          <p:spPr bwMode="auto">
            <a:xfrm>
              <a:off x="8364539" y="2366329"/>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36" name="Line 1684">
              <a:extLst>
                <a:ext uri="{FF2B5EF4-FFF2-40B4-BE49-F238E27FC236}">
                  <a16:creationId xmlns:a16="http://schemas.microsoft.com/office/drawing/2014/main" id="{6D92A04E-BBB4-4357-BDD9-445EFD0A5CE1}"/>
                </a:ext>
              </a:extLst>
            </p:cNvPr>
            <p:cNvSpPr>
              <a:spLocks noChangeAspect="1" noChangeShapeType="1"/>
            </p:cNvSpPr>
            <p:nvPr/>
          </p:nvSpPr>
          <p:spPr bwMode="auto">
            <a:xfrm>
              <a:off x="8364539" y="2250440"/>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37" name="Line 1685">
              <a:extLst>
                <a:ext uri="{FF2B5EF4-FFF2-40B4-BE49-F238E27FC236}">
                  <a16:creationId xmlns:a16="http://schemas.microsoft.com/office/drawing/2014/main" id="{EDB8E675-A8C5-4B9F-9667-396949C1549E}"/>
                </a:ext>
              </a:extLst>
            </p:cNvPr>
            <p:cNvSpPr>
              <a:spLocks noChangeAspect="1" noChangeShapeType="1"/>
            </p:cNvSpPr>
            <p:nvPr/>
          </p:nvSpPr>
          <p:spPr bwMode="auto">
            <a:xfrm>
              <a:off x="8364539" y="2023429"/>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38" name="Line 1686">
              <a:extLst>
                <a:ext uri="{FF2B5EF4-FFF2-40B4-BE49-F238E27FC236}">
                  <a16:creationId xmlns:a16="http://schemas.microsoft.com/office/drawing/2014/main" id="{033840D9-77AF-4DB0-BF7B-F2734F30EB6D}"/>
                </a:ext>
              </a:extLst>
            </p:cNvPr>
            <p:cNvSpPr>
              <a:spLocks noChangeAspect="1" noChangeShapeType="1"/>
            </p:cNvSpPr>
            <p:nvPr/>
          </p:nvSpPr>
          <p:spPr bwMode="auto">
            <a:xfrm>
              <a:off x="8364539" y="1907540"/>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39" name="Line 1687">
              <a:extLst>
                <a:ext uri="{FF2B5EF4-FFF2-40B4-BE49-F238E27FC236}">
                  <a16:creationId xmlns:a16="http://schemas.microsoft.com/office/drawing/2014/main" id="{04297C55-B45B-4A92-987C-A111922F2F38}"/>
                </a:ext>
              </a:extLst>
            </p:cNvPr>
            <p:cNvSpPr>
              <a:spLocks noChangeAspect="1" noChangeShapeType="1"/>
            </p:cNvSpPr>
            <p:nvPr/>
          </p:nvSpPr>
          <p:spPr bwMode="auto">
            <a:xfrm>
              <a:off x="8364539" y="1793240"/>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40" name="Line 1688">
              <a:extLst>
                <a:ext uri="{FF2B5EF4-FFF2-40B4-BE49-F238E27FC236}">
                  <a16:creationId xmlns:a16="http://schemas.microsoft.com/office/drawing/2014/main" id="{32A36C95-0DE4-4603-B4E4-67BEA1CEA100}"/>
                </a:ext>
              </a:extLst>
            </p:cNvPr>
            <p:cNvSpPr>
              <a:spLocks noChangeAspect="1" noChangeShapeType="1"/>
            </p:cNvSpPr>
            <p:nvPr/>
          </p:nvSpPr>
          <p:spPr bwMode="auto">
            <a:xfrm>
              <a:off x="8364539" y="1678940"/>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41" name="Line 1689">
              <a:extLst>
                <a:ext uri="{FF2B5EF4-FFF2-40B4-BE49-F238E27FC236}">
                  <a16:creationId xmlns:a16="http://schemas.microsoft.com/office/drawing/2014/main" id="{205CF645-06E6-4392-B3B8-B582C291C77B}"/>
                </a:ext>
              </a:extLst>
            </p:cNvPr>
            <p:cNvSpPr>
              <a:spLocks noChangeAspect="1" noChangeShapeType="1"/>
            </p:cNvSpPr>
            <p:nvPr/>
          </p:nvSpPr>
          <p:spPr bwMode="auto">
            <a:xfrm>
              <a:off x="8364539" y="1450340"/>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42" name="Line 1690">
              <a:extLst>
                <a:ext uri="{FF2B5EF4-FFF2-40B4-BE49-F238E27FC236}">
                  <a16:creationId xmlns:a16="http://schemas.microsoft.com/office/drawing/2014/main" id="{8F93CB27-CD28-4255-81A7-DBCF1A9ABE7C}"/>
                </a:ext>
              </a:extLst>
            </p:cNvPr>
            <p:cNvSpPr>
              <a:spLocks noChangeAspect="1" noChangeShapeType="1"/>
            </p:cNvSpPr>
            <p:nvPr/>
          </p:nvSpPr>
          <p:spPr bwMode="auto">
            <a:xfrm>
              <a:off x="8364539" y="1336040"/>
              <a:ext cx="2063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43" name="Line 1691">
              <a:extLst>
                <a:ext uri="{FF2B5EF4-FFF2-40B4-BE49-F238E27FC236}">
                  <a16:creationId xmlns:a16="http://schemas.microsoft.com/office/drawing/2014/main" id="{508E502E-E823-4599-9AE8-4F5232C3F549}"/>
                </a:ext>
              </a:extLst>
            </p:cNvPr>
            <p:cNvSpPr>
              <a:spLocks noChangeAspect="1" noChangeShapeType="1"/>
            </p:cNvSpPr>
            <p:nvPr/>
          </p:nvSpPr>
          <p:spPr bwMode="auto">
            <a:xfrm>
              <a:off x="8364539" y="1221740"/>
              <a:ext cx="2063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44" name="Line 1692">
              <a:extLst>
                <a:ext uri="{FF2B5EF4-FFF2-40B4-BE49-F238E27FC236}">
                  <a16:creationId xmlns:a16="http://schemas.microsoft.com/office/drawing/2014/main" id="{45C235B4-456D-4AF5-AF34-66C56C9255EF}"/>
                </a:ext>
              </a:extLst>
            </p:cNvPr>
            <p:cNvSpPr>
              <a:spLocks noChangeAspect="1" noChangeShapeType="1"/>
            </p:cNvSpPr>
            <p:nvPr/>
          </p:nvSpPr>
          <p:spPr bwMode="auto">
            <a:xfrm>
              <a:off x="8364539" y="1105854"/>
              <a:ext cx="2063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45" name="Line 1693">
              <a:extLst>
                <a:ext uri="{FF2B5EF4-FFF2-40B4-BE49-F238E27FC236}">
                  <a16:creationId xmlns:a16="http://schemas.microsoft.com/office/drawing/2014/main" id="{4933F1F0-2655-4D8E-91C7-85640A1A3D8C}"/>
                </a:ext>
              </a:extLst>
            </p:cNvPr>
            <p:cNvSpPr>
              <a:spLocks noChangeAspect="1" noChangeShapeType="1"/>
            </p:cNvSpPr>
            <p:nvPr/>
          </p:nvSpPr>
          <p:spPr bwMode="auto">
            <a:xfrm flipV="1">
              <a:off x="10325100" y="1105853"/>
              <a:ext cx="1588" cy="320675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46" name="Line 1694">
              <a:extLst>
                <a:ext uri="{FF2B5EF4-FFF2-40B4-BE49-F238E27FC236}">
                  <a16:creationId xmlns:a16="http://schemas.microsoft.com/office/drawing/2014/main" id="{A1AD78E9-7EB4-4ECB-88F8-2BF7D8123D22}"/>
                </a:ext>
              </a:extLst>
            </p:cNvPr>
            <p:cNvSpPr>
              <a:spLocks noChangeAspect="1" noChangeShapeType="1"/>
            </p:cNvSpPr>
            <p:nvPr/>
          </p:nvSpPr>
          <p:spPr bwMode="auto">
            <a:xfrm flipH="1">
              <a:off x="10285414" y="3853815"/>
              <a:ext cx="3968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47" name="Line 1695">
              <a:extLst>
                <a:ext uri="{FF2B5EF4-FFF2-40B4-BE49-F238E27FC236}">
                  <a16:creationId xmlns:a16="http://schemas.microsoft.com/office/drawing/2014/main" id="{26CEEDA1-AD4B-4268-B066-CF6ADCCBE7EE}"/>
                </a:ext>
              </a:extLst>
            </p:cNvPr>
            <p:cNvSpPr>
              <a:spLocks noChangeAspect="1" noChangeShapeType="1"/>
            </p:cNvSpPr>
            <p:nvPr/>
          </p:nvSpPr>
          <p:spPr bwMode="auto">
            <a:xfrm flipH="1">
              <a:off x="10285414" y="3282315"/>
              <a:ext cx="3968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48" name="Line 1696">
              <a:extLst>
                <a:ext uri="{FF2B5EF4-FFF2-40B4-BE49-F238E27FC236}">
                  <a16:creationId xmlns:a16="http://schemas.microsoft.com/office/drawing/2014/main" id="{CBE34C96-ED67-45CA-A84E-3AEAFE0D0A2C}"/>
                </a:ext>
              </a:extLst>
            </p:cNvPr>
            <p:cNvSpPr>
              <a:spLocks noChangeAspect="1" noChangeShapeType="1"/>
            </p:cNvSpPr>
            <p:nvPr/>
          </p:nvSpPr>
          <p:spPr bwMode="auto">
            <a:xfrm flipH="1">
              <a:off x="10285414" y="2710815"/>
              <a:ext cx="3968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49" name="Line 1697">
              <a:extLst>
                <a:ext uri="{FF2B5EF4-FFF2-40B4-BE49-F238E27FC236}">
                  <a16:creationId xmlns:a16="http://schemas.microsoft.com/office/drawing/2014/main" id="{A99A6305-B8A7-4D9C-B198-B53C96A501C3}"/>
                </a:ext>
              </a:extLst>
            </p:cNvPr>
            <p:cNvSpPr>
              <a:spLocks noChangeAspect="1" noChangeShapeType="1"/>
            </p:cNvSpPr>
            <p:nvPr/>
          </p:nvSpPr>
          <p:spPr bwMode="auto">
            <a:xfrm flipH="1">
              <a:off x="10285414" y="2137729"/>
              <a:ext cx="39687"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50" name="Line 1698">
              <a:extLst>
                <a:ext uri="{FF2B5EF4-FFF2-40B4-BE49-F238E27FC236}">
                  <a16:creationId xmlns:a16="http://schemas.microsoft.com/office/drawing/2014/main" id="{AD2C0198-8DE7-494B-90B0-12F7CA29B744}"/>
                </a:ext>
              </a:extLst>
            </p:cNvPr>
            <p:cNvSpPr>
              <a:spLocks noChangeAspect="1" noChangeShapeType="1"/>
            </p:cNvSpPr>
            <p:nvPr/>
          </p:nvSpPr>
          <p:spPr bwMode="auto">
            <a:xfrm flipH="1">
              <a:off x="10285414" y="1564640"/>
              <a:ext cx="39687"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51" name="Line 1699">
              <a:extLst>
                <a:ext uri="{FF2B5EF4-FFF2-40B4-BE49-F238E27FC236}">
                  <a16:creationId xmlns:a16="http://schemas.microsoft.com/office/drawing/2014/main" id="{A8B05EAB-640C-4754-AD55-C15A3D368441}"/>
                </a:ext>
              </a:extLst>
            </p:cNvPr>
            <p:cNvSpPr>
              <a:spLocks noChangeAspect="1" noChangeShapeType="1"/>
            </p:cNvSpPr>
            <p:nvPr/>
          </p:nvSpPr>
          <p:spPr bwMode="auto">
            <a:xfrm flipH="1">
              <a:off x="10306050" y="4312604"/>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52" name="Line 1700">
              <a:extLst>
                <a:ext uri="{FF2B5EF4-FFF2-40B4-BE49-F238E27FC236}">
                  <a16:creationId xmlns:a16="http://schemas.microsoft.com/office/drawing/2014/main" id="{E2E837F9-6CB9-4E0D-90DB-70457BA8ED64}"/>
                </a:ext>
              </a:extLst>
            </p:cNvPr>
            <p:cNvSpPr>
              <a:spLocks noChangeAspect="1" noChangeShapeType="1"/>
            </p:cNvSpPr>
            <p:nvPr/>
          </p:nvSpPr>
          <p:spPr bwMode="auto">
            <a:xfrm flipH="1">
              <a:off x="10306050" y="4198304"/>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53" name="Line 1701">
              <a:extLst>
                <a:ext uri="{FF2B5EF4-FFF2-40B4-BE49-F238E27FC236}">
                  <a16:creationId xmlns:a16="http://schemas.microsoft.com/office/drawing/2014/main" id="{A4F4E38F-33CB-4FB1-B1C3-88F98DA0D9B9}"/>
                </a:ext>
              </a:extLst>
            </p:cNvPr>
            <p:cNvSpPr>
              <a:spLocks noChangeAspect="1" noChangeShapeType="1"/>
            </p:cNvSpPr>
            <p:nvPr/>
          </p:nvSpPr>
          <p:spPr bwMode="auto">
            <a:xfrm flipH="1">
              <a:off x="10306050" y="4084003"/>
              <a:ext cx="19050"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54" name="Line 1702">
              <a:extLst>
                <a:ext uri="{FF2B5EF4-FFF2-40B4-BE49-F238E27FC236}">
                  <a16:creationId xmlns:a16="http://schemas.microsoft.com/office/drawing/2014/main" id="{52A39594-93F7-40A7-8C10-429AA5A0FB9F}"/>
                </a:ext>
              </a:extLst>
            </p:cNvPr>
            <p:cNvSpPr>
              <a:spLocks noChangeAspect="1" noChangeShapeType="1"/>
            </p:cNvSpPr>
            <p:nvPr/>
          </p:nvSpPr>
          <p:spPr bwMode="auto">
            <a:xfrm flipH="1">
              <a:off x="10306050" y="3968115"/>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55" name="Line 1703">
              <a:extLst>
                <a:ext uri="{FF2B5EF4-FFF2-40B4-BE49-F238E27FC236}">
                  <a16:creationId xmlns:a16="http://schemas.microsoft.com/office/drawing/2014/main" id="{722EE032-6A37-47E2-9E48-933A97893CF2}"/>
                </a:ext>
              </a:extLst>
            </p:cNvPr>
            <p:cNvSpPr>
              <a:spLocks noChangeAspect="1" noChangeShapeType="1"/>
            </p:cNvSpPr>
            <p:nvPr/>
          </p:nvSpPr>
          <p:spPr bwMode="auto">
            <a:xfrm flipH="1">
              <a:off x="10306050" y="3739515"/>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56" name="Line 1704">
              <a:extLst>
                <a:ext uri="{FF2B5EF4-FFF2-40B4-BE49-F238E27FC236}">
                  <a16:creationId xmlns:a16="http://schemas.microsoft.com/office/drawing/2014/main" id="{D7AE1FA7-D333-455F-975F-C14C461D36CA}"/>
                </a:ext>
              </a:extLst>
            </p:cNvPr>
            <p:cNvSpPr>
              <a:spLocks noChangeAspect="1" noChangeShapeType="1"/>
            </p:cNvSpPr>
            <p:nvPr/>
          </p:nvSpPr>
          <p:spPr bwMode="auto">
            <a:xfrm flipH="1">
              <a:off x="10306050" y="3625215"/>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57" name="Line 1705">
              <a:extLst>
                <a:ext uri="{FF2B5EF4-FFF2-40B4-BE49-F238E27FC236}">
                  <a16:creationId xmlns:a16="http://schemas.microsoft.com/office/drawing/2014/main" id="{D30A70DB-4A73-497D-89E5-101D6CB304BF}"/>
                </a:ext>
              </a:extLst>
            </p:cNvPr>
            <p:cNvSpPr>
              <a:spLocks noChangeAspect="1" noChangeShapeType="1"/>
            </p:cNvSpPr>
            <p:nvPr/>
          </p:nvSpPr>
          <p:spPr bwMode="auto">
            <a:xfrm flipH="1">
              <a:off x="10306050" y="3510915"/>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58" name="Line 1706">
              <a:extLst>
                <a:ext uri="{FF2B5EF4-FFF2-40B4-BE49-F238E27FC236}">
                  <a16:creationId xmlns:a16="http://schemas.microsoft.com/office/drawing/2014/main" id="{81E734B5-5D96-481D-8ACC-5F3179214304}"/>
                </a:ext>
              </a:extLst>
            </p:cNvPr>
            <p:cNvSpPr>
              <a:spLocks noChangeAspect="1" noChangeShapeType="1"/>
            </p:cNvSpPr>
            <p:nvPr/>
          </p:nvSpPr>
          <p:spPr bwMode="auto">
            <a:xfrm flipH="1">
              <a:off x="10306050" y="3396615"/>
              <a:ext cx="19050"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59" name="Line 1707">
              <a:extLst>
                <a:ext uri="{FF2B5EF4-FFF2-40B4-BE49-F238E27FC236}">
                  <a16:creationId xmlns:a16="http://schemas.microsoft.com/office/drawing/2014/main" id="{078C35BB-3EE0-4D83-9A59-0E636FFF81AB}"/>
                </a:ext>
              </a:extLst>
            </p:cNvPr>
            <p:cNvSpPr>
              <a:spLocks noChangeAspect="1" noChangeShapeType="1"/>
            </p:cNvSpPr>
            <p:nvPr/>
          </p:nvSpPr>
          <p:spPr bwMode="auto">
            <a:xfrm flipH="1">
              <a:off x="10306050" y="3168015"/>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60" name="Line 1708">
              <a:extLst>
                <a:ext uri="{FF2B5EF4-FFF2-40B4-BE49-F238E27FC236}">
                  <a16:creationId xmlns:a16="http://schemas.microsoft.com/office/drawing/2014/main" id="{0A633C19-E952-4668-9700-1ADC20B2292A}"/>
                </a:ext>
              </a:extLst>
            </p:cNvPr>
            <p:cNvSpPr>
              <a:spLocks noChangeAspect="1" noChangeShapeType="1"/>
            </p:cNvSpPr>
            <p:nvPr/>
          </p:nvSpPr>
          <p:spPr bwMode="auto">
            <a:xfrm flipH="1">
              <a:off x="10306050" y="3053715"/>
              <a:ext cx="19050"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61" name="Line 1709">
              <a:extLst>
                <a:ext uri="{FF2B5EF4-FFF2-40B4-BE49-F238E27FC236}">
                  <a16:creationId xmlns:a16="http://schemas.microsoft.com/office/drawing/2014/main" id="{695BF0FF-3B28-4A02-B197-F8E5178CA621}"/>
                </a:ext>
              </a:extLst>
            </p:cNvPr>
            <p:cNvSpPr>
              <a:spLocks noChangeAspect="1" noChangeShapeType="1"/>
            </p:cNvSpPr>
            <p:nvPr/>
          </p:nvSpPr>
          <p:spPr bwMode="auto">
            <a:xfrm flipH="1">
              <a:off x="10306050" y="29378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62" name="Line 1710">
              <a:extLst>
                <a:ext uri="{FF2B5EF4-FFF2-40B4-BE49-F238E27FC236}">
                  <a16:creationId xmlns:a16="http://schemas.microsoft.com/office/drawing/2014/main" id="{A78FC8F3-A038-45E7-96DA-D423F00A2EBC}"/>
                </a:ext>
              </a:extLst>
            </p:cNvPr>
            <p:cNvSpPr>
              <a:spLocks noChangeAspect="1" noChangeShapeType="1"/>
            </p:cNvSpPr>
            <p:nvPr/>
          </p:nvSpPr>
          <p:spPr bwMode="auto">
            <a:xfrm flipH="1">
              <a:off x="10306050" y="28235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63" name="Line 1711">
              <a:extLst>
                <a:ext uri="{FF2B5EF4-FFF2-40B4-BE49-F238E27FC236}">
                  <a16:creationId xmlns:a16="http://schemas.microsoft.com/office/drawing/2014/main" id="{00F734DB-2A3E-4CB3-87B2-BCAEC4A65874}"/>
                </a:ext>
              </a:extLst>
            </p:cNvPr>
            <p:cNvSpPr>
              <a:spLocks noChangeAspect="1" noChangeShapeType="1"/>
            </p:cNvSpPr>
            <p:nvPr/>
          </p:nvSpPr>
          <p:spPr bwMode="auto">
            <a:xfrm flipH="1">
              <a:off x="10306050" y="25949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64" name="Line 1712">
              <a:extLst>
                <a:ext uri="{FF2B5EF4-FFF2-40B4-BE49-F238E27FC236}">
                  <a16:creationId xmlns:a16="http://schemas.microsoft.com/office/drawing/2014/main" id="{6AE25A06-1460-43A4-B4A8-32D1299AA6F6}"/>
                </a:ext>
              </a:extLst>
            </p:cNvPr>
            <p:cNvSpPr>
              <a:spLocks noChangeAspect="1" noChangeShapeType="1"/>
            </p:cNvSpPr>
            <p:nvPr/>
          </p:nvSpPr>
          <p:spPr bwMode="auto">
            <a:xfrm flipH="1">
              <a:off x="10306050" y="24806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65" name="Line 1713">
              <a:extLst>
                <a:ext uri="{FF2B5EF4-FFF2-40B4-BE49-F238E27FC236}">
                  <a16:creationId xmlns:a16="http://schemas.microsoft.com/office/drawing/2014/main" id="{5CFF346B-EAAA-470C-9B03-56C5FD84DD9F}"/>
                </a:ext>
              </a:extLst>
            </p:cNvPr>
            <p:cNvSpPr>
              <a:spLocks noChangeAspect="1" noChangeShapeType="1"/>
            </p:cNvSpPr>
            <p:nvPr/>
          </p:nvSpPr>
          <p:spPr bwMode="auto">
            <a:xfrm flipH="1">
              <a:off x="10306050" y="23663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66" name="Line 1714">
              <a:extLst>
                <a:ext uri="{FF2B5EF4-FFF2-40B4-BE49-F238E27FC236}">
                  <a16:creationId xmlns:a16="http://schemas.microsoft.com/office/drawing/2014/main" id="{F3A00727-607B-4C66-8D62-F3A6F83207D1}"/>
                </a:ext>
              </a:extLst>
            </p:cNvPr>
            <p:cNvSpPr>
              <a:spLocks noChangeAspect="1" noChangeShapeType="1"/>
            </p:cNvSpPr>
            <p:nvPr/>
          </p:nvSpPr>
          <p:spPr bwMode="auto">
            <a:xfrm flipH="1">
              <a:off x="10306050" y="22504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67" name="Line 1715">
              <a:extLst>
                <a:ext uri="{FF2B5EF4-FFF2-40B4-BE49-F238E27FC236}">
                  <a16:creationId xmlns:a16="http://schemas.microsoft.com/office/drawing/2014/main" id="{5958D5AC-198F-4C18-98BA-A31C46269280}"/>
                </a:ext>
              </a:extLst>
            </p:cNvPr>
            <p:cNvSpPr>
              <a:spLocks noChangeAspect="1" noChangeShapeType="1"/>
            </p:cNvSpPr>
            <p:nvPr/>
          </p:nvSpPr>
          <p:spPr bwMode="auto">
            <a:xfrm flipH="1">
              <a:off x="10306050" y="2023429"/>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68" name="Line 1716">
              <a:extLst>
                <a:ext uri="{FF2B5EF4-FFF2-40B4-BE49-F238E27FC236}">
                  <a16:creationId xmlns:a16="http://schemas.microsoft.com/office/drawing/2014/main" id="{498F20ED-7E48-4A04-B168-B979D0E86823}"/>
                </a:ext>
              </a:extLst>
            </p:cNvPr>
            <p:cNvSpPr>
              <a:spLocks noChangeAspect="1" noChangeShapeType="1"/>
            </p:cNvSpPr>
            <p:nvPr/>
          </p:nvSpPr>
          <p:spPr bwMode="auto">
            <a:xfrm flipH="1">
              <a:off x="10306050" y="19075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69" name="Line 1717">
              <a:extLst>
                <a:ext uri="{FF2B5EF4-FFF2-40B4-BE49-F238E27FC236}">
                  <a16:creationId xmlns:a16="http://schemas.microsoft.com/office/drawing/2014/main" id="{4F02CAC1-B979-4B27-8F56-BA66153B00A9}"/>
                </a:ext>
              </a:extLst>
            </p:cNvPr>
            <p:cNvSpPr>
              <a:spLocks noChangeAspect="1" noChangeShapeType="1"/>
            </p:cNvSpPr>
            <p:nvPr/>
          </p:nvSpPr>
          <p:spPr bwMode="auto">
            <a:xfrm flipH="1">
              <a:off x="10306050" y="17932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70" name="Line 1718">
              <a:extLst>
                <a:ext uri="{FF2B5EF4-FFF2-40B4-BE49-F238E27FC236}">
                  <a16:creationId xmlns:a16="http://schemas.microsoft.com/office/drawing/2014/main" id="{C6021A31-F283-428E-AFE4-F521D42F4A0E}"/>
                </a:ext>
              </a:extLst>
            </p:cNvPr>
            <p:cNvSpPr>
              <a:spLocks noChangeAspect="1" noChangeShapeType="1"/>
            </p:cNvSpPr>
            <p:nvPr/>
          </p:nvSpPr>
          <p:spPr bwMode="auto">
            <a:xfrm flipH="1">
              <a:off x="10306050" y="16789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71" name="Line 1719">
              <a:extLst>
                <a:ext uri="{FF2B5EF4-FFF2-40B4-BE49-F238E27FC236}">
                  <a16:creationId xmlns:a16="http://schemas.microsoft.com/office/drawing/2014/main" id="{536D89DD-07BC-4475-B1C3-52775FE55702}"/>
                </a:ext>
              </a:extLst>
            </p:cNvPr>
            <p:cNvSpPr>
              <a:spLocks noChangeAspect="1" noChangeShapeType="1"/>
            </p:cNvSpPr>
            <p:nvPr/>
          </p:nvSpPr>
          <p:spPr bwMode="auto">
            <a:xfrm flipH="1">
              <a:off x="10306050" y="14503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72" name="Line 1720">
              <a:extLst>
                <a:ext uri="{FF2B5EF4-FFF2-40B4-BE49-F238E27FC236}">
                  <a16:creationId xmlns:a16="http://schemas.microsoft.com/office/drawing/2014/main" id="{30B00E74-0094-4FFA-9582-E0F5A205A555}"/>
                </a:ext>
              </a:extLst>
            </p:cNvPr>
            <p:cNvSpPr>
              <a:spLocks noChangeAspect="1" noChangeShapeType="1"/>
            </p:cNvSpPr>
            <p:nvPr/>
          </p:nvSpPr>
          <p:spPr bwMode="auto">
            <a:xfrm flipH="1">
              <a:off x="10306050" y="1336040"/>
              <a:ext cx="19050" cy="1588"/>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73" name="Line 1721">
              <a:extLst>
                <a:ext uri="{FF2B5EF4-FFF2-40B4-BE49-F238E27FC236}">
                  <a16:creationId xmlns:a16="http://schemas.microsoft.com/office/drawing/2014/main" id="{4FE94720-23C8-4A2D-A848-900FC85DD3B5}"/>
                </a:ext>
              </a:extLst>
            </p:cNvPr>
            <p:cNvSpPr>
              <a:spLocks noChangeAspect="1" noChangeShapeType="1"/>
            </p:cNvSpPr>
            <p:nvPr/>
          </p:nvSpPr>
          <p:spPr bwMode="auto">
            <a:xfrm flipH="1">
              <a:off x="10306050" y="1221740"/>
              <a:ext cx="19050"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74" name="Line 1722">
              <a:extLst>
                <a:ext uri="{FF2B5EF4-FFF2-40B4-BE49-F238E27FC236}">
                  <a16:creationId xmlns:a16="http://schemas.microsoft.com/office/drawing/2014/main" id="{902E6B97-8D02-4CF0-8656-BCC7C88C9BBA}"/>
                </a:ext>
              </a:extLst>
            </p:cNvPr>
            <p:cNvSpPr>
              <a:spLocks noChangeAspect="1" noChangeShapeType="1"/>
            </p:cNvSpPr>
            <p:nvPr/>
          </p:nvSpPr>
          <p:spPr bwMode="auto">
            <a:xfrm flipH="1">
              <a:off x="10306050" y="1105854"/>
              <a:ext cx="19050" cy="158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275" name="Freeform 1723">
              <a:extLst>
                <a:ext uri="{FF2B5EF4-FFF2-40B4-BE49-F238E27FC236}">
                  <a16:creationId xmlns:a16="http://schemas.microsoft.com/office/drawing/2014/main" id="{4966E6F5-69AF-4E1C-9E2D-E41C89CF58BB}"/>
                </a:ext>
              </a:extLst>
            </p:cNvPr>
            <p:cNvSpPr>
              <a:spLocks noChangeAspect="1"/>
            </p:cNvSpPr>
            <p:nvPr/>
          </p:nvSpPr>
          <p:spPr bwMode="auto">
            <a:xfrm>
              <a:off x="9563100" y="1709104"/>
              <a:ext cx="338138" cy="376237"/>
            </a:xfrm>
            <a:custGeom>
              <a:avLst/>
              <a:gdLst>
                <a:gd name="T0" fmla="*/ 1321 w 2002"/>
                <a:gd name="T1" fmla="*/ 1668 h 1668"/>
                <a:gd name="T2" fmla="*/ 0 w 2002"/>
                <a:gd name="T3" fmla="*/ 0 h 1668"/>
                <a:gd name="T4" fmla="*/ 782 w 2002"/>
                <a:gd name="T5" fmla="*/ 0 h 1668"/>
                <a:gd name="T6" fmla="*/ 2002 w 2002"/>
                <a:gd name="T7" fmla="*/ 1485 h 1668"/>
                <a:gd name="T8" fmla="*/ 2002 w 2002"/>
                <a:gd name="T9" fmla="*/ 1668 h 1668"/>
                <a:gd name="T10" fmla="*/ 1321 w 2002"/>
                <a:gd name="T11" fmla="*/ 1668 h 1668"/>
              </a:gdLst>
              <a:ahLst/>
              <a:cxnLst>
                <a:cxn ang="0">
                  <a:pos x="T0" y="T1"/>
                </a:cxn>
                <a:cxn ang="0">
                  <a:pos x="T2" y="T3"/>
                </a:cxn>
                <a:cxn ang="0">
                  <a:pos x="T4" y="T5"/>
                </a:cxn>
                <a:cxn ang="0">
                  <a:pos x="T6" y="T7"/>
                </a:cxn>
                <a:cxn ang="0">
                  <a:pos x="T8" y="T9"/>
                </a:cxn>
                <a:cxn ang="0">
                  <a:pos x="T10" y="T11"/>
                </a:cxn>
              </a:cxnLst>
              <a:rect l="0" t="0" r="r" b="b"/>
              <a:pathLst>
                <a:path w="2002" h="1668">
                  <a:moveTo>
                    <a:pt x="1321" y="1668"/>
                  </a:moveTo>
                  <a:lnTo>
                    <a:pt x="0" y="0"/>
                  </a:lnTo>
                  <a:lnTo>
                    <a:pt x="782" y="0"/>
                  </a:lnTo>
                  <a:lnTo>
                    <a:pt x="2002" y="1485"/>
                  </a:lnTo>
                  <a:lnTo>
                    <a:pt x="2002" y="1668"/>
                  </a:lnTo>
                  <a:lnTo>
                    <a:pt x="1321" y="1668"/>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276" name="Freeform 1724">
              <a:extLst>
                <a:ext uri="{FF2B5EF4-FFF2-40B4-BE49-F238E27FC236}">
                  <a16:creationId xmlns:a16="http://schemas.microsoft.com/office/drawing/2014/main" id="{8FFD74BB-4640-435A-9C56-5CEC761342ED}"/>
                </a:ext>
              </a:extLst>
            </p:cNvPr>
            <p:cNvSpPr>
              <a:spLocks noChangeAspect="1"/>
            </p:cNvSpPr>
            <p:nvPr/>
          </p:nvSpPr>
          <p:spPr bwMode="auto">
            <a:xfrm>
              <a:off x="9563100" y="1709104"/>
              <a:ext cx="338138" cy="376237"/>
            </a:xfrm>
            <a:custGeom>
              <a:avLst/>
              <a:gdLst>
                <a:gd name="T0" fmla="*/ 1321 w 2002"/>
                <a:gd name="T1" fmla="*/ 1668 h 1668"/>
                <a:gd name="T2" fmla="*/ 0 w 2002"/>
                <a:gd name="T3" fmla="*/ 0 h 1668"/>
                <a:gd name="T4" fmla="*/ 782 w 2002"/>
                <a:gd name="T5" fmla="*/ 0 h 1668"/>
                <a:gd name="T6" fmla="*/ 2002 w 2002"/>
                <a:gd name="T7" fmla="*/ 1485 h 1668"/>
                <a:gd name="T8" fmla="*/ 2002 w 2002"/>
                <a:gd name="T9" fmla="*/ 1668 h 1668"/>
                <a:gd name="T10" fmla="*/ 1321 w 2002"/>
                <a:gd name="T11" fmla="*/ 1668 h 1668"/>
              </a:gdLst>
              <a:ahLst/>
              <a:cxnLst>
                <a:cxn ang="0">
                  <a:pos x="T0" y="T1"/>
                </a:cxn>
                <a:cxn ang="0">
                  <a:pos x="T2" y="T3"/>
                </a:cxn>
                <a:cxn ang="0">
                  <a:pos x="T4" y="T5"/>
                </a:cxn>
                <a:cxn ang="0">
                  <a:pos x="T6" y="T7"/>
                </a:cxn>
                <a:cxn ang="0">
                  <a:pos x="T8" y="T9"/>
                </a:cxn>
                <a:cxn ang="0">
                  <a:pos x="T10" y="T11"/>
                </a:cxn>
              </a:cxnLst>
              <a:rect l="0" t="0" r="r" b="b"/>
              <a:pathLst>
                <a:path w="2002" h="1668">
                  <a:moveTo>
                    <a:pt x="1321" y="1668"/>
                  </a:moveTo>
                  <a:lnTo>
                    <a:pt x="0" y="0"/>
                  </a:lnTo>
                  <a:lnTo>
                    <a:pt x="782" y="0"/>
                  </a:lnTo>
                  <a:lnTo>
                    <a:pt x="2002" y="1485"/>
                  </a:lnTo>
                  <a:lnTo>
                    <a:pt x="2002" y="1668"/>
                  </a:lnTo>
                  <a:lnTo>
                    <a:pt x="1321" y="1668"/>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277" name="Freeform 1725">
              <a:extLst>
                <a:ext uri="{FF2B5EF4-FFF2-40B4-BE49-F238E27FC236}">
                  <a16:creationId xmlns:a16="http://schemas.microsoft.com/office/drawing/2014/main" id="{82EEB366-452D-4B3B-ACE4-4FDFA572F3F1}"/>
                </a:ext>
              </a:extLst>
            </p:cNvPr>
            <p:cNvSpPr>
              <a:spLocks noChangeAspect="1"/>
            </p:cNvSpPr>
            <p:nvPr/>
          </p:nvSpPr>
          <p:spPr bwMode="auto">
            <a:xfrm>
              <a:off x="9464675" y="3339466"/>
              <a:ext cx="363538" cy="371475"/>
            </a:xfrm>
            <a:custGeom>
              <a:avLst/>
              <a:gdLst>
                <a:gd name="T0" fmla="*/ 0 w 2145"/>
                <a:gd name="T1" fmla="*/ 1649 h 1649"/>
                <a:gd name="T2" fmla="*/ 761 w 2145"/>
                <a:gd name="T3" fmla="*/ 1649 h 1649"/>
                <a:gd name="T4" fmla="*/ 2145 w 2145"/>
                <a:gd name="T5" fmla="*/ 77 h 1649"/>
                <a:gd name="T6" fmla="*/ 2145 w 2145"/>
                <a:gd name="T7" fmla="*/ 0 h 1649"/>
                <a:gd name="T8" fmla="*/ 1453 w 2145"/>
                <a:gd name="T9" fmla="*/ 0 h 1649"/>
                <a:gd name="T10" fmla="*/ 0 w 2145"/>
                <a:gd name="T11" fmla="*/ 1649 h 1649"/>
              </a:gdLst>
              <a:ahLst/>
              <a:cxnLst>
                <a:cxn ang="0">
                  <a:pos x="T0" y="T1"/>
                </a:cxn>
                <a:cxn ang="0">
                  <a:pos x="T2" y="T3"/>
                </a:cxn>
                <a:cxn ang="0">
                  <a:pos x="T4" y="T5"/>
                </a:cxn>
                <a:cxn ang="0">
                  <a:pos x="T6" y="T7"/>
                </a:cxn>
                <a:cxn ang="0">
                  <a:pos x="T8" y="T9"/>
                </a:cxn>
                <a:cxn ang="0">
                  <a:pos x="T10" y="T11"/>
                </a:cxn>
              </a:cxnLst>
              <a:rect l="0" t="0" r="r" b="b"/>
              <a:pathLst>
                <a:path w="2145" h="1649">
                  <a:moveTo>
                    <a:pt x="0" y="1649"/>
                  </a:moveTo>
                  <a:lnTo>
                    <a:pt x="761" y="1649"/>
                  </a:lnTo>
                  <a:lnTo>
                    <a:pt x="2145" y="77"/>
                  </a:lnTo>
                  <a:lnTo>
                    <a:pt x="2145" y="0"/>
                  </a:lnTo>
                  <a:lnTo>
                    <a:pt x="1453" y="0"/>
                  </a:lnTo>
                  <a:lnTo>
                    <a:pt x="0" y="1649"/>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278" name="Freeform 1726">
              <a:extLst>
                <a:ext uri="{FF2B5EF4-FFF2-40B4-BE49-F238E27FC236}">
                  <a16:creationId xmlns:a16="http://schemas.microsoft.com/office/drawing/2014/main" id="{7749751B-A6D3-49D2-A5E8-A7F95AB196A0}"/>
                </a:ext>
              </a:extLst>
            </p:cNvPr>
            <p:cNvSpPr>
              <a:spLocks noChangeAspect="1"/>
            </p:cNvSpPr>
            <p:nvPr/>
          </p:nvSpPr>
          <p:spPr bwMode="auto">
            <a:xfrm>
              <a:off x="9464675" y="3339466"/>
              <a:ext cx="363538" cy="371475"/>
            </a:xfrm>
            <a:custGeom>
              <a:avLst/>
              <a:gdLst>
                <a:gd name="T0" fmla="*/ 0 w 2145"/>
                <a:gd name="T1" fmla="*/ 1649 h 1649"/>
                <a:gd name="T2" fmla="*/ 761 w 2145"/>
                <a:gd name="T3" fmla="*/ 1649 h 1649"/>
                <a:gd name="T4" fmla="*/ 2145 w 2145"/>
                <a:gd name="T5" fmla="*/ 77 h 1649"/>
                <a:gd name="T6" fmla="*/ 2145 w 2145"/>
                <a:gd name="T7" fmla="*/ 0 h 1649"/>
                <a:gd name="T8" fmla="*/ 1453 w 2145"/>
                <a:gd name="T9" fmla="*/ 0 h 1649"/>
                <a:gd name="T10" fmla="*/ 0 w 2145"/>
                <a:gd name="T11" fmla="*/ 1649 h 1649"/>
              </a:gdLst>
              <a:ahLst/>
              <a:cxnLst>
                <a:cxn ang="0">
                  <a:pos x="T0" y="T1"/>
                </a:cxn>
                <a:cxn ang="0">
                  <a:pos x="T2" y="T3"/>
                </a:cxn>
                <a:cxn ang="0">
                  <a:pos x="T4" y="T5"/>
                </a:cxn>
                <a:cxn ang="0">
                  <a:pos x="T6" y="T7"/>
                </a:cxn>
                <a:cxn ang="0">
                  <a:pos x="T8" y="T9"/>
                </a:cxn>
                <a:cxn ang="0">
                  <a:pos x="T10" y="T11"/>
                </a:cxn>
              </a:cxnLst>
              <a:rect l="0" t="0" r="r" b="b"/>
              <a:pathLst>
                <a:path w="2145" h="1649">
                  <a:moveTo>
                    <a:pt x="0" y="1649"/>
                  </a:moveTo>
                  <a:lnTo>
                    <a:pt x="761" y="1649"/>
                  </a:lnTo>
                  <a:lnTo>
                    <a:pt x="2145" y="77"/>
                  </a:lnTo>
                  <a:lnTo>
                    <a:pt x="2145" y="0"/>
                  </a:lnTo>
                  <a:lnTo>
                    <a:pt x="1453" y="0"/>
                  </a:lnTo>
                  <a:lnTo>
                    <a:pt x="0" y="164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279" name="Freeform 1727">
              <a:extLst>
                <a:ext uri="{FF2B5EF4-FFF2-40B4-BE49-F238E27FC236}">
                  <a16:creationId xmlns:a16="http://schemas.microsoft.com/office/drawing/2014/main" id="{E88EB31B-0D6A-4200-9334-839AF7A534F8}"/>
                </a:ext>
              </a:extLst>
            </p:cNvPr>
            <p:cNvSpPr>
              <a:spLocks noChangeAspect="1"/>
            </p:cNvSpPr>
            <p:nvPr/>
          </p:nvSpPr>
          <p:spPr bwMode="auto">
            <a:xfrm>
              <a:off x="8480425" y="3487104"/>
              <a:ext cx="109538" cy="92075"/>
            </a:xfrm>
            <a:custGeom>
              <a:avLst/>
              <a:gdLst>
                <a:gd name="T0" fmla="*/ 646 w 646"/>
                <a:gd name="T1" fmla="*/ 407 h 407"/>
                <a:gd name="T2" fmla="*/ 646 w 646"/>
                <a:gd name="T3" fmla="*/ 0 h 407"/>
                <a:gd name="T4" fmla="*/ 496 w 646"/>
                <a:gd name="T5" fmla="*/ 0 h 407"/>
                <a:gd name="T6" fmla="*/ 496 w 646"/>
                <a:gd name="T7" fmla="*/ 126 h 407"/>
                <a:gd name="T8" fmla="*/ 0 w 646"/>
                <a:gd name="T9" fmla="*/ 126 h 407"/>
                <a:gd name="T10" fmla="*/ 0 w 646"/>
                <a:gd name="T11" fmla="*/ 229 h 407"/>
                <a:gd name="T12" fmla="*/ 496 w 646"/>
                <a:gd name="T13" fmla="*/ 229 h 407"/>
                <a:gd name="T14" fmla="*/ 496 w 646"/>
                <a:gd name="T15" fmla="*/ 407 h 407"/>
                <a:gd name="T16" fmla="*/ 646 w 646"/>
                <a:gd name="T17" fmla="*/ 40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07">
                  <a:moveTo>
                    <a:pt x="646" y="407"/>
                  </a:moveTo>
                  <a:lnTo>
                    <a:pt x="646" y="0"/>
                  </a:lnTo>
                  <a:lnTo>
                    <a:pt x="496" y="0"/>
                  </a:lnTo>
                  <a:lnTo>
                    <a:pt x="496" y="126"/>
                  </a:lnTo>
                  <a:lnTo>
                    <a:pt x="0" y="126"/>
                  </a:lnTo>
                  <a:lnTo>
                    <a:pt x="0" y="229"/>
                  </a:lnTo>
                  <a:lnTo>
                    <a:pt x="496" y="229"/>
                  </a:lnTo>
                  <a:lnTo>
                    <a:pt x="496" y="407"/>
                  </a:lnTo>
                  <a:lnTo>
                    <a:pt x="646" y="407"/>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280" name="Freeform 1728">
              <a:extLst>
                <a:ext uri="{FF2B5EF4-FFF2-40B4-BE49-F238E27FC236}">
                  <a16:creationId xmlns:a16="http://schemas.microsoft.com/office/drawing/2014/main" id="{2BD4E22F-1678-4493-81A4-07B5223E4503}"/>
                </a:ext>
              </a:extLst>
            </p:cNvPr>
            <p:cNvSpPr>
              <a:spLocks noChangeAspect="1"/>
            </p:cNvSpPr>
            <p:nvPr/>
          </p:nvSpPr>
          <p:spPr bwMode="auto">
            <a:xfrm>
              <a:off x="8480425" y="3487104"/>
              <a:ext cx="109538" cy="92075"/>
            </a:xfrm>
            <a:custGeom>
              <a:avLst/>
              <a:gdLst>
                <a:gd name="T0" fmla="*/ 646 w 646"/>
                <a:gd name="T1" fmla="*/ 407 h 407"/>
                <a:gd name="T2" fmla="*/ 646 w 646"/>
                <a:gd name="T3" fmla="*/ 0 h 407"/>
                <a:gd name="T4" fmla="*/ 496 w 646"/>
                <a:gd name="T5" fmla="*/ 0 h 407"/>
                <a:gd name="T6" fmla="*/ 496 w 646"/>
                <a:gd name="T7" fmla="*/ 126 h 407"/>
                <a:gd name="T8" fmla="*/ 0 w 646"/>
                <a:gd name="T9" fmla="*/ 126 h 407"/>
                <a:gd name="T10" fmla="*/ 0 w 646"/>
                <a:gd name="T11" fmla="*/ 229 h 407"/>
                <a:gd name="T12" fmla="*/ 496 w 646"/>
                <a:gd name="T13" fmla="*/ 229 h 407"/>
                <a:gd name="T14" fmla="*/ 496 w 646"/>
                <a:gd name="T15" fmla="*/ 407 h 407"/>
                <a:gd name="T16" fmla="*/ 646 w 646"/>
                <a:gd name="T17" fmla="*/ 40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407">
                  <a:moveTo>
                    <a:pt x="646" y="407"/>
                  </a:moveTo>
                  <a:lnTo>
                    <a:pt x="646" y="0"/>
                  </a:lnTo>
                  <a:lnTo>
                    <a:pt x="496" y="0"/>
                  </a:lnTo>
                  <a:lnTo>
                    <a:pt x="496" y="126"/>
                  </a:lnTo>
                  <a:lnTo>
                    <a:pt x="0" y="126"/>
                  </a:lnTo>
                  <a:lnTo>
                    <a:pt x="0" y="229"/>
                  </a:lnTo>
                  <a:lnTo>
                    <a:pt x="496" y="229"/>
                  </a:lnTo>
                  <a:lnTo>
                    <a:pt x="496" y="407"/>
                  </a:lnTo>
                  <a:lnTo>
                    <a:pt x="646" y="407"/>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281" name="Freeform 1729">
              <a:extLst>
                <a:ext uri="{FF2B5EF4-FFF2-40B4-BE49-F238E27FC236}">
                  <a16:creationId xmlns:a16="http://schemas.microsoft.com/office/drawing/2014/main" id="{BE3F08DF-D12A-4102-9D55-CEC97FC7FF3A}"/>
                </a:ext>
              </a:extLst>
            </p:cNvPr>
            <p:cNvSpPr>
              <a:spLocks noChangeAspect="1"/>
            </p:cNvSpPr>
            <p:nvPr/>
          </p:nvSpPr>
          <p:spPr bwMode="auto">
            <a:xfrm>
              <a:off x="8515350" y="1826579"/>
              <a:ext cx="153988" cy="1552575"/>
            </a:xfrm>
            <a:custGeom>
              <a:avLst/>
              <a:gdLst>
                <a:gd name="T0" fmla="*/ 472 w 911"/>
                <a:gd name="T1" fmla="*/ 6904 h 6904"/>
                <a:gd name="T2" fmla="*/ 368 w 911"/>
                <a:gd name="T3" fmla="*/ 6563 h 6904"/>
                <a:gd name="T4" fmla="*/ 277 w 911"/>
                <a:gd name="T5" fmla="*/ 6219 h 6904"/>
                <a:gd name="T6" fmla="*/ 200 w 911"/>
                <a:gd name="T7" fmla="*/ 5875 h 6904"/>
                <a:gd name="T8" fmla="*/ 134 w 911"/>
                <a:gd name="T9" fmla="*/ 5528 h 6904"/>
                <a:gd name="T10" fmla="*/ 81 w 911"/>
                <a:gd name="T11" fmla="*/ 5180 h 6904"/>
                <a:gd name="T12" fmla="*/ 42 w 911"/>
                <a:gd name="T13" fmla="*/ 4832 h 6904"/>
                <a:gd name="T14" fmla="*/ 15 w 911"/>
                <a:gd name="T15" fmla="*/ 4482 h 6904"/>
                <a:gd name="T16" fmla="*/ 2 w 911"/>
                <a:gd name="T17" fmla="*/ 4133 h 6904"/>
                <a:gd name="T18" fmla="*/ 0 w 911"/>
                <a:gd name="T19" fmla="*/ 3783 h 6904"/>
                <a:gd name="T20" fmla="*/ 13 w 911"/>
                <a:gd name="T21" fmla="*/ 3433 h 6904"/>
                <a:gd name="T22" fmla="*/ 38 w 911"/>
                <a:gd name="T23" fmla="*/ 3084 h 6904"/>
                <a:gd name="T24" fmla="*/ 75 w 911"/>
                <a:gd name="T25" fmla="*/ 2735 h 6904"/>
                <a:gd name="T26" fmla="*/ 125 w 911"/>
                <a:gd name="T27" fmla="*/ 2388 h 6904"/>
                <a:gd name="T28" fmla="*/ 188 w 911"/>
                <a:gd name="T29" fmla="*/ 2041 h 6904"/>
                <a:gd name="T30" fmla="*/ 265 w 911"/>
                <a:gd name="T31" fmla="*/ 1696 h 6904"/>
                <a:gd name="T32" fmla="*/ 354 w 911"/>
                <a:gd name="T33" fmla="*/ 1352 h 6904"/>
                <a:gd name="T34" fmla="*/ 455 w 911"/>
                <a:gd name="T35" fmla="*/ 1011 h 6904"/>
                <a:gd name="T36" fmla="*/ 569 w 911"/>
                <a:gd name="T37" fmla="*/ 671 h 6904"/>
                <a:gd name="T38" fmla="*/ 695 w 911"/>
                <a:gd name="T39" fmla="*/ 335 h 6904"/>
                <a:gd name="T40" fmla="*/ 833 w 911"/>
                <a:gd name="T41" fmla="*/ 0 h 6904"/>
                <a:gd name="T42" fmla="*/ 911 w 911"/>
                <a:gd name="T43" fmla="*/ 19 h 6904"/>
                <a:gd name="T44" fmla="*/ 773 w 911"/>
                <a:gd name="T45" fmla="*/ 351 h 6904"/>
                <a:gd name="T46" fmla="*/ 647 w 911"/>
                <a:gd name="T47" fmla="*/ 687 h 6904"/>
                <a:gd name="T48" fmla="*/ 534 w 911"/>
                <a:gd name="T49" fmla="*/ 1024 h 6904"/>
                <a:gd name="T50" fmla="*/ 434 w 911"/>
                <a:gd name="T51" fmla="*/ 1365 h 6904"/>
                <a:gd name="T52" fmla="*/ 345 w 911"/>
                <a:gd name="T53" fmla="*/ 1706 h 6904"/>
                <a:gd name="T54" fmla="*/ 269 w 911"/>
                <a:gd name="T55" fmla="*/ 2050 h 6904"/>
                <a:gd name="T56" fmla="*/ 206 w 911"/>
                <a:gd name="T57" fmla="*/ 2395 h 6904"/>
                <a:gd name="T58" fmla="*/ 157 w 911"/>
                <a:gd name="T59" fmla="*/ 2742 h 6904"/>
                <a:gd name="T60" fmla="*/ 120 w 911"/>
                <a:gd name="T61" fmla="*/ 3088 h 6904"/>
                <a:gd name="T62" fmla="*/ 95 w 911"/>
                <a:gd name="T63" fmla="*/ 3436 h 6904"/>
                <a:gd name="T64" fmla="*/ 83 w 911"/>
                <a:gd name="T65" fmla="*/ 3784 h 6904"/>
                <a:gd name="T66" fmla="*/ 84 w 911"/>
                <a:gd name="T67" fmla="*/ 4132 h 6904"/>
                <a:gd name="T68" fmla="*/ 97 w 911"/>
                <a:gd name="T69" fmla="*/ 4480 h 6904"/>
                <a:gd name="T70" fmla="*/ 124 w 911"/>
                <a:gd name="T71" fmla="*/ 4827 h 6904"/>
                <a:gd name="T72" fmla="*/ 164 w 911"/>
                <a:gd name="T73" fmla="*/ 5174 h 6904"/>
                <a:gd name="T74" fmla="*/ 215 w 911"/>
                <a:gd name="T75" fmla="*/ 5521 h 6904"/>
                <a:gd name="T76" fmla="*/ 281 w 911"/>
                <a:gd name="T77" fmla="*/ 5865 h 6904"/>
                <a:gd name="T78" fmla="*/ 358 w 911"/>
                <a:gd name="T79" fmla="*/ 6208 h 6904"/>
                <a:gd name="T80" fmla="*/ 448 w 911"/>
                <a:gd name="T81" fmla="*/ 6550 h 6904"/>
                <a:gd name="T82" fmla="*/ 551 w 911"/>
                <a:gd name="T83" fmla="*/ 6889 h 6904"/>
                <a:gd name="T84" fmla="*/ 472 w 911"/>
                <a:gd name="T85" fmla="*/ 6904 h 6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1" h="6904">
                  <a:moveTo>
                    <a:pt x="472" y="6904"/>
                  </a:moveTo>
                  <a:lnTo>
                    <a:pt x="368" y="6563"/>
                  </a:lnTo>
                  <a:lnTo>
                    <a:pt x="277" y="6219"/>
                  </a:lnTo>
                  <a:lnTo>
                    <a:pt x="200" y="5875"/>
                  </a:lnTo>
                  <a:lnTo>
                    <a:pt x="134" y="5528"/>
                  </a:lnTo>
                  <a:lnTo>
                    <a:pt x="81" y="5180"/>
                  </a:lnTo>
                  <a:lnTo>
                    <a:pt x="42" y="4832"/>
                  </a:lnTo>
                  <a:lnTo>
                    <a:pt x="15" y="4482"/>
                  </a:lnTo>
                  <a:lnTo>
                    <a:pt x="2" y="4133"/>
                  </a:lnTo>
                  <a:lnTo>
                    <a:pt x="0" y="3783"/>
                  </a:lnTo>
                  <a:lnTo>
                    <a:pt x="13" y="3433"/>
                  </a:lnTo>
                  <a:lnTo>
                    <a:pt x="38" y="3084"/>
                  </a:lnTo>
                  <a:lnTo>
                    <a:pt x="75" y="2735"/>
                  </a:lnTo>
                  <a:lnTo>
                    <a:pt x="125" y="2388"/>
                  </a:lnTo>
                  <a:lnTo>
                    <a:pt x="188" y="2041"/>
                  </a:lnTo>
                  <a:lnTo>
                    <a:pt x="265" y="1696"/>
                  </a:lnTo>
                  <a:lnTo>
                    <a:pt x="354" y="1352"/>
                  </a:lnTo>
                  <a:lnTo>
                    <a:pt x="455" y="1011"/>
                  </a:lnTo>
                  <a:lnTo>
                    <a:pt x="569" y="671"/>
                  </a:lnTo>
                  <a:lnTo>
                    <a:pt x="695" y="335"/>
                  </a:lnTo>
                  <a:lnTo>
                    <a:pt x="833" y="0"/>
                  </a:lnTo>
                  <a:lnTo>
                    <a:pt x="911" y="19"/>
                  </a:lnTo>
                  <a:lnTo>
                    <a:pt x="773" y="351"/>
                  </a:lnTo>
                  <a:lnTo>
                    <a:pt x="647" y="687"/>
                  </a:lnTo>
                  <a:lnTo>
                    <a:pt x="534" y="1024"/>
                  </a:lnTo>
                  <a:lnTo>
                    <a:pt x="434" y="1365"/>
                  </a:lnTo>
                  <a:lnTo>
                    <a:pt x="345" y="1706"/>
                  </a:lnTo>
                  <a:lnTo>
                    <a:pt x="269" y="2050"/>
                  </a:lnTo>
                  <a:lnTo>
                    <a:pt x="206" y="2395"/>
                  </a:lnTo>
                  <a:lnTo>
                    <a:pt x="157" y="2742"/>
                  </a:lnTo>
                  <a:lnTo>
                    <a:pt x="120" y="3088"/>
                  </a:lnTo>
                  <a:lnTo>
                    <a:pt x="95" y="3436"/>
                  </a:lnTo>
                  <a:lnTo>
                    <a:pt x="83" y="3784"/>
                  </a:lnTo>
                  <a:lnTo>
                    <a:pt x="84" y="4132"/>
                  </a:lnTo>
                  <a:lnTo>
                    <a:pt x="97" y="4480"/>
                  </a:lnTo>
                  <a:lnTo>
                    <a:pt x="124" y="4827"/>
                  </a:lnTo>
                  <a:lnTo>
                    <a:pt x="164" y="5174"/>
                  </a:lnTo>
                  <a:lnTo>
                    <a:pt x="215" y="5521"/>
                  </a:lnTo>
                  <a:lnTo>
                    <a:pt x="281" y="5865"/>
                  </a:lnTo>
                  <a:lnTo>
                    <a:pt x="358" y="6208"/>
                  </a:lnTo>
                  <a:lnTo>
                    <a:pt x="448" y="6550"/>
                  </a:lnTo>
                  <a:lnTo>
                    <a:pt x="551" y="6889"/>
                  </a:lnTo>
                  <a:lnTo>
                    <a:pt x="472" y="6904"/>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282" name="Freeform 1730">
              <a:extLst>
                <a:ext uri="{FF2B5EF4-FFF2-40B4-BE49-F238E27FC236}">
                  <a16:creationId xmlns:a16="http://schemas.microsoft.com/office/drawing/2014/main" id="{8BC1658B-F56D-44B4-BCC4-69DDA420CD5E}"/>
                </a:ext>
              </a:extLst>
            </p:cNvPr>
            <p:cNvSpPr>
              <a:spLocks noChangeAspect="1"/>
            </p:cNvSpPr>
            <p:nvPr/>
          </p:nvSpPr>
          <p:spPr bwMode="auto">
            <a:xfrm>
              <a:off x="8515350" y="1826579"/>
              <a:ext cx="153988" cy="1552575"/>
            </a:xfrm>
            <a:custGeom>
              <a:avLst/>
              <a:gdLst>
                <a:gd name="T0" fmla="*/ 472 w 911"/>
                <a:gd name="T1" fmla="*/ 6904 h 6904"/>
                <a:gd name="T2" fmla="*/ 368 w 911"/>
                <a:gd name="T3" fmla="*/ 6563 h 6904"/>
                <a:gd name="T4" fmla="*/ 277 w 911"/>
                <a:gd name="T5" fmla="*/ 6219 h 6904"/>
                <a:gd name="T6" fmla="*/ 200 w 911"/>
                <a:gd name="T7" fmla="*/ 5875 h 6904"/>
                <a:gd name="T8" fmla="*/ 134 w 911"/>
                <a:gd name="T9" fmla="*/ 5528 h 6904"/>
                <a:gd name="T10" fmla="*/ 81 w 911"/>
                <a:gd name="T11" fmla="*/ 5180 h 6904"/>
                <a:gd name="T12" fmla="*/ 42 w 911"/>
                <a:gd name="T13" fmla="*/ 4832 h 6904"/>
                <a:gd name="T14" fmla="*/ 15 w 911"/>
                <a:gd name="T15" fmla="*/ 4482 h 6904"/>
                <a:gd name="T16" fmla="*/ 2 w 911"/>
                <a:gd name="T17" fmla="*/ 4133 h 6904"/>
                <a:gd name="T18" fmla="*/ 0 w 911"/>
                <a:gd name="T19" fmla="*/ 3783 h 6904"/>
                <a:gd name="T20" fmla="*/ 13 w 911"/>
                <a:gd name="T21" fmla="*/ 3433 h 6904"/>
                <a:gd name="T22" fmla="*/ 38 w 911"/>
                <a:gd name="T23" fmla="*/ 3084 h 6904"/>
                <a:gd name="T24" fmla="*/ 75 w 911"/>
                <a:gd name="T25" fmla="*/ 2735 h 6904"/>
                <a:gd name="T26" fmla="*/ 125 w 911"/>
                <a:gd name="T27" fmla="*/ 2388 h 6904"/>
                <a:gd name="T28" fmla="*/ 188 w 911"/>
                <a:gd name="T29" fmla="*/ 2041 h 6904"/>
                <a:gd name="T30" fmla="*/ 265 w 911"/>
                <a:gd name="T31" fmla="*/ 1696 h 6904"/>
                <a:gd name="T32" fmla="*/ 354 w 911"/>
                <a:gd name="T33" fmla="*/ 1352 h 6904"/>
                <a:gd name="T34" fmla="*/ 455 w 911"/>
                <a:gd name="T35" fmla="*/ 1011 h 6904"/>
                <a:gd name="T36" fmla="*/ 569 w 911"/>
                <a:gd name="T37" fmla="*/ 671 h 6904"/>
                <a:gd name="T38" fmla="*/ 695 w 911"/>
                <a:gd name="T39" fmla="*/ 335 h 6904"/>
                <a:gd name="T40" fmla="*/ 833 w 911"/>
                <a:gd name="T41" fmla="*/ 0 h 6904"/>
                <a:gd name="T42" fmla="*/ 911 w 911"/>
                <a:gd name="T43" fmla="*/ 19 h 6904"/>
                <a:gd name="T44" fmla="*/ 773 w 911"/>
                <a:gd name="T45" fmla="*/ 351 h 6904"/>
                <a:gd name="T46" fmla="*/ 647 w 911"/>
                <a:gd name="T47" fmla="*/ 687 h 6904"/>
                <a:gd name="T48" fmla="*/ 534 w 911"/>
                <a:gd name="T49" fmla="*/ 1024 h 6904"/>
                <a:gd name="T50" fmla="*/ 434 w 911"/>
                <a:gd name="T51" fmla="*/ 1365 h 6904"/>
                <a:gd name="T52" fmla="*/ 345 w 911"/>
                <a:gd name="T53" fmla="*/ 1706 h 6904"/>
                <a:gd name="T54" fmla="*/ 269 w 911"/>
                <a:gd name="T55" fmla="*/ 2050 h 6904"/>
                <a:gd name="T56" fmla="*/ 206 w 911"/>
                <a:gd name="T57" fmla="*/ 2395 h 6904"/>
                <a:gd name="T58" fmla="*/ 157 w 911"/>
                <a:gd name="T59" fmla="*/ 2742 h 6904"/>
                <a:gd name="T60" fmla="*/ 120 w 911"/>
                <a:gd name="T61" fmla="*/ 3088 h 6904"/>
                <a:gd name="T62" fmla="*/ 95 w 911"/>
                <a:gd name="T63" fmla="*/ 3436 h 6904"/>
                <a:gd name="T64" fmla="*/ 83 w 911"/>
                <a:gd name="T65" fmla="*/ 3784 h 6904"/>
                <a:gd name="T66" fmla="*/ 84 w 911"/>
                <a:gd name="T67" fmla="*/ 4132 h 6904"/>
                <a:gd name="T68" fmla="*/ 97 w 911"/>
                <a:gd name="T69" fmla="*/ 4480 h 6904"/>
                <a:gd name="T70" fmla="*/ 124 w 911"/>
                <a:gd name="T71" fmla="*/ 4827 h 6904"/>
                <a:gd name="T72" fmla="*/ 164 w 911"/>
                <a:gd name="T73" fmla="*/ 5174 h 6904"/>
                <a:gd name="T74" fmla="*/ 215 w 911"/>
                <a:gd name="T75" fmla="*/ 5521 h 6904"/>
                <a:gd name="T76" fmla="*/ 281 w 911"/>
                <a:gd name="T77" fmla="*/ 5865 h 6904"/>
                <a:gd name="T78" fmla="*/ 358 w 911"/>
                <a:gd name="T79" fmla="*/ 6208 h 6904"/>
                <a:gd name="T80" fmla="*/ 448 w 911"/>
                <a:gd name="T81" fmla="*/ 6550 h 6904"/>
                <a:gd name="T82" fmla="*/ 551 w 911"/>
                <a:gd name="T83" fmla="*/ 6889 h 6904"/>
                <a:gd name="T84" fmla="*/ 472 w 911"/>
                <a:gd name="T85" fmla="*/ 6904 h 6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11" h="6904">
                  <a:moveTo>
                    <a:pt x="472" y="6904"/>
                  </a:moveTo>
                  <a:lnTo>
                    <a:pt x="368" y="6563"/>
                  </a:lnTo>
                  <a:lnTo>
                    <a:pt x="277" y="6219"/>
                  </a:lnTo>
                  <a:lnTo>
                    <a:pt x="200" y="5875"/>
                  </a:lnTo>
                  <a:lnTo>
                    <a:pt x="134" y="5528"/>
                  </a:lnTo>
                  <a:lnTo>
                    <a:pt x="81" y="5180"/>
                  </a:lnTo>
                  <a:lnTo>
                    <a:pt x="42" y="4832"/>
                  </a:lnTo>
                  <a:lnTo>
                    <a:pt x="15" y="4482"/>
                  </a:lnTo>
                  <a:lnTo>
                    <a:pt x="2" y="4133"/>
                  </a:lnTo>
                  <a:lnTo>
                    <a:pt x="0" y="3783"/>
                  </a:lnTo>
                  <a:lnTo>
                    <a:pt x="13" y="3433"/>
                  </a:lnTo>
                  <a:lnTo>
                    <a:pt x="38" y="3084"/>
                  </a:lnTo>
                  <a:lnTo>
                    <a:pt x="75" y="2735"/>
                  </a:lnTo>
                  <a:lnTo>
                    <a:pt x="125" y="2388"/>
                  </a:lnTo>
                  <a:lnTo>
                    <a:pt x="188" y="2041"/>
                  </a:lnTo>
                  <a:lnTo>
                    <a:pt x="265" y="1696"/>
                  </a:lnTo>
                  <a:lnTo>
                    <a:pt x="354" y="1352"/>
                  </a:lnTo>
                  <a:lnTo>
                    <a:pt x="455" y="1011"/>
                  </a:lnTo>
                  <a:lnTo>
                    <a:pt x="569" y="671"/>
                  </a:lnTo>
                  <a:lnTo>
                    <a:pt x="695" y="335"/>
                  </a:lnTo>
                  <a:lnTo>
                    <a:pt x="833" y="0"/>
                  </a:lnTo>
                  <a:lnTo>
                    <a:pt x="911" y="19"/>
                  </a:lnTo>
                  <a:lnTo>
                    <a:pt x="773" y="351"/>
                  </a:lnTo>
                  <a:lnTo>
                    <a:pt x="647" y="687"/>
                  </a:lnTo>
                  <a:lnTo>
                    <a:pt x="534" y="1024"/>
                  </a:lnTo>
                  <a:lnTo>
                    <a:pt x="434" y="1365"/>
                  </a:lnTo>
                  <a:lnTo>
                    <a:pt x="345" y="1706"/>
                  </a:lnTo>
                  <a:lnTo>
                    <a:pt x="269" y="2050"/>
                  </a:lnTo>
                  <a:lnTo>
                    <a:pt x="206" y="2395"/>
                  </a:lnTo>
                  <a:lnTo>
                    <a:pt x="157" y="2742"/>
                  </a:lnTo>
                  <a:lnTo>
                    <a:pt x="120" y="3088"/>
                  </a:lnTo>
                  <a:lnTo>
                    <a:pt x="95" y="3436"/>
                  </a:lnTo>
                  <a:lnTo>
                    <a:pt x="83" y="3784"/>
                  </a:lnTo>
                  <a:lnTo>
                    <a:pt x="84" y="4132"/>
                  </a:lnTo>
                  <a:lnTo>
                    <a:pt x="97" y="4480"/>
                  </a:lnTo>
                  <a:lnTo>
                    <a:pt x="124" y="4827"/>
                  </a:lnTo>
                  <a:lnTo>
                    <a:pt x="164" y="5174"/>
                  </a:lnTo>
                  <a:lnTo>
                    <a:pt x="215" y="5521"/>
                  </a:lnTo>
                  <a:lnTo>
                    <a:pt x="281" y="5865"/>
                  </a:lnTo>
                  <a:lnTo>
                    <a:pt x="358" y="6208"/>
                  </a:lnTo>
                  <a:lnTo>
                    <a:pt x="448" y="6550"/>
                  </a:lnTo>
                  <a:lnTo>
                    <a:pt x="551" y="6889"/>
                  </a:lnTo>
                  <a:lnTo>
                    <a:pt x="472" y="6904"/>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283" name="Freeform 1731">
              <a:extLst>
                <a:ext uri="{FF2B5EF4-FFF2-40B4-BE49-F238E27FC236}">
                  <a16:creationId xmlns:a16="http://schemas.microsoft.com/office/drawing/2014/main" id="{CEA35F07-5704-4778-AE4A-7183299E919B}"/>
                </a:ext>
              </a:extLst>
            </p:cNvPr>
            <p:cNvSpPr>
              <a:spLocks noChangeAspect="1"/>
            </p:cNvSpPr>
            <p:nvPr/>
          </p:nvSpPr>
          <p:spPr bwMode="auto">
            <a:xfrm>
              <a:off x="9640888" y="2107566"/>
              <a:ext cx="684212" cy="1211263"/>
            </a:xfrm>
            <a:custGeom>
              <a:avLst/>
              <a:gdLst>
                <a:gd name="T0" fmla="*/ 4061 w 4061"/>
                <a:gd name="T1" fmla="*/ 0 h 5379"/>
                <a:gd name="T2" fmla="*/ 919 w 4061"/>
                <a:gd name="T3" fmla="*/ 0 h 5379"/>
                <a:gd name="T4" fmla="*/ 905 w 4061"/>
                <a:gd name="T5" fmla="*/ 5 h 5379"/>
                <a:gd name="T6" fmla="*/ 877 w 4061"/>
                <a:gd name="T7" fmla="*/ 11 h 5379"/>
                <a:gd name="T8" fmla="*/ 857 w 4061"/>
                <a:gd name="T9" fmla="*/ 26 h 5379"/>
                <a:gd name="T10" fmla="*/ 850 w 4061"/>
                <a:gd name="T11" fmla="*/ 41 h 5379"/>
                <a:gd name="T12" fmla="*/ 857 w 4061"/>
                <a:gd name="T13" fmla="*/ 67 h 5379"/>
                <a:gd name="T14" fmla="*/ 856 w 4061"/>
                <a:gd name="T15" fmla="*/ 68 h 5379"/>
                <a:gd name="T16" fmla="*/ 1007 w 4061"/>
                <a:gd name="T17" fmla="*/ 380 h 5379"/>
                <a:gd name="T18" fmla="*/ 1132 w 4061"/>
                <a:gd name="T19" fmla="*/ 699 h 5379"/>
                <a:gd name="T20" fmla="*/ 1231 w 4061"/>
                <a:gd name="T21" fmla="*/ 1022 h 5379"/>
                <a:gd name="T22" fmla="*/ 1303 w 4061"/>
                <a:gd name="T23" fmla="*/ 1350 h 5379"/>
                <a:gd name="T24" fmla="*/ 1347 w 4061"/>
                <a:gd name="T25" fmla="*/ 1680 h 5379"/>
                <a:gd name="T26" fmla="*/ 1364 w 4061"/>
                <a:gd name="T27" fmla="*/ 2011 h 5379"/>
                <a:gd name="T28" fmla="*/ 1352 w 4061"/>
                <a:gd name="T29" fmla="*/ 2344 h 5379"/>
                <a:gd name="T30" fmla="*/ 1313 w 4061"/>
                <a:gd name="T31" fmla="*/ 2674 h 5379"/>
                <a:gd name="T32" fmla="*/ 1246 w 4061"/>
                <a:gd name="T33" fmla="*/ 3003 h 5379"/>
                <a:gd name="T34" fmla="*/ 1153 w 4061"/>
                <a:gd name="T35" fmla="*/ 3327 h 5379"/>
                <a:gd name="T36" fmla="*/ 1031 w 4061"/>
                <a:gd name="T37" fmla="*/ 3646 h 5379"/>
                <a:gd name="T38" fmla="*/ 884 w 4061"/>
                <a:gd name="T39" fmla="*/ 3960 h 5379"/>
                <a:gd name="T40" fmla="*/ 710 w 4061"/>
                <a:gd name="T41" fmla="*/ 4266 h 5379"/>
                <a:gd name="T42" fmla="*/ 511 w 4061"/>
                <a:gd name="T43" fmla="*/ 4562 h 5379"/>
                <a:gd name="T44" fmla="*/ 288 w 4061"/>
                <a:gd name="T45" fmla="*/ 4850 h 5379"/>
                <a:gd name="T46" fmla="*/ 42 w 4061"/>
                <a:gd name="T47" fmla="*/ 5126 h 5379"/>
                <a:gd name="T48" fmla="*/ 43 w 4061"/>
                <a:gd name="T49" fmla="*/ 5132 h 5379"/>
                <a:gd name="T50" fmla="*/ 14 w 4061"/>
                <a:gd name="T51" fmla="*/ 5169 h 5379"/>
                <a:gd name="T52" fmla="*/ 0 w 4061"/>
                <a:gd name="T53" fmla="*/ 5210 h 5379"/>
                <a:gd name="T54" fmla="*/ 3 w 4061"/>
                <a:gd name="T55" fmla="*/ 5252 h 5379"/>
                <a:gd name="T56" fmla="*/ 21 w 4061"/>
                <a:gd name="T57" fmla="*/ 5293 h 5379"/>
                <a:gd name="T58" fmla="*/ 52 w 4061"/>
                <a:gd name="T59" fmla="*/ 5328 h 5379"/>
                <a:gd name="T60" fmla="*/ 96 w 4061"/>
                <a:gd name="T61" fmla="*/ 5355 h 5379"/>
                <a:gd name="T62" fmla="*/ 148 w 4061"/>
                <a:gd name="T63" fmla="*/ 5373 h 5379"/>
                <a:gd name="T64" fmla="*/ 204 w 4061"/>
                <a:gd name="T65" fmla="*/ 5379 h 5379"/>
                <a:gd name="T66" fmla="*/ 263 w 4061"/>
                <a:gd name="T67" fmla="*/ 5379 h 5379"/>
                <a:gd name="T68" fmla="*/ 4061 w 4061"/>
                <a:gd name="T69" fmla="*/ 5379 h 5379"/>
                <a:gd name="T70" fmla="*/ 4061 w 4061"/>
                <a:gd name="T71" fmla="*/ 0 h 5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61" h="5379">
                  <a:moveTo>
                    <a:pt x="4061" y="0"/>
                  </a:moveTo>
                  <a:lnTo>
                    <a:pt x="919" y="0"/>
                  </a:lnTo>
                  <a:lnTo>
                    <a:pt x="905" y="5"/>
                  </a:lnTo>
                  <a:lnTo>
                    <a:pt x="877" y="11"/>
                  </a:lnTo>
                  <a:lnTo>
                    <a:pt x="857" y="26"/>
                  </a:lnTo>
                  <a:lnTo>
                    <a:pt x="850" y="41"/>
                  </a:lnTo>
                  <a:lnTo>
                    <a:pt x="857" y="67"/>
                  </a:lnTo>
                  <a:lnTo>
                    <a:pt x="856" y="68"/>
                  </a:lnTo>
                  <a:lnTo>
                    <a:pt x="1007" y="380"/>
                  </a:lnTo>
                  <a:lnTo>
                    <a:pt x="1132" y="699"/>
                  </a:lnTo>
                  <a:lnTo>
                    <a:pt x="1231" y="1022"/>
                  </a:lnTo>
                  <a:lnTo>
                    <a:pt x="1303" y="1350"/>
                  </a:lnTo>
                  <a:lnTo>
                    <a:pt x="1347" y="1680"/>
                  </a:lnTo>
                  <a:lnTo>
                    <a:pt x="1364" y="2011"/>
                  </a:lnTo>
                  <a:lnTo>
                    <a:pt x="1352" y="2344"/>
                  </a:lnTo>
                  <a:lnTo>
                    <a:pt x="1313" y="2674"/>
                  </a:lnTo>
                  <a:lnTo>
                    <a:pt x="1246" y="3003"/>
                  </a:lnTo>
                  <a:lnTo>
                    <a:pt x="1153" y="3327"/>
                  </a:lnTo>
                  <a:lnTo>
                    <a:pt x="1031" y="3646"/>
                  </a:lnTo>
                  <a:lnTo>
                    <a:pt x="884" y="3960"/>
                  </a:lnTo>
                  <a:lnTo>
                    <a:pt x="710" y="4266"/>
                  </a:lnTo>
                  <a:lnTo>
                    <a:pt x="511" y="4562"/>
                  </a:lnTo>
                  <a:lnTo>
                    <a:pt x="288" y="4850"/>
                  </a:lnTo>
                  <a:lnTo>
                    <a:pt x="42" y="5126"/>
                  </a:lnTo>
                  <a:lnTo>
                    <a:pt x="43" y="5132"/>
                  </a:lnTo>
                  <a:lnTo>
                    <a:pt x="14" y="5169"/>
                  </a:lnTo>
                  <a:lnTo>
                    <a:pt x="0" y="5210"/>
                  </a:lnTo>
                  <a:lnTo>
                    <a:pt x="3" y="5252"/>
                  </a:lnTo>
                  <a:lnTo>
                    <a:pt x="21" y="5293"/>
                  </a:lnTo>
                  <a:lnTo>
                    <a:pt x="52" y="5328"/>
                  </a:lnTo>
                  <a:lnTo>
                    <a:pt x="96" y="5355"/>
                  </a:lnTo>
                  <a:lnTo>
                    <a:pt x="148" y="5373"/>
                  </a:lnTo>
                  <a:lnTo>
                    <a:pt x="204" y="5379"/>
                  </a:lnTo>
                  <a:lnTo>
                    <a:pt x="263" y="5379"/>
                  </a:lnTo>
                  <a:lnTo>
                    <a:pt x="4061" y="5379"/>
                  </a:lnTo>
                  <a:lnTo>
                    <a:pt x="4061" y="0"/>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284" name="Freeform 1732">
              <a:extLst>
                <a:ext uri="{FF2B5EF4-FFF2-40B4-BE49-F238E27FC236}">
                  <a16:creationId xmlns:a16="http://schemas.microsoft.com/office/drawing/2014/main" id="{FE94EFAF-53CF-4ED8-BD58-7BB06C316CA3}"/>
                </a:ext>
              </a:extLst>
            </p:cNvPr>
            <p:cNvSpPr>
              <a:spLocks noChangeAspect="1"/>
            </p:cNvSpPr>
            <p:nvPr/>
          </p:nvSpPr>
          <p:spPr bwMode="auto">
            <a:xfrm>
              <a:off x="9640888" y="2107566"/>
              <a:ext cx="684212" cy="1211263"/>
            </a:xfrm>
            <a:custGeom>
              <a:avLst/>
              <a:gdLst>
                <a:gd name="T0" fmla="*/ 4061 w 4061"/>
                <a:gd name="T1" fmla="*/ 0 h 5379"/>
                <a:gd name="T2" fmla="*/ 919 w 4061"/>
                <a:gd name="T3" fmla="*/ 0 h 5379"/>
                <a:gd name="T4" fmla="*/ 905 w 4061"/>
                <a:gd name="T5" fmla="*/ 5 h 5379"/>
                <a:gd name="T6" fmla="*/ 877 w 4061"/>
                <a:gd name="T7" fmla="*/ 11 h 5379"/>
                <a:gd name="T8" fmla="*/ 857 w 4061"/>
                <a:gd name="T9" fmla="*/ 26 h 5379"/>
                <a:gd name="T10" fmla="*/ 850 w 4061"/>
                <a:gd name="T11" fmla="*/ 41 h 5379"/>
                <a:gd name="T12" fmla="*/ 857 w 4061"/>
                <a:gd name="T13" fmla="*/ 67 h 5379"/>
                <a:gd name="T14" fmla="*/ 856 w 4061"/>
                <a:gd name="T15" fmla="*/ 68 h 5379"/>
                <a:gd name="T16" fmla="*/ 1007 w 4061"/>
                <a:gd name="T17" fmla="*/ 380 h 5379"/>
                <a:gd name="T18" fmla="*/ 1132 w 4061"/>
                <a:gd name="T19" fmla="*/ 699 h 5379"/>
                <a:gd name="T20" fmla="*/ 1231 w 4061"/>
                <a:gd name="T21" fmla="*/ 1022 h 5379"/>
                <a:gd name="T22" fmla="*/ 1303 w 4061"/>
                <a:gd name="T23" fmla="*/ 1350 h 5379"/>
                <a:gd name="T24" fmla="*/ 1347 w 4061"/>
                <a:gd name="T25" fmla="*/ 1680 h 5379"/>
                <a:gd name="T26" fmla="*/ 1364 w 4061"/>
                <a:gd name="T27" fmla="*/ 2011 h 5379"/>
                <a:gd name="T28" fmla="*/ 1352 w 4061"/>
                <a:gd name="T29" fmla="*/ 2344 h 5379"/>
                <a:gd name="T30" fmla="*/ 1313 w 4061"/>
                <a:gd name="T31" fmla="*/ 2674 h 5379"/>
                <a:gd name="T32" fmla="*/ 1246 w 4061"/>
                <a:gd name="T33" fmla="*/ 3003 h 5379"/>
                <a:gd name="T34" fmla="*/ 1153 w 4061"/>
                <a:gd name="T35" fmla="*/ 3327 h 5379"/>
                <a:gd name="T36" fmla="*/ 1031 w 4061"/>
                <a:gd name="T37" fmla="*/ 3646 h 5379"/>
                <a:gd name="T38" fmla="*/ 884 w 4061"/>
                <a:gd name="T39" fmla="*/ 3960 h 5379"/>
                <a:gd name="T40" fmla="*/ 710 w 4061"/>
                <a:gd name="T41" fmla="*/ 4266 h 5379"/>
                <a:gd name="T42" fmla="*/ 511 w 4061"/>
                <a:gd name="T43" fmla="*/ 4562 h 5379"/>
                <a:gd name="T44" fmla="*/ 288 w 4061"/>
                <a:gd name="T45" fmla="*/ 4850 h 5379"/>
                <a:gd name="T46" fmla="*/ 42 w 4061"/>
                <a:gd name="T47" fmla="*/ 5126 h 5379"/>
                <a:gd name="T48" fmla="*/ 43 w 4061"/>
                <a:gd name="T49" fmla="*/ 5132 h 5379"/>
                <a:gd name="T50" fmla="*/ 14 w 4061"/>
                <a:gd name="T51" fmla="*/ 5169 h 5379"/>
                <a:gd name="T52" fmla="*/ 0 w 4061"/>
                <a:gd name="T53" fmla="*/ 5210 h 5379"/>
                <a:gd name="T54" fmla="*/ 3 w 4061"/>
                <a:gd name="T55" fmla="*/ 5252 h 5379"/>
                <a:gd name="T56" fmla="*/ 21 w 4061"/>
                <a:gd name="T57" fmla="*/ 5293 h 5379"/>
                <a:gd name="T58" fmla="*/ 52 w 4061"/>
                <a:gd name="T59" fmla="*/ 5328 h 5379"/>
                <a:gd name="T60" fmla="*/ 96 w 4061"/>
                <a:gd name="T61" fmla="*/ 5355 h 5379"/>
                <a:gd name="T62" fmla="*/ 148 w 4061"/>
                <a:gd name="T63" fmla="*/ 5373 h 5379"/>
                <a:gd name="T64" fmla="*/ 204 w 4061"/>
                <a:gd name="T65" fmla="*/ 5379 h 5379"/>
                <a:gd name="T66" fmla="*/ 263 w 4061"/>
                <a:gd name="T67" fmla="*/ 5379 h 5379"/>
                <a:gd name="T68" fmla="*/ 4061 w 4061"/>
                <a:gd name="T69" fmla="*/ 5379 h 5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61" h="5379">
                  <a:moveTo>
                    <a:pt x="4061" y="0"/>
                  </a:moveTo>
                  <a:lnTo>
                    <a:pt x="919" y="0"/>
                  </a:lnTo>
                  <a:lnTo>
                    <a:pt x="905" y="5"/>
                  </a:lnTo>
                  <a:lnTo>
                    <a:pt x="877" y="11"/>
                  </a:lnTo>
                  <a:lnTo>
                    <a:pt x="857" y="26"/>
                  </a:lnTo>
                  <a:lnTo>
                    <a:pt x="850" y="41"/>
                  </a:lnTo>
                  <a:lnTo>
                    <a:pt x="857" y="67"/>
                  </a:lnTo>
                  <a:lnTo>
                    <a:pt x="856" y="68"/>
                  </a:lnTo>
                  <a:lnTo>
                    <a:pt x="1007" y="380"/>
                  </a:lnTo>
                  <a:lnTo>
                    <a:pt x="1132" y="699"/>
                  </a:lnTo>
                  <a:lnTo>
                    <a:pt x="1231" y="1022"/>
                  </a:lnTo>
                  <a:lnTo>
                    <a:pt x="1303" y="1350"/>
                  </a:lnTo>
                  <a:lnTo>
                    <a:pt x="1347" y="1680"/>
                  </a:lnTo>
                  <a:lnTo>
                    <a:pt x="1364" y="2011"/>
                  </a:lnTo>
                  <a:lnTo>
                    <a:pt x="1352" y="2344"/>
                  </a:lnTo>
                  <a:lnTo>
                    <a:pt x="1313" y="2674"/>
                  </a:lnTo>
                  <a:lnTo>
                    <a:pt x="1246" y="3003"/>
                  </a:lnTo>
                  <a:lnTo>
                    <a:pt x="1153" y="3327"/>
                  </a:lnTo>
                  <a:lnTo>
                    <a:pt x="1031" y="3646"/>
                  </a:lnTo>
                  <a:lnTo>
                    <a:pt x="884" y="3960"/>
                  </a:lnTo>
                  <a:lnTo>
                    <a:pt x="710" y="4266"/>
                  </a:lnTo>
                  <a:lnTo>
                    <a:pt x="511" y="4562"/>
                  </a:lnTo>
                  <a:lnTo>
                    <a:pt x="288" y="4850"/>
                  </a:lnTo>
                  <a:lnTo>
                    <a:pt x="42" y="5126"/>
                  </a:lnTo>
                  <a:lnTo>
                    <a:pt x="43" y="5132"/>
                  </a:lnTo>
                  <a:lnTo>
                    <a:pt x="14" y="5169"/>
                  </a:lnTo>
                  <a:lnTo>
                    <a:pt x="0" y="5210"/>
                  </a:lnTo>
                  <a:lnTo>
                    <a:pt x="3" y="5252"/>
                  </a:lnTo>
                  <a:lnTo>
                    <a:pt x="21" y="5293"/>
                  </a:lnTo>
                  <a:lnTo>
                    <a:pt x="52" y="5328"/>
                  </a:lnTo>
                  <a:lnTo>
                    <a:pt x="96" y="5355"/>
                  </a:lnTo>
                  <a:lnTo>
                    <a:pt x="148" y="5373"/>
                  </a:lnTo>
                  <a:lnTo>
                    <a:pt x="204" y="5379"/>
                  </a:lnTo>
                  <a:lnTo>
                    <a:pt x="263" y="5379"/>
                  </a:lnTo>
                  <a:lnTo>
                    <a:pt x="4061" y="537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285" name="Freeform 1733">
              <a:extLst>
                <a:ext uri="{FF2B5EF4-FFF2-40B4-BE49-F238E27FC236}">
                  <a16:creationId xmlns:a16="http://schemas.microsoft.com/office/drawing/2014/main" id="{479CA282-FFF8-4E25-89BF-2A6740F044FA}"/>
                </a:ext>
              </a:extLst>
            </p:cNvPr>
            <p:cNvSpPr>
              <a:spLocks noChangeAspect="1"/>
            </p:cNvSpPr>
            <p:nvPr/>
          </p:nvSpPr>
          <p:spPr bwMode="auto">
            <a:xfrm>
              <a:off x="8423275" y="1188403"/>
              <a:ext cx="1811338" cy="3041650"/>
            </a:xfrm>
            <a:custGeom>
              <a:avLst/>
              <a:gdLst>
                <a:gd name="T0" fmla="*/ 10725 w 10725"/>
                <a:gd name="T1" fmla="*/ 6759 h 13518"/>
                <a:gd name="T2" fmla="*/ 10621 w 10725"/>
                <a:gd name="T3" fmla="*/ 5690 h 13518"/>
                <a:gd name="T4" fmla="*/ 10315 w 10725"/>
                <a:gd name="T5" fmla="*/ 4644 h 13518"/>
                <a:gd name="T6" fmla="*/ 9810 w 10725"/>
                <a:gd name="T7" fmla="*/ 3640 h 13518"/>
                <a:gd name="T8" fmla="*/ 9118 w 10725"/>
                <a:gd name="T9" fmla="*/ 2700 h 13518"/>
                <a:gd name="T10" fmla="*/ 8253 w 10725"/>
                <a:gd name="T11" fmla="*/ 1844 h 13518"/>
                <a:gd name="T12" fmla="*/ 7233 w 10725"/>
                <a:gd name="T13" fmla="*/ 1089 h 13518"/>
                <a:gd name="T14" fmla="*/ 6077 w 10725"/>
                <a:gd name="T15" fmla="*/ 451 h 13518"/>
                <a:gd name="T16" fmla="*/ 6077 w 10725"/>
                <a:gd name="T17" fmla="*/ 451 h 13518"/>
                <a:gd name="T18" fmla="*/ 5152 w 10725"/>
                <a:gd name="T19" fmla="*/ 130 h 13518"/>
                <a:gd name="T20" fmla="*/ 4148 w 10725"/>
                <a:gd name="T21" fmla="*/ 0 h 13518"/>
                <a:gd name="T22" fmla="*/ 3132 w 10725"/>
                <a:gd name="T23" fmla="*/ 67 h 13518"/>
                <a:gd name="T24" fmla="*/ 2173 w 10725"/>
                <a:gd name="T25" fmla="*/ 330 h 13518"/>
                <a:gd name="T26" fmla="*/ 1341 w 10725"/>
                <a:gd name="T27" fmla="*/ 769 h 13518"/>
                <a:gd name="T28" fmla="*/ 689 w 10725"/>
                <a:gd name="T29" fmla="*/ 1354 h 13518"/>
                <a:gd name="T30" fmla="*/ 264 w 10725"/>
                <a:gd name="T31" fmla="*/ 2045 h 13518"/>
                <a:gd name="T32" fmla="*/ 95 w 10725"/>
                <a:gd name="T33" fmla="*/ 2794 h 13518"/>
                <a:gd name="T34" fmla="*/ 94 w 10725"/>
                <a:gd name="T35" fmla="*/ 2796 h 13518"/>
                <a:gd name="T36" fmla="*/ 42 w 10725"/>
                <a:gd name="T37" fmla="*/ 4117 h 13518"/>
                <a:gd name="T38" fmla="*/ 11 w 10725"/>
                <a:gd name="T39" fmla="*/ 5438 h 13518"/>
                <a:gd name="T40" fmla="*/ 0 w 10725"/>
                <a:gd name="T41" fmla="*/ 6759 h 13518"/>
                <a:gd name="T42" fmla="*/ 11 w 10725"/>
                <a:gd name="T43" fmla="*/ 8080 h 13518"/>
                <a:gd name="T44" fmla="*/ 42 w 10725"/>
                <a:gd name="T45" fmla="*/ 9400 h 13518"/>
                <a:gd name="T46" fmla="*/ 94 w 10725"/>
                <a:gd name="T47" fmla="*/ 10721 h 13518"/>
                <a:gd name="T48" fmla="*/ 95 w 10725"/>
                <a:gd name="T49" fmla="*/ 10724 h 13518"/>
                <a:gd name="T50" fmla="*/ 264 w 10725"/>
                <a:gd name="T51" fmla="*/ 11473 h 13518"/>
                <a:gd name="T52" fmla="*/ 689 w 10725"/>
                <a:gd name="T53" fmla="*/ 12164 h 13518"/>
                <a:gd name="T54" fmla="*/ 1341 w 10725"/>
                <a:gd name="T55" fmla="*/ 12748 h 13518"/>
                <a:gd name="T56" fmla="*/ 2173 w 10725"/>
                <a:gd name="T57" fmla="*/ 13187 h 13518"/>
                <a:gd name="T58" fmla="*/ 3132 w 10725"/>
                <a:gd name="T59" fmla="*/ 13450 h 13518"/>
                <a:gd name="T60" fmla="*/ 4148 w 10725"/>
                <a:gd name="T61" fmla="*/ 13518 h 13518"/>
                <a:gd name="T62" fmla="*/ 5152 w 10725"/>
                <a:gd name="T63" fmla="*/ 13387 h 13518"/>
                <a:gd name="T64" fmla="*/ 6077 w 10725"/>
                <a:gd name="T65" fmla="*/ 13066 h 13518"/>
                <a:gd name="T66" fmla="*/ 6077 w 10725"/>
                <a:gd name="T67" fmla="*/ 13067 h 13518"/>
                <a:gd name="T68" fmla="*/ 7233 w 10725"/>
                <a:gd name="T69" fmla="*/ 12428 h 13518"/>
                <a:gd name="T70" fmla="*/ 8253 w 10725"/>
                <a:gd name="T71" fmla="*/ 11673 h 13518"/>
                <a:gd name="T72" fmla="*/ 9118 w 10725"/>
                <a:gd name="T73" fmla="*/ 10817 h 13518"/>
                <a:gd name="T74" fmla="*/ 9810 w 10725"/>
                <a:gd name="T75" fmla="*/ 9878 h 13518"/>
                <a:gd name="T76" fmla="*/ 10315 w 10725"/>
                <a:gd name="T77" fmla="*/ 8874 h 13518"/>
                <a:gd name="T78" fmla="*/ 10621 w 10725"/>
                <a:gd name="T79" fmla="*/ 7827 h 13518"/>
                <a:gd name="T80" fmla="*/ 10725 w 10725"/>
                <a:gd name="T81" fmla="*/ 6759 h 13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725" h="13518">
                  <a:moveTo>
                    <a:pt x="10725" y="6759"/>
                  </a:moveTo>
                  <a:lnTo>
                    <a:pt x="10621" y="5690"/>
                  </a:lnTo>
                  <a:lnTo>
                    <a:pt x="10315" y="4644"/>
                  </a:lnTo>
                  <a:lnTo>
                    <a:pt x="9810" y="3640"/>
                  </a:lnTo>
                  <a:lnTo>
                    <a:pt x="9118" y="2700"/>
                  </a:lnTo>
                  <a:lnTo>
                    <a:pt x="8253" y="1844"/>
                  </a:lnTo>
                  <a:lnTo>
                    <a:pt x="7233" y="1089"/>
                  </a:lnTo>
                  <a:lnTo>
                    <a:pt x="6077" y="451"/>
                  </a:lnTo>
                  <a:lnTo>
                    <a:pt x="6077" y="451"/>
                  </a:lnTo>
                  <a:lnTo>
                    <a:pt x="5152" y="130"/>
                  </a:lnTo>
                  <a:lnTo>
                    <a:pt x="4148" y="0"/>
                  </a:lnTo>
                  <a:lnTo>
                    <a:pt x="3132" y="67"/>
                  </a:lnTo>
                  <a:lnTo>
                    <a:pt x="2173" y="330"/>
                  </a:lnTo>
                  <a:lnTo>
                    <a:pt x="1341" y="769"/>
                  </a:lnTo>
                  <a:lnTo>
                    <a:pt x="689" y="1354"/>
                  </a:lnTo>
                  <a:lnTo>
                    <a:pt x="264" y="2045"/>
                  </a:lnTo>
                  <a:lnTo>
                    <a:pt x="95" y="2794"/>
                  </a:lnTo>
                  <a:lnTo>
                    <a:pt x="94" y="2796"/>
                  </a:lnTo>
                  <a:lnTo>
                    <a:pt x="42" y="4117"/>
                  </a:lnTo>
                  <a:lnTo>
                    <a:pt x="11" y="5438"/>
                  </a:lnTo>
                  <a:lnTo>
                    <a:pt x="0" y="6759"/>
                  </a:lnTo>
                  <a:lnTo>
                    <a:pt x="11" y="8080"/>
                  </a:lnTo>
                  <a:lnTo>
                    <a:pt x="42" y="9400"/>
                  </a:lnTo>
                  <a:lnTo>
                    <a:pt x="94" y="10721"/>
                  </a:lnTo>
                  <a:lnTo>
                    <a:pt x="95" y="10724"/>
                  </a:lnTo>
                  <a:lnTo>
                    <a:pt x="264" y="11473"/>
                  </a:lnTo>
                  <a:lnTo>
                    <a:pt x="689" y="12164"/>
                  </a:lnTo>
                  <a:lnTo>
                    <a:pt x="1341" y="12748"/>
                  </a:lnTo>
                  <a:lnTo>
                    <a:pt x="2173" y="13187"/>
                  </a:lnTo>
                  <a:lnTo>
                    <a:pt x="3132" y="13450"/>
                  </a:lnTo>
                  <a:lnTo>
                    <a:pt x="4148" y="13518"/>
                  </a:lnTo>
                  <a:lnTo>
                    <a:pt x="5152" y="13387"/>
                  </a:lnTo>
                  <a:lnTo>
                    <a:pt x="6077" y="13066"/>
                  </a:lnTo>
                  <a:lnTo>
                    <a:pt x="6077" y="13067"/>
                  </a:lnTo>
                  <a:lnTo>
                    <a:pt x="7233" y="12428"/>
                  </a:lnTo>
                  <a:lnTo>
                    <a:pt x="8253" y="11673"/>
                  </a:lnTo>
                  <a:lnTo>
                    <a:pt x="9118" y="10817"/>
                  </a:lnTo>
                  <a:lnTo>
                    <a:pt x="9810" y="9878"/>
                  </a:lnTo>
                  <a:lnTo>
                    <a:pt x="10315" y="8874"/>
                  </a:lnTo>
                  <a:lnTo>
                    <a:pt x="10621" y="7827"/>
                  </a:lnTo>
                  <a:lnTo>
                    <a:pt x="10725" y="675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286" name="Freeform 1734">
              <a:extLst>
                <a:ext uri="{FF2B5EF4-FFF2-40B4-BE49-F238E27FC236}">
                  <a16:creationId xmlns:a16="http://schemas.microsoft.com/office/drawing/2014/main" id="{F5AC824E-0414-4F2C-99F4-36939E6558C7}"/>
                </a:ext>
              </a:extLst>
            </p:cNvPr>
            <p:cNvSpPr>
              <a:spLocks noChangeAspect="1"/>
            </p:cNvSpPr>
            <p:nvPr/>
          </p:nvSpPr>
          <p:spPr bwMode="auto">
            <a:xfrm>
              <a:off x="8615363" y="3463290"/>
              <a:ext cx="80962" cy="96838"/>
            </a:xfrm>
            <a:custGeom>
              <a:avLst/>
              <a:gdLst>
                <a:gd name="T0" fmla="*/ 146 w 480"/>
                <a:gd name="T1" fmla="*/ 0 h 438"/>
                <a:gd name="T2" fmla="*/ 163 w 480"/>
                <a:gd name="T3" fmla="*/ 3 h 438"/>
                <a:gd name="T4" fmla="*/ 178 w 480"/>
                <a:gd name="T5" fmla="*/ 9 h 438"/>
                <a:gd name="T6" fmla="*/ 191 w 480"/>
                <a:gd name="T7" fmla="*/ 18 h 438"/>
                <a:gd name="T8" fmla="*/ 477 w 480"/>
                <a:gd name="T9" fmla="*/ 347 h 438"/>
                <a:gd name="T10" fmla="*/ 480 w 480"/>
                <a:gd name="T11" fmla="*/ 352 h 438"/>
                <a:gd name="T12" fmla="*/ 480 w 480"/>
                <a:gd name="T13" fmla="*/ 358 h 438"/>
                <a:gd name="T14" fmla="*/ 478 w 480"/>
                <a:gd name="T15" fmla="*/ 363 h 438"/>
                <a:gd name="T16" fmla="*/ 472 w 480"/>
                <a:gd name="T17" fmla="*/ 367 h 438"/>
                <a:gd name="T18" fmla="*/ 326 w 480"/>
                <a:gd name="T19" fmla="*/ 438 h 438"/>
                <a:gd name="T20" fmla="*/ 0 w 480"/>
                <a:gd name="T21" fmla="*/ 58 h 438"/>
                <a:gd name="T22" fmla="*/ 128 w 480"/>
                <a:gd name="T23" fmla="*/ 0 h 438"/>
                <a:gd name="T24" fmla="*/ 146 w 480"/>
                <a:gd name="T25"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438">
                  <a:moveTo>
                    <a:pt x="146" y="0"/>
                  </a:moveTo>
                  <a:lnTo>
                    <a:pt x="163" y="3"/>
                  </a:lnTo>
                  <a:lnTo>
                    <a:pt x="178" y="9"/>
                  </a:lnTo>
                  <a:lnTo>
                    <a:pt x="191" y="18"/>
                  </a:lnTo>
                  <a:lnTo>
                    <a:pt x="477" y="347"/>
                  </a:lnTo>
                  <a:lnTo>
                    <a:pt x="480" y="352"/>
                  </a:lnTo>
                  <a:lnTo>
                    <a:pt x="480" y="358"/>
                  </a:lnTo>
                  <a:lnTo>
                    <a:pt x="478" y="363"/>
                  </a:lnTo>
                  <a:lnTo>
                    <a:pt x="472" y="367"/>
                  </a:lnTo>
                  <a:lnTo>
                    <a:pt x="326" y="438"/>
                  </a:lnTo>
                  <a:lnTo>
                    <a:pt x="0" y="58"/>
                  </a:lnTo>
                  <a:lnTo>
                    <a:pt x="128" y="0"/>
                  </a:lnTo>
                  <a:lnTo>
                    <a:pt x="146" y="0"/>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287" name="Freeform 1735">
              <a:extLst>
                <a:ext uri="{FF2B5EF4-FFF2-40B4-BE49-F238E27FC236}">
                  <a16:creationId xmlns:a16="http://schemas.microsoft.com/office/drawing/2014/main" id="{0F231EAD-3F2E-47F8-93C5-33E2F6FF2738}"/>
                </a:ext>
              </a:extLst>
            </p:cNvPr>
            <p:cNvSpPr>
              <a:spLocks noChangeAspect="1"/>
            </p:cNvSpPr>
            <p:nvPr/>
          </p:nvSpPr>
          <p:spPr bwMode="auto">
            <a:xfrm>
              <a:off x="8615363" y="3463290"/>
              <a:ext cx="80962" cy="96838"/>
            </a:xfrm>
            <a:custGeom>
              <a:avLst/>
              <a:gdLst>
                <a:gd name="T0" fmla="*/ 146 w 480"/>
                <a:gd name="T1" fmla="*/ 0 h 438"/>
                <a:gd name="T2" fmla="*/ 163 w 480"/>
                <a:gd name="T3" fmla="*/ 3 h 438"/>
                <a:gd name="T4" fmla="*/ 178 w 480"/>
                <a:gd name="T5" fmla="*/ 9 h 438"/>
                <a:gd name="T6" fmla="*/ 191 w 480"/>
                <a:gd name="T7" fmla="*/ 18 h 438"/>
                <a:gd name="T8" fmla="*/ 477 w 480"/>
                <a:gd name="T9" fmla="*/ 347 h 438"/>
                <a:gd name="T10" fmla="*/ 480 w 480"/>
                <a:gd name="T11" fmla="*/ 352 h 438"/>
                <a:gd name="T12" fmla="*/ 480 w 480"/>
                <a:gd name="T13" fmla="*/ 358 h 438"/>
                <a:gd name="T14" fmla="*/ 478 w 480"/>
                <a:gd name="T15" fmla="*/ 363 h 438"/>
                <a:gd name="T16" fmla="*/ 472 w 480"/>
                <a:gd name="T17" fmla="*/ 367 h 438"/>
                <a:gd name="T18" fmla="*/ 326 w 480"/>
                <a:gd name="T19" fmla="*/ 438 h 438"/>
                <a:gd name="T20" fmla="*/ 0 w 480"/>
                <a:gd name="T21" fmla="*/ 58 h 438"/>
                <a:gd name="T22" fmla="*/ 128 w 480"/>
                <a:gd name="T23" fmla="*/ 0 h 438"/>
                <a:gd name="T24" fmla="*/ 146 w 480"/>
                <a:gd name="T25"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438">
                  <a:moveTo>
                    <a:pt x="146" y="0"/>
                  </a:moveTo>
                  <a:lnTo>
                    <a:pt x="163" y="3"/>
                  </a:lnTo>
                  <a:lnTo>
                    <a:pt x="178" y="9"/>
                  </a:lnTo>
                  <a:lnTo>
                    <a:pt x="191" y="18"/>
                  </a:lnTo>
                  <a:lnTo>
                    <a:pt x="477" y="347"/>
                  </a:lnTo>
                  <a:lnTo>
                    <a:pt x="480" y="352"/>
                  </a:lnTo>
                  <a:lnTo>
                    <a:pt x="480" y="358"/>
                  </a:lnTo>
                  <a:lnTo>
                    <a:pt x="478" y="363"/>
                  </a:lnTo>
                  <a:lnTo>
                    <a:pt x="472" y="367"/>
                  </a:lnTo>
                  <a:lnTo>
                    <a:pt x="326" y="438"/>
                  </a:lnTo>
                  <a:lnTo>
                    <a:pt x="0" y="58"/>
                  </a:lnTo>
                  <a:lnTo>
                    <a:pt x="128" y="0"/>
                  </a:lnTo>
                  <a:lnTo>
                    <a:pt x="146" y="0"/>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288" name="Freeform 1736">
              <a:extLst>
                <a:ext uri="{FF2B5EF4-FFF2-40B4-BE49-F238E27FC236}">
                  <a16:creationId xmlns:a16="http://schemas.microsoft.com/office/drawing/2014/main" id="{299A2FF4-1511-4187-9B3D-70FA07664979}"/>
                </a:ext>
              </a:extLst>
            </p:cNvPr>
            <p:cNvSpPr>
              <a:spLocks noChangeAspect="1"/>
            </p:cNvSpPr>
            <p:nvPr/>
          </p:nvSpPr>
          <p:spPr bwMode="auto">
            <a:xfrm>
              <a:off x="8669339" y="3544253"/>
              <a:ext cx="96837" cy="107950"/>
            </a:xfrm>
            <a:custGeom>
              <a:avLst/>
              <a:gdLst>
                <a:gd name="T0" fmla="*/ 153 w 560"/>
                <a:gd name="T1" fmla="*/ 0 h 480"/>
                <a:gd name="T2" fmla="*/ 161 w 560"/>
                <a:gd name="T3" fmla="*/ 1 h 480"/>
                <a:gd name="T4" fmla="*/ 168 w 560"/>
                <a:gd name="T5" fmla="*/ 3 h 480"/>
                <a:gd name="T6" fmla="*/ 172 w 560"/>
                <a:gd name="T7" fmla="*/ 7 h 480"/>
                <a:gd name="T8" fmla="*/ 559 w 560"/>
                <a:gd name="T9" fmla="*/ 458 h 480"/>
                <a:gd name="T10" fmla="*/ 560 w 560"/>
                <a:gd name="T11" fmla="*/ 472 h 480"/>
                <a:gd name="T12" fmla="*/ 542 w 560"/>
                <a:gd name="T13" fmla="*/ 480 h 480"/>
                <a:gd name="T14" fmla="*/ 350 w 560"/>
                <a:gd name="T15" fmla="*/ 480 h 480"/>
                <a:gd name="T16" fmla="*/ 0 w 560"/>
                <a:gd name="T17" fmla="*/ 72 h 480"/>
                <a:gd name="T18" fmla="*/ 146 w 560"/>
                <a:gd name="T19" fmla="*/ 2 h 480"/>
                <a:gd name="T20" fmla="*/ 153 w 560"/>
                <a:gd name="T2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0" h="480">
                  <a:moveTo>
                    <a:pt x="153" y="0"/>
                  </a:moveTo>
                  <a:lnTo>
                    <a:pt x="161" y="1"/>
                  </a:lnTo>
                  <a:lnTo>
                    <a:pt x="168" y="3"/>
                  </a:lnTo>
                  <a:lnTo>
                    <a:pt x="172" y="7"/>
                  </a:lnTo>
                  <a:lnTo>
                    <a:pt x="559" y="458"/>
                  </a:lnTo>
                  <a:lnTo>
                    <a:pt x="560" y="472"/>
                  </a:lnTo>
                  <a:lnTo>
                    <a:pt x="542" y="480"/>
                  </a:lnTo>
                  <a:lnTo>
                    <a:pt x="350" y="480"/>
                  </a:lnTo>
                  <a:lnTo>
                    <a:pt x="0" y="72"/>
                  </a:lnTo>
                  <a:lnTo>
                    <a:pt x="146" y="2"/>
                  </a:lnTo>
                  <a:lnTo>
                    <a:pt x="153" y="0"/>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289" name="Freeform 1737">
              <a:extLst>
                <a:ext uri="{FF2B5EF4-FFF2-40B4-BE49-F238E27FC236}">
                  <a16:creationId xmlns:a16="http://schemas.microsoft.com/office/drawing/2014/main" id="{BDF19A6A-67A2-4235-80B6-5D1CDF780BF9}"/>
                </a:ext>
              </a:extLst>
            </p:cNvPr>
            <p:cNvSpPr>
              <a:spLocks noChangeAspect="1"/>
            </p:cNvSpPr>
            <p:nvPr/>
          </p:nvSpPr>
          <p:spPr bwMode="auto">
            <a:xfrm>
              <a:off x="8669339" y="3544253"/>
              <a:ext cx="96837" cy="107950"/>
            </a:xfrm>
            <a:custGeom>
              <a:avLst/>
              <a:gdLst>
                <a:gd name="T0" fmla="*/ 153 w 560"/>
                <a:gd name="T1" fmla="*/ 0 h 480"/>
                <a:gd name="T2" fmla="*/ 161 w 560"/>
                <a:gd name="T3" fmla="*/ 1 h 480"/>
                <a:gd name="T4" fmla="*/ 168 w 560"/>
                <a:gd name="T5" fmla="*/ 3 h 480"/>
                <a:gd name="T6" fmla="*/ 172 w 560"/>
                <a:gd name="T7" fmla="*/ 7 h 480"/>
                <a:gd name="T8" fmla="*/ 559 w 560"/>
                <a:gd name="T9" fmla="*/ 458 h 480"/>
                <a:gd name="T10" fmla="*/ 560 w 560"/>
                <a:gd name="T11" fmla="*/ 472 h 480"/>
                <a:gd name="T12" fmla="*/ 542 w 560"/>
                <a:gd name="T13" fmla="*/ 480 h 480"/>
                <a:gd name="T14" fmla="*/ 350 w 560"/>
                <a:gd name="T15" fmla="*/ 480 h 480"/>
                <a:gd name="T16" fmla="*/ 0 w 560"/>
                <a:gd name="T17" fmla="*/ 72 h 480"/>
                <a:gd name="T18" fmla="*/ 146 w 560"/>
                <a:gd name="T19" fmla="*/ 2 h 480"/>
                <a:gd name="T20" fmla="*/ 153 w 560"/>
                <a:gd name="T2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0" h="480">
                  <a:moveTo>
                    <a:pt x="153" y="0"/>
                  </a:moveTo>
                  <a:lnTo>
                    <a:pt x="161" y="1"/>
                  </a:lnTo>
                  <a:lnTo>
                    <a:pt x="168" y="3"/>
                  </a:lnTo>
                  <a:lnTo>
                    <a:pt x="172" y="7"/>
                  </a:lnTo>
                  <a:lnTo>
                    <a:pt x="559" y="458"/>
                  </a:lnTo>
                  <a:lnTo>
                    <a:pt x="560" y="472"/>
                  </a:lnTo>
                  <a:lnTo>
                    <a:pt x="542" y="480"/>
                  </a:lnTo>
                  <a:lnTo>
                    <a:pt x="350" y="480"/>
                  </a:lnTo>
                  <a:lnTo>
                    <a:pt x="0" y="72"/>
                  </a:lnTo>
                  <a:lnTo>
                    <a:pt x="146" y="2"/>
                  </a:lnTo>
                  <a:lnTo>
                    <a:pt x="153" y="0"/>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290" name="Freeform 1738">
              <a:extLst>
                <a:ext uri="{FF2B5EF4-FFF2-40B4-BE49-F238E27FC236}">
                  <a16:creationId xmlns:a16="http://schemas.microsoft.com/office/drawing/2014/main" id="{114351D9-EF89-4C78-ABFD-5DE8E8E47040}"/>
                </a:ext>
              </a:extLst>
            </p:cNvPr>
            <p:cNvSpPr>
              <a:spLocks noChangeAspect="1"/>
            </p:cNvSpPr>
            <p:nvPr/>
          </p:nvSpPr>
          <p:spPr bwMode="auto">
            <a:xfrm>
              <a:off x="8740775" y="3653791"/>
              <a:ext cx="71438" cy="176213"/>
            </a:xfrm>
            <a:custGeom>
              <a:avLst/>
              <a:gdLst>
                <a:gd name="T0" fmla="*/ 155 w 418"/>
                <a:gd name="T1" fmla="*/ 6 h 781"/>
                <a:gd name="T2" fmla="*/ 157 w 418"/>
                <a:gd name="T3" fmla="*/ 7 h 781"/>
                <a:gd name="T4" fmla="*/ 158 w 418"/>
                <a:gd name="T5" fmla="*/ 9 h 781"/>
                <a:gd name="T6" fmla="*/ 161 w 418"/>
                <a:gd name="T7" fmla="*/ 10 h 781"/>
                <a:gd name="T8" fmla="*/ 162 w 418"/>
                <a:gd name="T9" fmla="*/ 11 h 781"/>
                <a:gd name="T10" fmla="*/ 220 w 418"/>
                <a:gd name="T11" fmla="*/ 87 h 781"/>
                <a:gd name="T12" fmla="*/ 273 w 418"/>
                <a:gd name="T13" fmla="*/ 165 h 781"/>
                <a:gd name="T14" fmla="*/ 317 w 418"/>
                <a:gd name="T15" fmla="*/ 245 h 781"/>
                <a:gd name="T16" fmla="*/ 354 w 418"/>
                <a:gd name="T17" fmla="*/ 327 h 781"/>
                <a:gd name="T18" fmla="*/ 382 w 418"/>
                <a:gd name="T19" fmla="*/ 411 h 781"/>
                <a:gd name="T20" fmla="*/ 403 w 418"/>
                <a:gd name="T21" fmla="*/ 497 h 781"/>
                <a:gd name="T22" fmla="*/ 415 w 418"/>
                <a:gd name="T23" fmla="*/ 583 h 781"/>
                <a:gd name="T24" fmla="*/ 418 w 418"/>
                <a:gd name="T25" fmla="*/ 670 h 781"/>
                <a:gd name="T26" fmla="*/ 415 w 418"/>
                <a:gd name="T27" fmla="*/ 757 h 781"/>
                <a:gd name="T28" fmla="*/ 414 w 418"/>
                <a:gd name="T29" fmla="*/ 762 h 781"/>
                <a:gd name="T30" fmla="*/ 410 w 418"/>
                <a:gd name="T31" fmla="*/ 767 h 781"/>
                <a:gd name="T32" fmla="*/ 407 w 418"/>
                <a:gd name="T33" fmla="*/ 771 h 781"/>
                <a:gd name="T34" fmla="*/ 404 w 418"/>
                <a:gd name="T35" fmla="*/ 773 h 781"/>
                <a:gd name="T36" fmla="*/ 398 w 418"/>
                <a:gd name="T37" fmla="*/ 776 h 781"/>
                <a:gd name="T38" fmla="*/ 392 w 418"/>
                <a:gd name="T39" fmla="*/ 778 h 781"/>
                <a:gd name="T40" fmla="*/ 387 w 418"/>
                <a:gd name="T41" fmla="*/ 781 h 781"/>
                <a:gd name="T42" fmla="*/ 380 w 418"/>
                <a:gd name="T43" fmla="*/ 781 h 781"/>
                <a:gd name="T44" fmla="*/ 0 w 418"/>
                <a:gd name="T45" fmla="*/ 781 h 781"/>
                <a:gd name="T46" fmla="*/ 0 w 418"/>
                <a:gd name="T47" fmla="*/ 0 h 781"/>
                <a:gd name="T48" fmla="*/ 131 w 418"/>
                <a:gd name="T49" fmla="*/ 0 h 781"/>
                <a:gd name="T50" fmla="*/ 135 w 418"/>
                <a:gd name="T51" fmla="*/ 0 h 781"/>
                <a:gd name="T52" fmla="*/ 139 w 418"/>
                <a:gd name="T53" fmla="*/ 0 h 781"/>
                <a:gd name="T54" fmla="*/ 143 w 418"/>
                <a:gd name="T55" fmla="*/ 1 h 781"/>
                <a:gd name="T56" fmla="*/ 146 w 418"/>
                <a:gd name="T57" fmla="*/ 2 h 781"/>
                <a:gd name="T58" fmla="*/ 148 w 418"/>
                <a:gd name="T59" fmla="*/ 2 h 781"/>
                <a:gd name="T60" fmla="*/ 149 w 418"/>
                <a:gd name="T61" fmla="*/ 3 h 781"/>
                <a:gd name="T62" fmla="*/ 152 w 418"/>
                <a:gd name="T63" fmla="*/ 4 h 781"/>
                <a:gd name="T64" fmla="*/ 154 w 418"/>
                <a:gd name="T65" fmla="*/ 5 h 781"/>
                <a:gd name="T66" fmla="*/ 155 w 418"/>
                <a:gd name="T67" fmla="*/ 6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8" h="781">
                  <a:moveTo>
                    <a:pt x="155" y="6"/>
                  </a:moveTo>
                  <a:lnTo>
                    <a:pt x="157" y="7"/>
                  </a:lnTo>
                  <a:lnTo>
                    <a:pt x="158" y="9"/>
                  </a:lnTo>
                  <a:lnTo>
                    <a:pt x="161" y="10"/>
                  </a:lnTo>
                  <a:lnTo>
                    <a:pt x="162" y="11"/>
                  </a:lnTo>
                  <a:lnTo>
                    <a:pt x="220" y="87"/>
                  </a:lnTo>
                  <a:lnTo>
                    <a:pt x="273" y="165"/>
                  </a:lnTo>
                  <a:lnTo>
                    <a:pt x="317" y="245"/>
                  </a:lnTo>
                  <a:lnTo>
                    <a:pt x="354" y="327"/>
                  </a:lnTo>
                  <a:lnTo>
                    <a:pt x="382" y="411"/>
                  </a:lnTo>
                  <a:lnTo>
                    <a:pt x="403" y="497"/>
                  </a:lnTo>
                  <a:lnTo>
                    <a:pt x="415" y="583"/>
                  </a:lnTo>
                  <a:lnTo>
                    <a:pt x="418" y="670"/>
                  </a:lnTo>
                  <a:lnTo>
                    <a:pt x="415" y="757"/>
                  </a:lnTo>
                  <a:lnTo>
                    <a:pt x="414" y="762"/>
                  </a:lnTo>
                  <a:lnTo>
                    <a:pt x="410" y="767"/>
                  </a:lnTo>
                  <a:lnTo>
                    <a:pt x="407" y="771"/>
                  </a:lnTo>
                  <a:lnTo>
                    <a:pt x="404" y="773"/>
                  </a:lnTo>
                  <a:lnTo>
                    <a:pt x="398" y="776"/>
                  </a:lnTo>
                  <a:lnTo>
                    <a:pt x="392" y="778"/>
                  </a:lnTo>
                  <a:lnTo>
                    <a:pt x="387" y="781"/>
                  </a:lnTo>
                  <a:lnTo>
                    <a:pt x="380" y="781"/>
                  </a:lnTo>
                  <a:lnTo>
                    <a:pt x="0" y="781"/>
                  </a:lnTo>
                  <a:lnTo>
                    <a:pt x="0" y="0"/>
                  </a:lnTo>
                  <a:lnTo>
                    <a:pt x="131" y="0"/>
                  </a:lnTo>
                  <a:lnTo>
                    <a:pt x="135" y="0"/>
                  </a:lnTo>
                  <a:lnTo>
                    <a:pt x="139" y="0"/>
                  </a:lnTo>
                  <a:lnTo>
                    <a:pt x="143" y="1"/>
                  </a:lnTo>
                  <a:lnTo>
                    <a:pt x="146" y="2"/>
                  </a:lnTo>
                  <a:lnTo>
                    <a:pt x="148" y="2"/>
                  </a:lnTo>
                  <a:lnTo>
                    <a:pt x="149" y="3"/>
                  </a:lnTo>
                  <a:lnTo>
                    <a:pt x="152" y="4"/>
                  </a:lnTo>
                  <a:lnTo>
                    <a:pt x="154" y="5"/>
                  </a:lnTo>
                  <a:lnTo>
                    <a:pt x="155" y="6"/>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291" name="Freeform 1739">
              <a:extLst>
                <a:ext uri="{FF2B5EF4-FFF2-40B4-BE49-F238E27FC236}">
                  <a16:creationId xmlns:a16="http://schemas.microsoft.com/office/drawing/2014/main" id="{0B73004E-7A9E-4E47-8FE3-51397C0C615B}"/>
                </a:ext>
              </a:extLst>
            </p:cNvPr>
            <p:cNvSpPr>
              <a:spLocks noChangeAspect="1"/>
            </p:cNvSpPr>
            <p:nvPr/>
          </p:nvSpPr>
          <p:spPr bwMode="auto">
            <a:xfrm>
              <a:off x="8740775" y="3653791"/>
              <a:ext cx="71438" cy="176213"/>
            </a:xfrm>
            <a:custGeom>
              <a:avLst/>
              <a:gdLst>
                <a:gd name="T0" fmla="*/ 155 w 418"/>
                <a:gd name="T1" fmla="*/ 6 h 781"/>
                <a:gd name="T2" fmla="*/ 157 w 418"/>
                <a:gd name="T3" fmla="*/ 7 h 781"/>
                <a:gd name="T4" fmla="*/ 158 w 418"/>
                <a:gd name="T5" fmla="*/ 9 h 781"/>
                <a:gd name="T6" fmla="*/ 161 w 418"/>
                <a:gd name="T7" fmla="*/ 10 h 781"/>
                <a:gd name="T8" fmla="*/ 162 w 418"/>
                <a:gd name="T9" fmla="*/ 11 h 781"/>
                <a:gd name="T10" fmla="*/ 220 w 418"/>
                <a:gd name="T11" fmla="*/ 87 h 781"/>
                <a:gd name="T12" fmla="*/ 273 w 418"/>
                <a:gd name="T13" fmla="*/ 165 h 781"/>
                <a:gd name="T14" fmla="*/ 317 w 418"/>
                <a:gd name="T15" fmla="*/ 245 h 781"/>
                <a:gd name="T16" fmla="*/ 354 w 418"/>
                <a:gd name="T17" fmla="*/ 327 h 781"/>
                <a:gd name="T18" fmla="*/ 382 w 418"/>
                <a:gd name="T19" fmla="*/ 411 h 781"/>
                <a:gd name="T20" fmla="*/ 403 w 418"/>
                <a:gd name="T21" fmla="*/ 497 h 781"/>
                <a:gd name="T22" fmla="*/ 415 w 418"/>
                <a:gd name="T23" fmla="*/ 583 h 781"/>
                <a:gd name="T24" fmla="*/ 418 w 418"/>
                <a:gd name="T25" fmla="*/ 670 h 781"/>
                <a:gd name="T26" fmla="*/ 415 w 418"/>
                <a:gd name="T27" fmla="*/ 757 h 781"/>
                <a:gd name="T28" fmla="*/ 414 w 418"/>
                <a:gd name="T29" fmla="*/ 762 h 781"/>
                <a:gd name="T30" fmla="*/ 410 w 418"/>
                <a:gd name="T31" fmla="*/ 767 h 781"/>
                <a:gd name="T32" fmla="*/ 407 w 418"/>
                <a:gd name="T33" fmla="*/ 771 h 781"/>
                <a:gd name="T34" fmla="*/ 404 w 418"/>
                <a:gd name="T35" fmla="*/ 773 h 781"/>
                <a:gd name="T36" fmla="*/ 398 w 418"/>
                <a:gd name="T37" fmla="*/ 776 h 781"/>
                <a:gd name="T38" fmla="*/ 392 w 418"/>
                <a:gd name="T39" fmla="*/ 778 h 781"/>
                <a:gd name="T40" fmla="*/ 387 w 418"/>
                <a:gd name="T41" fmla="*/ 781 h 781"/>
                <a:gd name="T42" fmla="*/ 380 w 418"/>
                <a:gd name="T43" fmla="*/ 781 h 781"/>
                <a:gd name="T44" fmla="*/ 0 w 418"/>
                <a:gd name="T45" fmla="*/ 781 h 781"/>
                <a:gd name="T46" fmla="*/ 0 w 418"/>
                <a:gd name="T47" fmla="*/ 0 h 781"/>
                <a:gd name="T48" fmla="*/ 131 w 418"/>
                <a:gd name="T49" fmla="*/ 0 h 781"/>
                <a:gd name="T50" fmla="*/ 135 w 418"/>
                <a:gd name="T51" fmla="*/ 0 h 781"/>
                <a:gd name="T52" fmla="*/ 139 w 418"/>
                <a:gd name="T53" fmla="*/ 0 h 781"/>
                <a:gd name="T54" fmla="*/ 143 w 418"/>
                <a:gd name="T55" fmla="*/ 1 h 781"/>
                <a:gd name="T56" fmla="*/ 146 w 418"/>
                <a:gd name="T57" fmla="*/ 2 h 781"/>
                <a:gd name="T58" fmla="*/ 148 w 418"/>
                <a:gd name="T59" fmla="*/ 2 h 781"/>
                <a:gd name="T60" fmla="*/ 149 w 418"/>
                <a:gd name="T61" fmla="*/ 3 h 781"/>
                <a:gd name="T62" fmla="*/ 152 w 418"/>
                <a:gd name="T63" fmla="*/ 4 h 781"/>
                <a:gd name="T64" fmla="*/ 154 w 418"/>
                <a:gd name="T65" fmla="*/ 5 h 781"/>
                <a:gd name="T66" fmla="*/ 155 w 418"/>
                <a:gd name="T67" fmla="*/ 6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8" h="781">
                  <a:moveTo>
                    <a:pt x="155" y="6"/>
                  </a:moveTo>
                  <a:lnTo>
                    <a:pt x="157" y="7"/>
                  </a:lnTo>
                  <a:lnTo>
                    <a:pt x="158" y="9"/>
                  </a:lnTo>
                  <a:lnTo>
                    <a:pt x="161" y="10"/>
                  </a:lnTo>
                  <a:lnTo>
                    <a:pt x="162" y="11"/>
                  </a:lnTo>
                  <a:lnTo>
                    <a:pt x="220" y="87"/>
                  </a:lnTo>
                  <a:lnTo>
                    <a:pt x="273" y="165"/>
                  </a:lnTo>
                  <a:lnTo>
                    <a:pt x="317" y="245"/>
                  </a:lnTo>
                  <a:lnTo>
                    <a:pt x="354" y="327"/>
                  </a:lnTo>
                  <a:lnTo>
                    <a:pt x="382" y="411"/>
                  </a:lnTo>
                  <a:lnTo>
                    <a:pt x="403" y="497"/>
                  </a:lnTo>
                  <a:lnTo>
                    <a:pt x="415" y="583"/>
                  </a:lnTo>
                  <a:lnTo>
                    <a:pt x="418" y="670"/>
                  </a:lnTo>
                  <a:lnTo>
                    <a:pt x="415" y="757"/>
                  </a:lnTo>
                  <a:lnTo>
                    <a:pt x="414" y="762"/>
                  </a:lnTo>
                  <a:lnTo>
                    <a:pt x="410" y="767"/>
                  </a:lnTo>
                  <a:lnTo>
                    <a:pt x="407" y="771"/>
                  </a:lnTo>
                  <a:lnTo>
                    <a:pt x="404" y="773"/>
                  </a:lnTo>
                  <a:lnTo>
                    <a:pt x="398" y="776"/>
                  </a:lnTo>
                  <a:lnTo>
                    <a:pt x="392" y="778"/>
                  </a:lnTo>
                  <a:lnTo>
                    <a:pt x="387" y="781"/>
                  </a:lnTo>
                  <a:lnTo>
                    <a:pt x="380" y="781"/>
                  </a:lnTo>
                  <a:lnTo>
                    <a:pt x="0" y="781"/>
                  </a:lnTo>
                  <a:lnTo>
                    <a:pt x="0" y="0"/>
                  </a:lnTo>
                  <a:lnTo>
                    <a:pt x="131" y="0"/>
                  </a:lnTo>
                  <a:lnTo>
                    <a:pt x="135" y="0"/>
                  </a:lnTo>
                  <a:lnTo>
                    <a:pt x="139" y="0"/>
                  </a:lnTo>
                  <a:lnTo>
                    <a:pt x="143" y="1"/>
                  </a:lnTo>
                  <a:lnTo>
                    <a:pt x="146" y="2"/>
                  </a:lnTo>
                  <a:lnTo>
                    <a:pt x="148" y="2"/>
                  </a:lnTo>
                  <a:lnTo>
                    <a:pt x="149" y="3"/>
                  </a:lnTo>
                  <a:lnTo>
                    <a:pt x="152" y="4"/>
                  </a:lnTo>
                  <a:lnTo>
                    <a:pt x="154" y="5"/>
                  </a:lnTo>
                  <a:lnTo>
                    <a:pt x="155" y="6"/>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292" name="Freeform 1740">
              <a:extLst>
                <a:ext uri="{FF2B5EF4-FFF2-40B4-BE49-F238E27FC236}">
                  <a16:creationId xmlns:a16="http://schemas.microsoft.com/office/drawing/2014/main" id="{622AB9D0-3064-420F-8391-2184B30D9416}"/>
                </a:ext>
              </a:extLst>
            </p:cNvPr>
            <p:cNvSpPr>
              <a:spLocks noChangeAspect="1"/>
            </p:cNvSpPr>
            <p:nvPr/>
          </p:nvSpPr>
          <p:spPr bwMode="auto">
            <a:xfrm>
              <a:off x="8712200" y="3831591"/>
              <a:ext cx="95250" cy="180975"/>
            </a:xfrm>
            <a:custGeom>
              <a:avLst/>
              <a:gdLst>
                <a:gd name="T0" fmla="*/ 545 w 563"/>
                <a:gd name="T1" fmla="*/ 3 h 802"/>
                <a:gd name="T2" fmla="*/ 557 w 563"/>
                <a:gd name="T3" fmla="*/ 10 h 802"/>
                <a:gd name="T4" fmla="*/ 563 w 563"/>
                <a:gd name="T5" fmla="*/ 21 h 802"/>
                <a:gd name="T6" fmla="*/ 562 w 563"/>
                <a:gd name="T7" fmla="*/ 33 h 802"/>
                <a:gd name="T8" fmla="*/ 241 w 563"/>
                <a:gd name="T9" fmla="*/ 727 h 802"/>
                <a:gd name="T10" fmla="*/ 238 w 563"/>
                <a:gd name="T11" fmla="*/ 732 h 802"/>
                <a:gd name="T12" fmla="*/ 232 w 563"/>
                <a:gd name="T13" fmla="*/ 735 h 802"/>
                <a:gd name="T14" fmla="*/ 226 w 563"/>
                <a:gd name="T15" fmla="*/ 736 h 802"/>
                <a:gd name="T16" fmla="*/ 219 w 563"/>
                <a:gd name="T17" fmla="*/ 735 h 802"/>
                <a:gd name="T18" fmla="*/ 216 w 563"/>
                <a:gd name="T19" fmla="*/ 734 h 802"/>
                <a:gd name="T20" fmla="*/ 211 w 563"/>
                <a:gd name="T21" fmla="*/ 734 h 802"/>
                <a:gd name="T22" fmla="*/ 204 w 563"/>
                <a:gd name="T23" fmla="*/ 735 h 802"/>
                <a:gd name="T24" fmla="*/ 198 w 563"/>
                <a:gd name="T25" fmla="*/ 737 h 802"/>
                <a:gd name="T26" fmla="*/ 113 w 563"/>
                <a:gd name="T27" fmla="*/ 802 h 802"/>
                <a:gd name="T28" fmla="*/ 0 w 563"/>
                <a:gd name="T29" fmla="*/ 718 h 802"/>
                <a:gd name="T30" fmla="*/ 331 w 563"/>
                <a:gd name="T31" fmla="*/ 0 h 802"/>
                <a:gd name="T32" fmla="*/ 441 w 563"/>
                <a:gd name="T33" fmla="*/ 28 h 802"/>
                <a:gd name="T34" fmla="*/ 454 w 563"/>
                <a:gd name="T35" fmla="*/ 0 h 802"/>
                <a:gd name="T36" fmla="*/ 529 w 563"/>
                <a:gd name="T37" fmla="*/ 0 h 802"/>
                <a:gd name="T38" fmla="*/ 545 w 563"/>
                <a:gd name="T39" fmla="*/ 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3" h="802">
                  <a:moveTo>
                    <a:pt x="545" y="3"/>
                  </a:moveTo>
                  <a:lnTo>
                    <a:pt x="557" y="10"/>
                  </a:lnTo>
                  <a:lnTo>
                    <a:pt x="563" y="21"/>
                  </a:lnTo>
                  <a:lnTo>
                    <a:pt x="562" y="33"/>
                  </a:lnTo>
                  <a:lnTo>
                    <a:pt x="241" y="727"/>
                  </a:lnTo>
                  <a:lnTo>
                    <a:pt x="238" y="732"/>
                  </a:lnTo>
                  <a:lnTo>
                    <a:pt x="232" y="735"/>
                  </a:lnTo>
                  <a:lnTo>
                    <a:pt x="226" y="736"/>
                  </a:lnTo>
                  <a:lnTo>
                    <a:pt x="219" y="735"/>
                  </a:lnTo>
                  <a:lnTo>
                    <a:pt x="216" y="734"/>
                  </a:lnTo>
                  <a:lnTo>
                    <a:pt x="211" y="734"/>
                  </a:lnTo>
                  <a:lnTo>
                    <a:pt x="204" y="735"/>
                  </a:lnTo>
                  <a:lnTo>
                    <a:pt x="198" y="737"/>
                  </a:lnTo>
                  <a:lnTo>
                    <a:pt x="113" y="802"/>
                  </a:lnTo>
                  <a:lnTo>
                    <a:pt x="0" y="718"/>
                  </a:lnTo>
                  <a:lnTo>
                    <a:pt x="331" y="0"/>
                  </a:lnTo>
                  <a:lnTo>
                    <a:pt x="441" y="28"/>
                  </a:lnTo>
                  <a:lnTo>
                    <a:pt x="454" y="0"/>
                  </a:lnTo>
                  <a:lnTo>
                    <a:pt x="529" y="0"/>
                  </a:lnTo>
                  <a:lnTo>
                    <a:pt x="545" y="3"/>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293" name="Freeform 1741">
              <a:extLst>
                <a:ext uri="{FF2B5EF4-FFF2-40B4-BE49-F238E27FC236}">
                  <a16:creationId xmlns:a16="http://schemas.microsoft.com/office/drawing/2014/main" id="{960533AD-6ECE-40AF-AC72-E108310448FC}"/>
                </a:ext>
              </a:extLst>
            </p:cNvPr>
            <p:cNvSpPr>
              <a:spLocks noChangeAspect="1"/>
            </p:cNvSpPr>
            <p:nvPr/>
          </p:nvSpPr>
          <p:spPr bwMode="auto">
            <a:xfrm>
              <a:off x="8712200" y="3831591"/>
              <a:ext cx="95250" cy="180975"/>
            </a:xfrm>
            <a:custGeom>
              <a:avLst/>
              <a:gdLst>
                <a:gd name="T0" fmla="*/ 545 w 563"/>
                <a:gd name="T1" fmla="*/ 3 h 802"/>
                <a:gd name="T2" fmla="*/ 557 w 563"/>
                <a:gd name="T3" fmla="*/ 10 h 802"/>
                <a:gd name="T4" fmla="*/ 563 w 563"/>
                <a:gd name="T5" fmla="*/ 21 h 802"/>
                <a:gd name="T6" fmla="*/ 562 w 563"/>
                <a:gd name="T7" fmla="*/ 33 h 802"/>
                <a:gd name="T8" fmla="*/ 241 w 563"/>
                <a:gd name="T9" fmla="*/ 727 h 802"/>
                <a:gd name="T10" fmla="*/ 238 w 563"/>
                <a:gd name="T11" fmla="*/ 732 h 802"/>
                <a:gd name="T12" fmla="*/ 232 w 563"/>
                <a:gd name="T13" fmla="*/ 735 h 802"/>
                <a:gd name="T14" fmla="*/ 226 w 563"/>
                <a:gd name="T15" fmla="*/ 736 h 802"/>
                <a:gd name="T16" fmla="*/ 219 w 563"/>
                <a:gd name="T17" fmla="*/ 735 h 802"/>
                <a:gd name="T18" fmla="*/ 216 w 563"/>
                <a:gd name="T19" fmla="*/ 734 h 802"/>
                <a:gd name="T20" fmla="*/ 211 w 563"/>
                <a:gd name="T21" fmla="*/ 734 h 802"/>
                <a:gd name="T22" fmla="*/ 204 w 563"/>
                <a:gd name="T23" fmla="*/ 735 h 802"/>
                <a:gd name="T24" fmla="*/ 198 w 563"/>
                <a:gd name="T25" fmla="*/ 737 h 802"/>
                <a:gd name="T26" fmla="*/ 113 w 563"/>
                <a:gd name="T27" fmla="*/ 802 h 802"/>
                <a:gd name="T28" fmla="*/ 0 w 563"/>
                <a:gd name="T29" fmla="*/ 718 h 802"/>
                <a:gd name="T30" fmla="*/ 331 w 563"/>
                <a:gd name="T31" fmla="*/ 0 h 802"/>
                <a:gd name="T32" fmla="*/ 441 w 563"/>
                <a:gd name="T33" fmla="*/ 28 h 802"/>
                <a:gd name="T34" fmla="*/ 454 w 563"/>
                <a:gd name="T35" fmla="*/ 0 h 802"/>
                <a:gd name="T36" fmla="*/ 529 w 563"/>
                <a:gd name="T37" fmla="*/ 0 h 802"/>
                <a:gd name="T38" fmla="*/ 545 w 563"/>
                <a:gd name="T39" fmla="*/ 3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3" h="802">
                  <a:moveTo>
                    <a:pt x="545" y="3"/>
                  </a:moveTo>
                  <a:lnTo>
                    <a:pt x="557" y="10"/>
                  </a:lnTo>
                  <a:lnTo>
                    <a:pt x="563" y="21"/>
                  </a:lnTo>
                  <a:lnTo>
                    <a:pt x="562" y="33"/>
                  </a:lnTo>
                  <a:lnTo>
                    <a:pt x="241" y="727"/>
                  </a:lnTo>
                  <a:lnTo>
                    <a:pt x="238" y="732"/>
                  </a:lnTo>
                  <a:lnTo>
                    <a:pt x="232" y="735"/>
                  </a:lnTo>
                  <a:lnTo>
                    <a:pt x="226" y="736"/>
                  </a:lnTo>
                  <a:lnTo>
                    <a:pt x="219" y="735"/>
                  </a:lnTo>
                  <a:lnTo>
                    <a:pt x="216" y="734"/>
                  </a:lnTo>
                  <a:lnTo>
                    <a:pt x="211" y="734"/>
                  </a:lnTo>
                  <a:lnTo>
                    <a:pt x="204" y="735"/>
                  </a:lnTo>
                  <a:lnTo>
                    <a:pt x="198" y="737"/>
                  </a:lnTo>
                  <a:lnTo>
                    <a:pt x="113" y="802"/>
                  </a:lnTo>
                  <a:lnTo>
                    <a:pt x="0" y="718"/>
                  </a:lnTo>
                  <a:lnTo>
                    <a:pt x="331" y="0"/>
                  </a:lnTo>
                  <a:lnTo>
                    <a:pt x="441" y="28"/>
                  </a:lnTo>
                  <a:lnTo>
                    <a:pt x="454" y="0"/>
                  </a:lnTo>
                  <a:lnTo>
                    <a:pt x="529" y="0"/>
                  </a:lnTo>
                  <a:lnTo>
                    <a:pt x="545" y="3"/>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294" name="Freeform 1742">
              <a:extLst>
                <a:ext uri="{FF2B5EF4-FFF2-40B4-BE49-F238E27FC236}">
                  <a16:creationId xmlns:a16="http://schemas.microsoft.com/office/drawing/2014/main" id="{4DFE4988-F212-4F9B-B512-2442174960E7}"/>
                </a:ext>
              </a:extLst>
            </p:cNvPr>
            <p:cNvSpPr>
              <a:spLocks noChangeAspect="1"/>
            </p:cNvSpPr>
            <p:nvPr/>
          </p:nvSpPr>
          <p:spPr bwMode="auto">
            <a:xfrm>
              <a:off x="8729663" y="3998278"/>
              <a:ext cx="31750" cy="31750"/>
            </a:xfrm>
            <a:custGeom>
              <a:avLst/>
              <a:gdLst>
                <a:gd name="T0" fmla="*/ 101 w 183"/>
                <a:gd name="T1" fmla="*/ 1 h 149"/>
                <a:gd name="T2" fmla="*/ 106 w 183"/>
                <a:gd name="T3" fmla="*/ 4 h 149"/>
                <a:gd name="T4" fmla="*/ 115 w 183"/>
                <a:gd name="T5" fmla="*/ 15 h 149"/>
                <a:gd name="T6" fmla="*/ 181 w 183"/>
                <a:gd name="T7" fmla="*/ 85 h 149"/>
                <a:gd name="T8" fmla="*/ 183 w 183"/>
                <a:gd name="T9" fmla="*/ 88 h 149"/>
                <a:gd name="T10" fmla="*/ 183 w 183"/>
                <a:gd name="T11" fmla="*/ 91 h 149"/>
                <a:gd name="T12" fmla="*/ 181 w 183"/>
                <a:gd name="T13" fmla="*/ 95 h 149"/>
                <a:gd name="T14" fmla="*/ 179 w 183"/>
                <a:gd name="T15" fmla="*/ 97 h 149"/>
                <a:gd name="T16" fmla="*/ 110 w 183"/>
                <a:gd name="T17" fmla="*/ 149 h 149"/>
                <a:gd name="T18" fmla="*/ 0 w 183"/>
                <a:gd name="T19" fmla="*/ 66 h 149"/>
                <a:gd name="T20" fmla="*/ 84 w 183"/>
                <a:gd name="T21" fmla="*/ 3 h 149"/>
                <a:gd name="T22" fmla="*/ 89 w 183"/>
                <a:gd name="T23" fmla="*/ 0 h 149"/>
                <a:gd name="T24" fmla="*/ 95 w 183"/>
                <a:gd name="T25" fmla="*/ 0 h 149"/>
                <a:gd name="T26" fmla="*/ 101 w 183"/>
                <a:gd name="T27" fmla="*/ 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3" h="149">
                  <a:moveTo>
                    <a:pt x="101" y="1"/>
                  </a:moveTo>
                  <a:lnTo>
                    <a:pt x="106" y="4"/>
                  </a:lnTo>
                  <a:lnTo>
                    <a:pt x="115" y="15"/>
                  </a:lnTo>
                  <a:lnTo>
                    <a:pt x="181" y="85"/>
                  </a:lnTo>
                  <a:lnTo>
                    <a:pt x="183" y="88"/>
                  </a:lnTo>
                  <a:lnTo>
                    <a:pt x="183" y="91"/>
                  </a:lnTo>
                  <a:lnTo>
                    <a:pt x="181" y="95"/>
                  </a:lnTo>
                  <a:lnTo>
                    <a:pt x="179" y="97"/>
                  </a:lnTo>
                  <a:lnTo>
                    <a:pt x="110" y="149"/>
                  </a:lnTo>
                  <a:lnTo>
                    <a:pt x="0" y="66"/>
                  </a:lnTo>
                  <a:lnTo>
                    <a:pt x="84" y="3"/>
                  </a:lnTo>
                  <a:lnTo>
                    <a:pt x="89" y="0"/>
                  </a:lnTo>
                  <a:lnTo>
                    <a:pt x="95" y="0"/>
                  </a:lnTo>
                  <a:lnTo>
                    <a:pt x="101" y="1"/>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295" name="Freeform 1743">
              <a:extLst>
                <a:ext uri="{FF2B5EF4-FFF2-40B4-BE49-F238E27FC236}">
                  <a16:creationId xmlns:a16="http://schemas.microsoft.com/office/drawing/2014/main" id="{9AE5F729-A5AC-4DF9-87EA-21917D78E406}"/>
                </a:ext>
              </a:extLst>
            </p:cNvPr>
            <p:cNvSpPr>
              <a:spLocks noChangeAspect="1"/>
            </p:cNvSpPr>
            <p:nvPr/>
          </p:nvSpPr>
          <p:spPr bwMode="auto">
            <a:xfrm>
              <a:off x="8729663" y="3998278"/>
              <a:ext cx="31750" cy="31750"/>
            </a:xfrm>
            <a:custGeom>
              <a:avLst/>
              <a:gdLst>
                <a:gd name="T0" fmla="*/ 101 w 183"/>
                <a:gd name="T1" fmla="*/ 1 h 149"/>
                <a:gd name="T2" fmla="*/ 106 w 183"/>
                <a:gd name="T3" fmla="*/ 4 h 149"/>
                <a:gd name="T4" fmla="*/ 115 w 183"/>
                <a:gd name="T5" fmla="*/ 15 h 149"/>
                <a:gd name="T6" fmla="*/ 181 w 183"/>
                <a:gd name="T7" fmla="*/ 85 h 149"/>
                <a:gd name="T8" fmla="*/ 183 w 183"/>
                <a:gd name="T9" fmla="*/ 88 h 149"/>
                <a:gd name="T10" fmla="*/ 183 w 183"/>
                <a:gd name="T11" fmla="*/ 91 h 149"/>
                <a:gd name="T12" fmla="*/ 181 w 183"/>
                <a:gd name="T13" fmla="*/ 95 h 149"/>
                <a:gd name="T14" fmla="*/ 179 w 183"/>
                <a:gd name="T15" fmla="*/ 97 h 149"/>
                <a:gd name="T16" fmla="*/ 110 w 183"/>
                <a:gd name="T17" fmla="*/ 149 h 149"/>
                <a:gd name="T18" fmla="*/ 0 w 183"/>
                <a:gd name="T19" fmla="*/ 66 h 149"/>
                <a:gd name="T20" fmla="*/ 84 w 183"/>
                <a:gd name="T21" fmla="*/ 3 h 149"/>
                <a:gd name="T22" fmla="*/ 89 w 183"/>
                <a:gd name="T23" fmla="*/ 0 h 149"/>
                <a:gd name="T24" fmla="*/ 95 w 183"/>
                <a:gd name="T25" fmla="*/ 0 h 149"/>
                <a:gd name="T26" fmla="*/ 101 w 183"/>
                <a:gd name="T27" fmla="*/ 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3" h="149">
                  <a:moveTo>
                    <a:pt x="101" y="1"/>
                  </a:moveTo>
                  <a:lnTo>
                    <a:pt x="106" y="4"/>
                  </a:lnTo>
                  <a:lnTo>
                    <a:pt x="115" y="15"/>
                  </a:lnTo>
                  <a:lnTo>
                    <a:pt x="181" y="85"/>
                  </a:lnTo>
                  <a:lnTo>
                    <a:pt x="183" y="88"/>
                  </a:lnTo>
                  <a:lnTo>
                    <a:pt x="183" y="91"/>
                  </a:lnTo>
                  <a:lnTo>
                    <a:pt x="181" y="95"/>
                  </a:lnTo>
                  <a:lnTo>
                    <a:pt x="179" y="97"/>
                  </a:lnTo>
                  <a:lnTo>
                    <a:pt x="110" y="149"/>
                  </a:lnTo>
                  <a:lnTo>
                    <a:pt x="0" y="66"/>
                  </a:lnTo>
                  <a:lnTo>
                    <a:pt x="84" y="3"/>
                  </a:lnTo>
                  <a:lnTo>
                    <a:pt x="89" y="0"/>
                  </a:lnTo>
                  <a:lnTo>
                    <a:pt x="95" y="0"/>
                  </a:lnTo>
                  <a:lnTo>
                    <a:pt x="101" y="1"/>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296" name="Freeform 1744">
              <a:extLst>
                <a:ext uri="{FF2B5EF4-FFF2-40B4-BE49-F238E27FC236}">
                  <a16:creationId xmlns:a16="http://schemas.microsoft.com/office/drawing/2014/main" id="{AF14427E-D818-40A8-8672-DDE5625A51DF}"/>
                </a:ext>
              </a:extLst>
            </p:cNvPr>
            <p:cNvSpPr>
              <a:spLocks noChangeAspect="1"/>
            </p:cNvSpPr>
            <p:nvPr/>
          </p:nvSpPr>
          <p:spPr bwMode="auto">
            <a:xfrm>
              <a:off x="8802689" y="3933191"/>
              <a:ext cx="66675" cy="73025"/>
            </a:xfrm>
            <a:custGeom>
              <a:avLst/>
              <a:gdLst>
                <a:gd name="T0" fmla="*/ 0 w 392"/>
                <a:gd name="T1" fmla="*/ 273 h 321"/>
                <a:gd name="T2" fmla="*/ 0 w 392"/>
                <a:gd name="T3" fmla="*/ 166 h 321"/>
                <a:gd name="T4" fmla="*/ 0 w 392"/>
                <a:gd name="T5" fmla="*/ 156 h 321"/>
                <a:gd name="T6" fmla="*/ 5 w 392"/>
                <a:gd name="T7" fmla="*/ 145 h 321"/>
                <a:gd name="T8" fmla="*/ 14 w 392"/>
                <a:gd name="T9" fmla="*/ 137 h 321"/>
                <a:gd name="T10" fmla="*/ 232 w 392"/>
                <a:gd name="T11" fmla="*/ 6 h 321"/>
                <a:gd name="T12" fmla="*/ 243 w 392"/>
                <a:gd name="T13" fmla="*/ 1 h 321"/>
                <a:gd name="T14" fmla="*/ 257 w 392"/>
                <a:gd name="T15" fmla="*/ 0 h 321"/>
                <a:gd name="T16" fmla="*/ 270 w 392"/>
                <a:gd name="T17" fmla="*/ 3 h 321"/>
                <a:gd name="T18" fmla="*/ 280 w 392"/>
                <a:gd name="T19" fmla="*/ 9 h 321"/>
                <a:gd name="T20" fmla="*/ 392 w 392"/>
                <a:gd name="T21" fmla="*/ 113 h 321"/>
                <a:gd name="T22" fmla="*/ 44 w 392"/>
                <a:gd name="T23" fmla="*/ 321 h 321"/>
                <a:gd name="T24" fmla="*/ 8 w 392"/>
                <a:gd name="T25" fmla="*/ 288 h 321"/>
                <a:gd name="T26" fmla="*/ 6 w 392"/>
                <a:gd name="T27" fmla="*/ 282 h 321"/>
                <a:gd name="T28" fmla="*/ 0 w 392"/>
                <a:gd name="T29" fmla="*/ 27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2" h="321">
                  <a:moveTo>
                    <a:pt x="0" y="273"/>
                  </a:moveTo>
                  <a:lnTo>
                    <a:pt x="0" y="166"/>
                  </a:lnTo>
                  <a:lnTo>
                    <a:pt x="0" y="156"/>
                  </a:lnTo>
                  <a:lnTo>
                    <a:pt x="5" y="145"/>
                  </a:lnTo>
                  <a:lnTo>
                    <a:pt x="14" y="137"/>
                  </a:lnTo>
                  <a:lnTo>
                    <a:pt x="232" y="6"/>
                  </a:lnTo>
                  <a:lnTo>
                    <a:pt x="243" y="1"/>
                  </a:lnTo>
                  <a:lnTo>
                    <a:pt x="257" y="0"/>
                  </a:lnTo>
                  <a:lnTo>
                    <a:pt x="270" y="3"/>
                  </a:lnTo>
                  <a:lnTo>
                    <a:pt x="280" y="9"/>
                  </a:lnTo>
                  <a:lnTo>
                    <a:pt x="392" y="113"/>
                  </a:lnTo>
                  <a:lnTo>
                    <a:pt x="44" y="321"/>
                  </a:lnTo>
                  <a:lnTo>
                    <a:pt x="8" y="288"/>
                  </a:lnTo>
                  <a:lnTo>
                    <a:pt x="6" y="282"/>
                  </a:lnTo>
                  <a:lnTo>
                    <a:pt x="0" y="273"/>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297" name="Freeform 1745">
              <a:extLst>
                <a:ext uri="{FF2B5EF4-FFF2-40B4-BE49-F238E27FC236}">
                  <a16:creationId xmlns:a16="http://schemas.microsoft.com/office/drawing/2014/main" id="{E90DD681-8C9B-406E-B2A9-2AFC4869B735}"/>
                </a:ext>
              </a:extLst>
            </p:cNvPr>
            <p:cNvSpPr>
              <a:spLocks noChangeAspect="1"/>
            </p:cNvSpPr>
            <p:nvPr/>
          </p:nvSpPr>
          <p:spPr bwMode="auto">
            <a:xfrm>
              <a:off x="8802689" y="3933191"/>
              <a:ext cx="66675" cy="73025"/>
            </a:xfrm>
            <a:custGeom>
              <a:avLst/>
              <a:gdLst>
                <a:gd name="T0" fmla="*/ 0 w 392"/>
                <a:gd name="T1" fmla="*/ 273 h 321"/>
                <a:gd name="T2" fmla="*/ 0 w 392"/>
                <a:gd name="T3" fmla="*/ 166 h 321"/>
                <a:gd name="T4" fmla="*/ 0 w 392"/>
                <a:gd name="T5" fmla="*/ 156 h 321"/>
                <a:gd name="T6" fmla="*/ 5 w 392"/>
                <a:gd name="T7" fmla="*/ 145 h 321"/>
                <a:gd name="T8" fmla="*/ 14 w 392"/>
                <a:gd name="T9" fmla="*/ 137 h 321"/>
                <a:gd name="T10" fmla="*/ 232 w 392"/>
                <a:gd name="T11" fmla="*/ 6 h 321"/>
                <a:gd name="T12" fmla="*/ 243 w 392"/>
                <a:gd name="T13" fmla="*/ 1 h 321"/>
                <a:gd name="T14" fmla="*/ 257 w 392"/>
                <a:gd name="T15" fmla="*/ 0 h 321"/>
                <a:gd name="T16" fmla="*/ 270 w 392"/>
                <a:gd name="T17" fmla="*/ 3 h 321"/>
                <a:gd name="T18" fmla="*/ 280 w 392"/>
                <a:gd name="T19" fmla="*/ 9 h 321"/>
                <a:gd name="T20" fmla="*/ 392 w 392"/>
                <a:gd name="T21" fmla="*/ 113 h 321"/>
                <a:gd name="T22" fmla="*/ 44 w 392"/>
                <a:gd name="T23" fmla="*/ 321 h 321"/>
                <a:gd name="T24" fmla="*/ 8 w 392"/>
                <a:gd name="T25" fmla="*/ 288 h 321"/>
                <a:gd name="T26" fmla="*/ 6 w 392"/>
                <a:gd name="T27" fmla="*/ 282 h 321"/>
                <a:gd name="T28" fmla="*/ 0 w 392"/>
                <a:gd name="T29" fmla="*/ 27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2" h="321">
                  <a:moveTo>
                    <a:pt x="0" y="273"/>
                  </a:moveTo>
                  <a:lnTo>
                    <a:pt x="0" y="166"/>
                  </a:lnTo>
                  <a:lnTo>
                    <a:pt x="0" y="156"/>
                  </a:lnTo>
                  <a:lnTo>
                    <a:pt x="5" y="145"/>
                  </a:lnTo>
                  <a:lnTo>
                    <a:pt x="14" y="137"/>
                  </a:lnTo>
                  <a:lnTo>
                    <a:pt x="232" y="6"/>
                  </a:lnTo>
                  <a:lnTo>
                    <a:pt x="243" y="1"/>
                  </a:lnTo>
                  <a:lnTo>
                    <a:pt x="257" y="0"/>
                  </a:lnTo>
                  <a:lnTo>
                    <a:pt x="270" y="3"/>
                  </a:lnTo>
                  <a:lnTo>
                    <a:pt x="280" y="9"/>
                  </a:lnTo>
                  <a:lnTo>
                    <a:pt x="392" y="113"/>
                  </a:lnTo>
                  <a:lnTo>
                    <a:pt x="44" y="321"/>
                  </a:lnTo>
                  <a:lnTo>
                    <a:pt x="8" y="288"/>
                  </a:lnTo>
                  <a:lnTo>
                    <a:pt x="6" y="282"/>
                  </a:lnTo>
                  <a:lnTo>
                    <a:pt x="0" y="273"/>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298" name="Freeform 1746">
              <a:extLst>
                <a:ext uri="{FF2B5EF4-FFF2-40B4-BE49-F238E27FC236}">
                  <a16:creationId xmlns:a16="http://schemas.microsoft.com/office/drawing/2014/main" id="{A25D4D5F-F290-4DC9-9521-7A41661B77BB}"/>
                </a:ext>
              </a:extLst>
            </p:cNvPr>
            <p:cNvSpPr>
              <a:spLocks noChangeAspect="1"/>
            </p:cNvSpPr>
            <p:nvPr/>
          </p:nvSpPr>
          <p:spPr bwMode="auto">
            <a:xfrm>
              <a:off x="8847138" y="3926841"/>
              <a:ext cx="190500" cy="30163"/>
            </a:xfrm>
            <a:custGeom>
              <a:avLst/>
              <a:gdLst>
                <a:gd name="T0" fmla="*/ 5 w 1116"/>
                <a:gd name="T1" fmla="*/ 16 h 142"/>
                <a:gd name="T2" fmla="*/ 23 w 1116"/>
                <a:gd name="T3" fmla="*/ 5 h 142"/>
                <a:gd name="T4" fmla="*/ 44 w 1116"/>
                <a:gd name="T5" fmla="*/ 0 h 142"/>
                <a:gd name="T6" fmla="*/ 955 w 1116"/>
                <a:gd name="T7" fmla="*/ 0 h 142"/>
                <a:gd name="T8" fmla="*/ 970 w 1116"/>
                <a:gd name="T9" fmla="*/ 2 h 142"/>
                <a:gd name="T10" fmla="*/ 982 w 1116"/>
                <a:gd name="T11" fmla="*/ 9 h 142"/>
                <a:gd name="T12" fmla="*/ 1113 w 1116"/>
                <a:gd name="T13" fmla="*/ 126 h 142"/>
                <a:gd name="T14" fmla="*/ 1116 w 1116"/>
                <a:gd name="T15" fmla="*/ 131 h 142"/>
                <a:gd name="T16" fmla="*/ 1114 w 1116"/>
                <a:gd name="T17" fmla="*/ 137 h 142"/>
                <a:gd name="T18" fmla="*/ 1110 w 1116"/>
                <a:gd name="T19" fmla="*/ 140 h 142"/>
                <a:gd name="T20" fmla="*/ 1102 w 1116"/>
                <a:gd name="T21" fmla="*/ 142 h 142"/>
                <a:gd name="T22" fmla="*/ 125 w 1116"/>
                <a:gd name="T23" fmla="*/ 142 h 142"/>
                <a:gd name="T24" fmla="*/ 4 w 1116"/>
                <a:gd name="T25" fmla="*/ 31 h 142"/>
                <a:gd name="T26" fmla="*/ 0 w 1116"/>
                <a:gd name="T27" fmla="*/ 23 h 142"/>
                <a:gd name="T28" fmla="*/ 5 w 1116"/>
                <a:gd name="T29"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16" h="142">
                  <a:moveTo>
                    <a:pt x="5" y="16"/>
                  </a:moveTo>
                  <a:lnTo>
                    <a:pt x="23" y="5"/>
                  </a:lnTo>
                  <a:lnTo>
                    <a:pt x="44" y="0"/>
                  </a:lnTo>
                  <a:lnTo>
                    <a:pt x="955" y="0"/>
                  </a:lnTo>
                  <a:lnTo>
                    <a:pt x="970" y="2"/>
                  </a:lnTo>
                  <a:lnTo>
                    <a:pt x="982" y="9"/>
                  </a:lnTo>
                  <a:lnTo>
                    <a:pt x="1113" y="126"/>
                  </a:lnTo>
                  <a:lnTo>
                    <a:pt x="1116" y="131"/>
                  </a:lnTo>
                  <a:lnTo>
                    <a:pt x="1114" y="137"/>
                  </a:lnTo>
                  <a:lnTo>
                    <a:pt x="1110" y="140"/>
                  </a:lnTo>
                  <a:lnTo>
                    <a:pt x="1102" y="142"/>
                  </a:lnTo>
                  <a:lnTo>
                    <a:pt x="125" y="142"/>
                  </a:lnTo>
                  <a:lnTo>
                    <a:pt x="4" y="31"/>
                  </a:lnTo>
                  <a:lnTo>
                    <a:pt x="0" y="23"/>
                  </a:lnTo>
                  <a:lnTo>
                    <a:pt x="5" y="16"/>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299" name="Freeform 1747">
              <a:extLst>
                <a:ext uri="{FF2B5EF4-FFF2-40B4-BE49-F238E27FC236}">
                  <a16:creationId xmlns:a16="http://schemas.microsoft.com/office/drawing/2014/main" id="{4781E171-1F4A-44E4-8BB7-4B29C6D8B6B3}"/>
                </a:ext>
              </a:extLst>
            </p:cNvPr>
            <p:cNvSpPr>
              <a:spLocks noChangeAspect="1"/>
            </p:cNvSpPr>
            <p:nvPr/>
          </p:nvSpPr>
          <p:spPr bwMode="auto">
            <a:xfrm>
              <a:off x="8847138" y="3926841"/>
              <a:ext cx="190500" cy="30163"/>
            </a:xfrm>
            <a:custGeom>
              <a:avLst/>
              <a:gdLst>
                <a:gd name="T0" fmla="*/ 5 w 1116"/>
                <a:gd name="T1" fmla="*/ 16 h 142"/>
                <a:gd name="T2" fmla="*/ 23 w 1116"/>
                <a:gd name="T3" fmla="*/ 5 h 142"/>
                <a:gd name="T4" fmla="*/ 44 w 1116"/>
                <a:gd name="T5" fmla="*/ 0 h 142"/>
                <a:gd name="T6" fmla="*/ 955 w 1116"/>
                <a:gd name="T7" fmla="*/ 0 h 142"/>
                <a:gd name="T8" fmla="*/ 970 w 1116"/>
                <a:gd name="T9" fmla="*/ 2 h 142"/>
                <a:gd name="T10" fmla="*/ 982 w 1116"/>
                <a:gd name="T11" fmla="*/ 9 h 142"/>
                <a:gd name="T12" fmla="*/ 1113 w 1116"/>
                <a:gd name="T13" fmla="*/ 126 h 142"/>
                <a:gd name="T14" fmla="*/ 1116 w 1116"/>
                <a:gd name="T15" fmla="*/ 131 h 142"/>
                <a:gd name="T16" fmla="*/ 1114 w 1116"/>
                <a:gd name="T17" fmla="*/ 137 h 142"/>
                <a:gd name="T18" fmla="*/ 1110 w 1116"/>
                <a:gd name="T19" fmla="*/ 140 h 142"/>
                <a:gd name="T20" fmla="*/ 1102 w 1116"/>
                <a:gd name="T21" fmla="*/ 142 h 142"/>
                <a:gd name="T22" fmla="*/ 125 w 1116"/>
                <a:gd name="T23" fmla="*/ 142 h 142"/>
                <a:gd name="T24" fmla="*/ 4 w 1116"/>
                <a:gd name="T25" fmla="*/ 31 h 142"/>
                <a:gd name="T26" fmla="*/ 0 w 1116"/>
                <a:gd name="T27" fmla="*/ 23 h 142"/>
                <a:gd name="T28" fmla="*/ 5 w 1116"/>
                <a:gd name="T29"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16" h="142">
                  <a:moveTo>
                    <a:pt x="5" y="16"/>
                  </a:moveTo>
                  <a:lnTo>
                    <a:pt x="23" y="5"/>
                  </a:lnTo>
                  <a:lnTo>
                    <a:pt x="44" y="0"/>
                  </a:lnTo>
                  <a:lnTo>
                    <a:pt x="955" y="0"/>
                  </a:lnTo>
                  <a:lnTo>
                    <a:pt x="970" y="2"/>
                  </a:lnTo>
                  <a:lnTo>
                    <a:pt x="982" y="9"/>
                  </a:lnTo>
                  <a:lnTo>
                    <a:pt x="1113" y="126"/>
                  </a:lnTo>
                  <a:lnTo>
                    <a:pt x="1116" y="131"/>
                  </a:lnTo>
                  <a:lnTo>
                    <a:pt x="1114" y="137"/>
                  </a:lnTo>
                  <a:lnTo>
                    <a:pt x="1110" y="140"/>
                  </a:lnTo>
                  <a:lnTo>
                    <a:pt x="1102" y="142"/>
                  </a:lnTo>
                  <a:lnTo>
                    <a:pt x="125" y="142"/>
                  </a:lnTo>
                  <a:lnTo>
                    <a:pt x="4" y="31"/>
                  </a:lnTo>
                  <a:lnTo>
                    <a:pt x="0" y="23"/>
                  </a:lnTo>
                  <a:lnTo>
                    <a:pt x="5" y="16"/>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00" name="Freeform 1748">
              <a:extLst>
                <a:ext uri="{FF2B5EF4-FFF2-40B4-BE49-F238E27FC236}">
                  <a16:creationId xmlns:a16="http://schemas.microsoft.com/office/drawing/2014/main" id="{7810A01A-899A-4F3F-81B5-8460291FFCC0}"/>
                </a:ext>
              </a:extLst>
            </p:cNvPr>
            <p:cNvSpPr>
              <a:spLocks noChangeAspect="1"/>
            </p:cNvSpPr>
            <p:nvPr/>
          </p:nvSpPr>
          <p:spPr bwMode="auto">
            <a:xfrm>
              <a:off x="9013826" y="3958590"/>
              <a:ext cx="106363" cy="120650"/>
            </a:xfrm>
            <a:custGeom>
              <a:avLst/>
              <a:gdLst>
                <a:gd name="T0" fmla="*/ 169 w 635"/>
                <a:gd name="T1" fmla="*/ 10 h 535"/>
                <a:gd name="T2" fmla="*/ 626 w 635"/>
                <a:gd name="T3" fmla="*/ 417 h 535"/>
                <a:gd name="T4" fmla="*/ 632 w 635"/>
                <a:gd name="T5" fmla="*/ 424 h 535"/>
                <a:gd name="T6" fmla="*/ 632 w 635"/>
                <a:gd name="T7" fmla="*/ 426 h 535"/>
                <a:gd name="T8" fmla="*/ 635 w 635"/>
                <a:gd name="T9" fmla="*/ 433 h 535"/>
                <a:gd name="T10" fmla="*/ 635 w 635"/>
                <a:gd name="T11" fmla="*/ 472 h 535"/>
                <a:gd name="T12" fmla="*/ 631 w 635"/>
                <a:gd name="T13" fmla="*/ 482 h 535"/>
                <a:gd name="T14" fmla="*/ 622 w 635"/>
                <a:gd name="T15" fmla="*/ 490 h 535"/>
                <a:gd name="T16" fmla="*/ 551 w 635"/>
                <a:gd name="T17" fmla="*/ 535 h 535"/>
                <a:gd name="T18" fmla="*/ 0 w 635"/>
                <a:gd name="T19" fmla="*/ 47 h 535"/>
                <a:gd name="T20" fmla="*/ 66 w 635"/>
                <a:gd name="T21" fmla="*/ 7 h 535"/>
                <a:gd name="T22" fmla="*/ 76 w 635"/>
                <a:gd name="T23" fmla="*/ 1 h 535"/>
                <a:gd name="T24" fmla="*/ 88 w 635"/>
                <a:gd name="T25" fmla="*/ 0 h 535"/>
                <a:gd name="T26" fmla="*/ 142 w 635"/>
                <a:gd name="T27" fmla="*/ 0 h 535"/>
                <a:gd name="T28" fmla="*/ 156 w 635"/>
                <a:gd name="T29" fmla="*/ 2 h 535"/>
                <a:gd name="T30" fmla="*/ 169 w 635"/>
                <a:gd name="T31" fmla="*/ 1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5" h="535">
                  <a:moveTo>
                    <a:pt x="169" y="10"/>
                  </a:moveTo>
                  <a:lnTo>
                    <a:pt x="626" y="417"/>
                  </a:lnTo>
                  <a:lnTo>
                    <a:pt x="632" y="424"/>
                  </a:lnTo>
                  <a:lnTo>
                    <a:pt x="632" y="426"/>
                  </a:lnTo>
                  <a:lnTo>
                    <a:pt x="635" y="433"/>
                  </a:lnTo>
                  <a:lnTo>
                    <a:pt x="635" y="472"/>
                  </a:lnTo>
                  <a:lnTo>
                    <a:pt x="631" y="482"/>
                  </a:lnTo>
                  <a:lnTo>
                    <a:pt x="622" y="490"/>
                  </a:lnTo>
                  <a:lnTo>
                    <a:pt x="551" y="535"/>
                  </a:lnTo>
                  <a:lnTo>
                    <a:pt x="0" y="47"/>
                  </a:lnTo>
                  <a:lnTo>
                    <a:pt x="66" y="7"/>
                  </a:lnTo>
                  <a:lnTo>
                    <a:pt x="76" y="1"/>
                  </a:lnTo>
                  <a:lnTo>
                    <a:pt x="88" y="0"/>
                  </a:lnTo>
                  <a:lnTo>
                    <a:pt x="142" y="0"/>
                  </a:lnTo>
                  <a:lnTo>
                    <a:pt x="156" y="2"/>
                  </a:lnTo>
                  <a:lnTo>
                    <a:pt x="169" y="10"/>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301" name="Freeform 1749">
              <a:extLst>
                <a:ext uri="{FF2B5EF4-FFF2-40B4-BE49-F238E27FC236}">
                  <a16:creationId xmlns:a16="http://schemas.microsoft.com/office/drawing/2014/main" id="{37DBAB73-2601-4017-A61C-B4375A70F498}"/>
                </a:ext>
              </a:extLst>
            </p:cNvPr>
            <p:cNvSpPr>
              <a:spLocks noChangeAspect="1"/>
            </p:cNvSpPr>
            <p:nvPr/>
          </p:nvSpPr>
          <p:spPr bwMode="auto">
            <a:xfrm>
              <a:off x="9013826" y="3958590"/>
              <a:ext cx="106363" cy="120650"/>
            </a:xfrm>
            <a:custGeom>
              <a:avLst/>
              <a:gdLst>
                <a:gd name="T0" fmla="*/ 169 w 635"/>
                <a:gd name="T1" fmla="*/ 10 h 535"/>
                <a:gd name="T2" fmla="*/ 626 w 635"/>
                <a:gd name="T3" fmla="*/ 417 h 535"/>
                <a:gd name="T4" fmla="*/ 632 w 635"/>
                <a:gd name="T5" fmla="*/ 424 h 535"/>
                <a:gd name="T6" fmla="*/ 632 w 635"/>
                <a:gd name="T7" fmla="*/ 426 h 535"/>
                <a:gd name="T8" fmla="*/ 635 w 635"/>
                <a:gd name="T9" fmla="*/ 433 h 535"/>
                <a:gd name="T10" fmla="*/ 635 w 635"/>
                <a:gd name="T11" fmla="*/ 472 h 535"/>
                <a:gd name="T12" fmla="*/ 631 w 635"/>
                <a:gd name="T13" fmla="*/ 482 h 535"/>
                <a:gd name="T14" fmla="*/ 622 w 635"/>
                <a:gd name="T15" fmla="*/ 490 h 535"/>
                <a:gd name="T16" fmla="*/ 551 w 635"/>
                <a:gd name="T17" fmla="*/ 535 h 535"/>
                <a:gd name="T18" fmla="*/ 0 w 635"/>
                <a:gd name="T19" fmla="*/ 47 h 535"/>
                <a:gd name="T20" fmla="*/ 66 w 635"/>
                <a:gd name="T21" fmla="*/ 7 h 535"/>
                <a:gd name="T22" fmla="*/ 76 w 635"/>
                <a:gd name="T23" fmla="*/ 1 h 535"/>
                <a:gd name="T24" fmla="*/ 88 w 635"/>
                <a:gd name="T25" fmla="*/ 0 h 535"/>
                <a:gd name="T26" fmla="*/ 142 w 635"/>
                <a:gd name="T27" fmla="*/ 0 h 535"/>
                <a:gd name="T28" fmla="*/ 156 w 635"/>
                <a:gd name="T29" fmla="*/ 2 h 535"/>
                <a:gd name="T30" fmla="*/ 169 w 635"/>
                <a:gd name="T31" fmla="*/ 1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5" h="535">
                  <a:moveTo>
                    <a:pt x="169" y="10"/>
                  </a:moveTo>
                  <a:lnTo>
                    <a:pt x="626" y="417"/>
                  </a:lnTo>
                  <a:lnTo>
                    <a:pt x="632" y="424"/>
                  </a:lnTo>
                  <a:lnTo>
                    <a:pt x="632" y="426"/>
                  </a:lnTo>
                  <a:lnTo>
                    <a:pt x="635" y="433"/>
                  </a:lnTo>
                  <a:lnTo>
                    <a:pt x="635" y="472"/>
                  </a:lnTo>
                  <a:lnTo>
                    <a:pt x="631" y="482"/>
                  </a:lnTo>
                  <a:lnTo>
                    <a:pt x="622" y="490"/>
                  </a:lnTo>
                  <a:lnTo>
                    <a:pt x="551" y="535"/>
                  </a:lnTo>
                  <a:lnTo>
                    <a:pt x="0" y="47"/>
                  </a:lnTo>
                  <a:lnTo>
                    <a:pt x="66" y="7"/>
                  </a:lnTo>
                  <a:lnTo>
                    <a:pt x="76" y="1"/>
                  </a:lnTo>
                  <a:lnTo>
                    <a:pt x="88" y="0"/>
                  </a:lnTo>
                  <a:lnTo>
                    <a:pt x="142" y="0"/>
                  </a:lnTo>
                  <a:lnTo>
                    <a:pt x="156" y="2"/>
                  </a:lnTo>
                  <a:lnTo>
                    <a:pt x="169" y="10"/>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02" name="Freeform 1750">
              <a:extLst>
                <a:ext uri="{FF2B5EF4-FFF2-40B4-BE49-F238E27FC236}">
                  <a16:creationId xmlns:a16="http://schemas.microsoft.com/office/drawing/2014/main" id="{22B73682-EF19-41D6-BD35-EEEC6D3C21B0}"/>
                </a:ext>
              </a:extLst>
            </p:cNvPr>
            <p:cNvSpPr>
              <a:spLocks noChangeAspect="1"/>
            </p:cNvSpPr>
            <p:nvPr/>
          </p:nvSpPr>
          <p:spPr bwMode="auto">
            <a:xfrm>
              <a:off x="9118601" y="4118928"/>
              <a:ext cx="60325" cy="19050"/>
            </a:xfrm>
            <a:custGeom>
              <a:avLst/>
              <a:gdLst>
                <a:gd name="T0" fmla="*/ 4 w 355"/>
                <a:gd name="T1" fmla="*/ 14 h 83"/>
                <a:gd name="T2" fmla="*/ 10 w 355"/>
                <a:gd name="T3" fmla="*/ 7 h 83"/>
                <a:gd name="T4" fmla="*/ 17 w 355"/>
                <a:gd name="T5" fmla="*/ 3 h 83"/>
                <a:gd name="T6" fmla="*/ 26 w 355"/>
                <a:gd name="T7" fmla="*/ 1 h 83"/>
                <a:gd name="T8" fmla="*/ 34 w 355"/>
                <a:gd name="T9" fmla="*/ 0 h 83"/>
                <a:gd name="T10" fmla="*/ 262 w 355"/>
                <a:gd name="T11" fmla="*/ 0 h 83"/>
                <a:gd name="T12" fmla="*/ 268 w 355"/>
                <a:gd name="T13" fmla="*/ 1 h 83"/>
                <a:gd name="T14" fmla="*/ 271 w 355"/>
                <a:gd name="T15" fmla="*/ 3 h 83"/>
                <a:gd name="T16" fmla="*/ 275 w 355"/>
                <a:gd name="T17" fmla="*/ 6 h 83"/>
                <a:gd name="T18" fmla="*/ 276 w 355"/>
                <a:gd name="T19" fmla="*/ 11 h 83"/>
                <a:gd name="T20" fmla="*/ 276 w 355"/>
                <a:gd name="T21" fmla="*/ 46 h 83"/>
                <a:gd name="T22" fmla="*/ 277 w 355"/>
                <a:gd name="T23" fmla="*/ 50 h 83"/>
                <a:gd name="T24" fmla="*/ 280 w 355"/>
                <a:gd name="T25" fmla="*/ 54 h 83"/>
                <a:gd name="T26" fmla="*/ 285 w 355"/>
                <a:gd name="T27" fmla="*/ 56 h 83"/>
                <a:gd name="T28" fmla="*/ 289 w 355"/>
                <a:gd name="T29" fmla="*/ 56 h 83"/>
                <a:gd name="T30" fmla="*/ 341 w 355"/>
                <a:gd name="T31" fmla="*/ 56 h 83"/>
                <a:gd name="T32" fmla="*/ 347 w 355"/>
                <a:gd name="T33" fmla="*/ 57 h 83"/>
                <a:gd name="T34" fmla="*/ 351 w 355"/>
                <a:gd name="T35" fmla="*/ 59 h 83"/>
                <a:gd name="T36" fmla="*/ 355 w 355"/>
                <a:gd name="T37" fmla="*/ 63 h 83"/>
                <a:gd name="T38" fmla="*/ 355 w 355"/>
                <a:gd name="T39" fmla="*/ 66 h 83"/>
                <a:gd name="T40" fmla="*/ 355 w 355"/>
                <a:gd name="T41" fmla="*/ 83 h 83"/>
                <a:gd name="T42" fmla="*/ 54 w 355"/>
                <a:gd name="T43" fmla="*/ 83 h 83"/>
                <a:gd name="T44" fmla="*/ 54 w 355"/>
                <a:gd name="T45" fmla="*/ 58 h 83"/>
                <a:gd name="T46" fmla="*/ 0 w 355"/>
                <a:gd name="T47" fmla="*/ 58 h 83"/>
                <a:gd name="T48" fmla="*/ 0 w 355"/>
                <a:gd name="T49" fmla="*/ 27 h 83"/>
                <a:gd name="T50" fmla="*/ 0 w 355"/>
                <a:gd name="T51" fmla="*/ 26 h 83"/>
                <a:gd name="T52" fmla="*/ 1 w 355"/>
                <a:gd name="T53" fmla="*/ 20 h 83"/>
                <a:gd name="T54" fmla="*/ 4 w 355"/>
                <a:gd name="T55" fmla="*/ 1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5" h="83">
                  <a:moveTo>
                    <a:pt x="4" y="14"/>
                  </a:moveTo>
                  <a:lnTo>
                    <a:pt x="10" y="7"/>
                  </a:lnTo>
                  <a:lnTo>
                    <a:pt x="17" y="3"/>
                  </a:lnTo>
                  <a:lnTo>
                    <a:pt x="26" y="1"/>
                  </a:lnTo>
                  <a:lnTo>
                    <a:pt x="34" y="0"/>
                  </a:lnTo>
                  <a:lnTo>
                    <a:pt x="262" y="0"/>
                  </a:lnTo>
                  <a:lnTo>
                    <a:pt x="268" y="1"/>
                  </a:lnTo>
                  <a:lnTo>
                    <a:pt x="271" y="3"/>
                  </a:lnTo>
                  <a:lnTo>
                    <a:pt x="275" y="6"/>
                  </a:lnTo>
                  <a:lnTo>
                    <a:pt x="276" y="11"/>
                  </a:lnTo>
                  <a:lnTo>
                    <a:pt x="276" y="46"/>
                  </a:lnTo>
                  <a:lnTo>
                    <a:pt x="277" y="50"/>
                  </a:lnTo>
                  <a:lnTo>
                    <a:pt x="280" y="54"/>
                  </a:lnTo>
                  <a:lnTo>
                    <a:pt x="285" y="56"/>
                  </a:lnTo>
                  <a:lnTo>
                    <a:pt x="289" y="56"/>
                  </a:lnTo>
                  <a:lnTo>
                    <a:pt x="341" y="56"/>
                  </a:lnTo>
                  <a:lnTo>
                    <a:pt x="347" y="57"/>
                  </a:lnTo>
                  <a:lnTo>
                    <a:pt x="351" y="59"/>
                  </a:lnTo>
                  <a:lnTo>
                    <a:pt x="355" y="63"/>
                  </a:lnTo>
                  <a:lnTo>
                    <a:pt x="355" y="66"/>
                  </a:lnTo>
                  <a:lnTo>
                    <a:pt x="355" y="83"/>
                  </a:lnTo>
                  <a:lnTo>
                    <a:pt x="54" y="83"/>
                  </a:lnTo>
                  <a:lnTo>
                    <a:pt x="54" y="58"/>
                  </a:lnTo>
                  <a:lnTo>
                    <a:pt x="0" y="58"/>
                  </a:lnTo>
                  <a:lnTo>
                    <a:pt x="0" y="27"/>
                  </a:lnTo>
                  <a:lnTo>
                    <a:pt x="0" y="26"/>
                  </a:lnTo>
                  <a:lnTo>
                    <a:pt x="1" y="20"/>
                  </a:lnTo>
                  <a:lnTo>
                    <a:pt x="4" y="14"/>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303" name="Freeform 1751">
              <a:extLst>
                <a:ext uri="{FF2B5EF4-FFF2-40B4-BE49-F238E27FC236}">
                  <a16:creationId xmlns:a16="http://schemas.microsoft.com/office/drawing/2014/main" id="{90F780D2-3D9A-45FD-86F0-40D85BBC804C}"/>
                </a:ext>
              </a:extLst>
            </p:cNvPr>
            <p:cNvSpPr>
              <a:spLocks noChangeAspect="1"/>
            </p:cNvSpPr>
            <p:nvPr/>
          </p:nvSpPr>
          <p:spPr bwMode="auto">
            <a:xfrm>
              <a:off x="9118601" y="4118928"/>
              <a:ext cx="60325" cy="19050"/>
            </a:xfrm>
            <a:custGeom>
              <a:avLst/>
              <a:gdLst>
                <a:gd name="T0" fmla="*/ 4 w 355"/>
                <a:gd name="T1" fmla="*/ 14 h 83"/>
                <a:gd name="T2" fmla="*/ 10 w 355"/>
                <a:gd name="T3" fmla="*/ 7 h 83"/>
                <a:gd name="T4" fmla="*/ 17 w 355"/>
                <a:gd name="T5" fmla="*/ 3 h 83"/>
                <a:gd name="T6" fmla="*/ 26 w 355"/>
                <a:gd name="T7" fmla="*/ 1 h 83"/>
                <a:gd name="T8" fmla="*/ 34 w 355"/>
                <a:gd name="T9" fmla="*/ 0 h 83"/>
                <a:gd name="T10" fmla="*/ 262 w 355"/>
                <a:gd name="T11" fmla="*/ 0 h 83"/>
                <a:gd name="T12" fmla="*/ 268 w 355"/>
                <a:gd name="T13" fmla="*/ 1 h 83"/>
                <a:gd name="T14" fmla="*/ 271 w 355"/>
                <a:gd name="T15" fmla="*/ 3 h 83"/>
                <a:gd name="T16" fmla="*/ 275 w 355"/>
                <a:gd name="T17" fmla="*/ 6 h 83"/>
                <a:gd name="T18" fmla="*/ 276 w 355"/>
                <a:gd name="T19" fmla="*/ 11 h 83"/>
                <a:gd name="T20" fmla="*/ 276 w 355"/>
                <a:gd name="T21" fmla="*/ 46 h 83"/>
                <a:gd name="T22" fmla="*/ 277 w 355"/>
                <a:gd name="T23" fmla="*/ 50 h 83"/>
                <a:gd name="T24" fmla="*/ 280 w 355"/>
                <a:gd name="T25" fmla="*/ 54 h 83"/>
                <a:gd name="T26" fmla="*/ 285 w 355"/>
                <a:gd name="T27" fmla="*/ 56 h 83"/>
                <a:gd name="T28" fmla="*/ 289 w 355"/>
                <a:gd name="T29" fmla="*/ 56 h 83"/>
                <a:gd name="T30" fmla="*/ 341 w 355"/>
                <a:gd name="T31" fmla="*/ 56 h 83"/>
                <a:gd name="T32" fmla="*/ 347 w 355"/>
                <a:gd name="T33" fmla="*/ 57 h 83"/>
                <a:gd name="T34" fmla="*/ 351 w 355"/>
                <a:gd name="T35" fmla="*/ 59 h 83"/>
                <a:gd name="T36" fmla="*/ 355 w 355"/>
                <a:gd name="T37" fmla="*/ 63 h 83"/>
                <a:gd name="T38" fmla="*/ 355 w 355"/>
                <a:gd name="T39" fmla="*/ 66 h 83"/>
                <a:gd name="T40" fmla="*/ 355 w 355"/>
                <a:gd name="T41" fmla="*/ 83 h 83"/>
                <a:gd name="T42" fmla="*/ 54 w 355"/>
                <a:gd name="T43" fmla="*/ 83 h 83"/>
                <a:gd name="T44" fmla="*/ 54 w 355"/>
                <a:gd name="T45" fmla="*/ 58 h 83"/>
                <a:gd name="T46" fmla="*/ 0 w 355"/>
                <a:gd name="T47" fmla="*/ 58 h 83"/>
                <a:gd name="T48" fmla="*/ 0 w 355"/>
                <a:gd name="T49" fmla="*/ 27 h 83"/>
                <a:gd name="T50" fmla="*/ 0 w 355"/>
                <a:gd name="T51" fmla="*/ 26 h 83"/>
                <a:gd name="T52" fmla="*/ 1 w 355"/>
                <a:gd name="T53" fmla="*/ 20 h 83"/>
                <a:gd name="T54" fmla="*/ 4 w 355"/>
                <a:gd name="T55" fmla="*/ 1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5" h="83">
                  <a:moveTo>
                    <a:pt x="4" y="14"/>
                  </a:moveTo>
                  <a:lnTo>
                    <a:pt x="10" y="7"/>
                  </a:lnTo>
                  <a:lnTo>
                    <a:pt x="17" y="3"/>
                  </a:lnTo>
                  <a:lnTo>
                    <a:pt x="26" y="1"/>
                  </a:lnTo>
                  <a:lnTo>
                    <a:pt x="34" y="0"/>
                  </a:lnTo>
                  <a:lnTo>
                    <a:pt x="262" y="0"/>
                  </a:lnTo>
                  <a:lnTo>
                    <a:pt x="268" y="1"/>
                  </a:lnTo>
                  <a:lnTo>
                    <a:pt x="271" y="3"/>
                  </a:lnTo>
                  <a:lnTo>
                    <a:pt x="275" y="6"/>
                  </a:lnTo>
                  <a:lnTo>
                    <a:pt x="276" y="11"/>
                  </a:lnTo>
                  <a:lnTo>
                    <a:pt x="276" y="46"/>
                  </a:lnTo>
                  <a:lnTo>
                    <a:pt x="277" y="50"/>
                  </a:lnTo>
                  <a:lnTo>
                    <a:pt x="280" y="54"/>
                  </a:lnTo>
                  <a:lnTo>
                    <a:pt x="285" y="56"/>
                  </a:lnTo>
                  <a:lnTo>
                    <a:pt x="289" y="56"/>
                  </a:lnTo>
                  <a:lnTo>
                    <a:pt x="341" y="56"/>
                  </a:lnTo>
                  <a:lnTo>
                    <a:pt x="347" y="57"/>
                  </a:lnTo>
                  <a:lnTo>
                    <a:pt x="351" y="59"/>
                  </a:lnTo>
                  <a:lnTo>
                    <a:pt x="355" y="63"/>
                  </a:lnTo>
                  <a:lnTo>
                    <a:pt x="355" y="66"/>
                  </a:lnTo>
                  <a:lnTo>
                    <a:pt x="355" y="83"/>
                  </a:lnTo>
                  <a:lnTo>
                    <a:pt x="54" y="83"/>
                  </a:lnTo>
                  <a:lnTo>
                    <a:pt x="54" y="58"/>
                  </a:lnTo>
                  <a:lnTo>
                    <a:pt x="0" y="58"/>
                  </a:lnTo>
                  <a:lnTo>
                    <a:pt x="0" y="27"/>
                  </a:lnTo>
                  <a:lnTo>
                    <a:pt x="0" y="26"/>
                  </a:lnTo>
                  <a:lnTo>
                    <a:pt x="1" y="20"/>
                  </a:lnTo>
                  <a:lnTo>
                    <a:pt x="4" y="14"/>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04" name="Freeform 1752">
              <a:extLst>
                <a:ext uri="{FF2B5EF4-FFF2-40B4-BE49-F238E27FC236}">
                  <a16:creationId xmlns:a16="http://schemas.microsoft.com/office/drawing/2014/main" id="{61A4FDD8-9317-446B-87C8-93FD5BD1AB2A}"/>
                </a:ext>
              </a:extLst>
            </p:cNvPr>
            <p:cNvSpPr>
              <a:spLocks noChangeAspect="1"/>
            </p:cNvSpPr>
            <p:nvPr/>
          </p:nvSpPr>
          <p:spPr bwMode="auto">
            <a:xfrm>
              <a:off x="9170989" y="3858578"/>
              <a:ext cx="77787" cy="271462"/>
            </a:xfrm>
            <a:custGeom>
              <a:avLst/>
              <a:gdLst>
                <a:gd name="T0" fmla="*/ 0 w 463"/>
                <a:gd name="T1" fmla="*/ 1189 h 1204"/>
                <a:gd name="T2" fmla="*/ 6 w 463"/>
                <a:gd name="T3" fmla="*/ 1157 h 1204"/>
                <a:gd name="T4" fmla="*/ 249 w 463"/>
                <a:gd name="T5" fmla="*/ 14 h 1204"/>
                <a:gd name="T6" fmla="*/ 251 w 463"/>
                <a:gd name="T7" fmla="*/ 10 h 1204"/>
                <a:gd name="T8" fmla="*/ 253 w 463"/>
                <a:gd name="T9" fmla="*/ 7 h 1204"/>
                <a:gd name="T10" fmla="*/ 256 w 463"/>
                <a:gd name="T11" fmla="*/ 5 h 1204"/>
                <a:gd name="T12" fmla="*/ 260 w 463"/>
                <a:gd name="T13" fmla="*/ 2 h 1204"/>
                <a:gd name="T14" fmla="*/ 265 w 463"/>
                <a:gd name="T15" fmla="*/ 0 h 1204"/>
                <a:gd name="T16" fmla="*/ 270 w 463"/>
                <a:gd name="T17" fmla="*/ 0 h 1204"/>
                <a:gd name="T18" fmla="*/ 463 w 463"/>
                <a:gd name="T19" fmla="*/ 0 h 1204"/>
                <a:gd name="T20" fmla="*/ 209 w 463"/>
                <a:gd name="T21" fmla="*/ 1204 h 1204"/>
                <a:gd name="T22" fmla="*/ 18 w 463"/>
                <a:gd name="T23" fmla="*/ 1204 h 1204"/>
                <a:gd name="T24" fmla="*/ 15 w 463"/>
                <a:gd name="T25" fmla="*/ 1203 h 1204"/>
                <a:gd name="T26" fmla="*/ 11 w 463"/>
                <a:gd name="T27" fmla="*/ 1202 h 1204"/>
                <a:gd name="T28" fmla="*/ 8 w 463"/>
                <a:gd name="T29" fmla="*/ 1201 h 1204"/>
                <a:gd name="T30" fmla="*/ 4 w 463"/>
                <a:gd name="T31" fmla="*/ 1198 h 1204"/>
                <a:gd name="T32" fmla="*/ 2 w 463"/>
                <a:gd name="T33" fmla="*/ 1196 h 1204"/>
                <a:gd name="T34" fmla="*/ 1 w 463"/>
                <a:gd name="T35" fmla="*/ 1193 h 1204"/>
                <a:gd name="T36" fmla="*/ 0 w 463"/>
                <a:gd name="T37" fmla="*/ 1189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3" h="1204">
                  <a:moveTo>
                    <a:pt x="0" y="1189"/>
                  </a:moveTo>
                  <a:lnTo>
                    <a:pt x="6" y="1157"/>
                  </a:lnTo>
                  <a:lnTo>
                    <a:pt x="249" y="14"/>
                  </a:lnTo>
                  <a:lnTo>
                    <a:pt x="251" y="10"/>
                  </a:lnTo>
                  <a:lnTo>
                    <a:pt x="253" y="7"/>
                  </a:lnTo>
                  <a:lnTo>
                    <a:pt x="256" y="5"/>
                  </a:lnTo>
                  <a:lnTo>
                    <a:pt x="260" y="2"/>
                  </a:lnTo>
                  <a:lnTo>
                    <a:pt x="265" y="0"/>
                  </a:lnTo>
                  <a:lnTo>
                    <a:pt x="270" y="0"/>
                  </a:lnTo>
                  <a:lnTo>
                    <a:pt x="463" y="0"/>
                  </a:lnTo>
                  <a:lnTo>
                    <a:pt x="209" y="1204"/>
                  </a:lnTo>
                  <a:lnTo>
                    <a:pt x="18" y="1204"/>
                  </a:lnTo>
                  <a:lnTo>
                    <a:pt x="15" y="1203"/>
                  </a:lnTo>
                  <a:lnTo>
                    <a:pt x="11" y="1202"/>
                  </a:lnTo>
                  <a:lnTo>
                    <a:pt x="8" y="1201"/>
                  </a:lnTo>
                  <a:lnTo>
                    <a:pt x="4" y="1198"/>
                  </a:lnTo>
                  <a:lnTo>
                    <a:pt x="2" y="1196"/>
                  </a:lnTo>
                  <a:lnTo>
                    <a:pt x="1" y="1193"/>
                  </a:lnTo>
                  <a:lnTo>
                    <a:pt x="0" y="1189"/>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305" name="Freeform 1753">
              <a:extLst>
                <a:ext uri="{FF2B5EF4-FFF2-40B4-BE49-F238E27FC236}">
                  <a16:creationId xmlns:a16="http://schemas.microsoft.com/office/drawing/2014/main" id="{9A6FF448-5DA0-4803-B49A-9D070E170991}"/>
                </a:ext>
              </a:extLst>
            </p:cNvPr>
            <p:cNvSpPr>
              <a:spLocks noChangeAspect="1"/>
            </p:cNvSpPr>
            <p:nvPr/>
          </p:nvSpPr>
          <p:spPr bwMode="auto">
            <a:xfrm>
              <a:off x="9170989" y="3858578"/>
              <a:ext cx="77787" cy="271462"/>
            </a:xfrm>
            <a:custGeom>
              <a:avLst/>
              <a:gdLst>
                <a:gd name="T0" fmla="*/ 0 w 463"/>
                <a:gd name="T1" fmla="*/ 1189 h 1204"/>
                <a:gd name="T2" fmla="*/ 6 w 463"/>
                <a:gd name="T3" fmla="*/ 1157 h 1204"/>
                <a:gd name="T4" fmla="*/ 249 w 463"/>
                <a:gd name="T5" fmla="*/ 14 h 1204"/>
                <a:gd name="T6" fmla="*/ 251 w 463"/>
                <a:gd name="T7" fmla="*/ 10 h 1204"/>
                <a:gd name="T8" fmla="*/ 253 w 463"/>
                <a:gd name="T9" fmla="*/ 7 h 1204"/>
                <a:gd name="T10" fmla="*/ 256 w 463"/>
                <a:gd name="T11" fmla="*/ 5 h 1204"/>
                <a:gd name="T12" fmla="*/ 260 w 463"/>
                <a:gd name="T13" fmla="*/ 2 h 1204"/>
                <a:gd name="T14" fmla="*/ 265 w 463"/>
                <a:gd name="T15" fmla="*/ 0 h 1204"/>
                <a:gd name="T16" fmla="*/ 270 w 463"/>
                <a:gd name="T17" fmla="*/ 0 h 1204"/>
                <a:gd name="T18" fmla="*/ 463 w 463"/>
                <a:gd name="T19" fmla="*/ 0 h 1204"/>
                <a:gd name="T20" fmla="*/ 209 w 463"/>
                <a:gd name="T21" fmla="*/ 1204 h 1204"/>
                <a:gd name="T22" fmla="*/ 18 w 463"/>
                <a:gd name="T23" fmla="*/ 1204 h 1204"/>
                <a:gd name="T24" fmla="*/ 15 w 463"/>
                <a:gd name="T25" fmla="*/ 1203 h 1204"/>
                <a:gd name="T26" fmla="*/ 11 w 463"/>
                <a:gd name="T27" fmla="*/ 1202 h 1204"/>
                <a:gd name="T28" fmla="*/ 8 w 463"/>
                <a:gd name="T29" fmla="*/ 1201 h 1204"/>
                <a:gd name="T30" fmla="*/ 4 w 463"/>
                <a:gd name="T31" fmla="*/ 1198 h 1204"/>
                <a:gd name="T32" fmla="*/ 2 w 463"/>
                <a:gd name="T33" fmla="*/ 1196 h 1204"/>
                <a:gd name="T34" fmla="*/ 1 w 463"/>
                <a:gd name="T35" fmla="*/ 1193 h 1204"/>
                <a:gd name="T36" fmla="*/ 0 w 463"/>
                <a:gd name="T37" fmla="*/ 1189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3" h="1204">
                  <a:moveTo>
                    <a:pt x="0" y="1189"/>
                  </a:moveTo>
                  <a:lnTo>
                    <a:pt x="6" y="1157"/>
                  </a:lnTo>
                  <a:lnTo>
                    <a:pt x="249" y="14"/>
                  </a:lnTo>
                  <a:lnTo>
                    <a:pt x="251" y="10"/>
                  </a:lnTo>
                  <a:lnTo>
                    <a:pt x="253" y="7"/>
                  </a:lnTo>
                  <a:lnTo>
                    <a:pt x="256" y="5"/>
                  </a:lnTo>
                  <a:lnTo>
                    <a:pt x="260" y="2"/>
                  </a:lnTo>
                  <a:lnTo>
                    <a:pt x="265" y="0"/>
                  </a:lnTo>
                  <a:lnTo>
                    <a:pt x="270" y="0"/>
                  </a:lnTo>
                  <a:lnTo>
                    <a:pt x="463" y="0"/>
                  </a:lnTo>
                  <a:lnTo>
                    <a:pt x="209" y="1204"/>
                  </a:lnTo>
                  <a:lnTo>
                    <a:pt x="18" y="1204"/>
                  </a:lnTo>
                  <a:lnTo>
                    <a:pt x="15" y="1203"/>
                  </a:lnTo>
                  <a:lnTo>
                    <a:pt x="11" y="1202"/>
                  </a:lnTo>
                  <a:lnTo>
                    <a:pt x="8" y="1201"/>
                  </a:lnTo>
                  <a:lnTo>
                    <a:pt x="4" y="1198"/>
                  </a:lnTo>
                  <a:lnTo>
                    <a:pt x="2" y="1196"/>
                  </a:lnTo>
                  <a:lnTo>
                    <a:pt x="1" y="1193"/>
                  </a:lnTo>
                  <a:lnTo>
                    <a:pt x="0" y="118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06" name="Freeform 1754">
              <a:extLst>
                <a:ext uri="{FF2B5EF4-FFF2-40B4-BE49-F238E27FC236}">
                  <a16:creationId xmlns:a16="http://schemas.microsoft.com/office/drawing/2014/main" id="{BE591638-F0EB-42DF-A17C-6371B76D4461}"/>
                </a:ext>
              </a:extLst>
            </p:cNvPr>
            <p:cNvSpPr>
              <a:spLocks noChangeAspect="1"/>
            </p:cNvSpPr>
            <p:nvPr/>
          </p:nvSpPr>
          <p:spPr bwMode="auto">
            <a:xfrm>
              <a:off x="9213850" y="3699828"/>
              <a:ext cx="107950" cy="157162"/>
            </a:xfrm>
            <a:custGeom>
              <a:avLst/>
              <a:gdLst>
                <a:gd name="T0" fmla="*/ 13 w 640"/>
                <a:gd name="T1" fmla="*/ 706 h 706"/>
                <a:gd name="T2" fmla="*/ 3 w 640"/>
                <a:gd name="T3" fmla="*/ 702 h 706"/>
                <a:gd name="T4" fmla="*/ 0 w 640"/>
                <a:gd name="T5" fmla="*/ 693 h 706"/>
                <a:gd name="T6" fmla="*/ 43 w 640"/>
                <a:gd name="T7" fmla="*/ 588 h 706"/>
                <a:gd name="T8" fmla="*/ 97 w 640"/>
                <a:gd name="T9" fmla="*/ 484 h 706"/>
                <a:gd name="T10" fmla="*/ 108 w 640"/>
                <a:gd name="T11" fmla="*/ 467 h 706"/>
                <a:gd name="T12" fmla="*/ 159 w 640"/>
                <a:gd name="T13" fmla="*/ 384 h 706"/>
                <a:gd name="T14" fmla="*/ 183 w 640"/>
                <a:gd name="T15" fmla="*/ 354 h 706"/>
                <a:gd name="T16" fmla="*/ 232 w 640"/>
                <a:gd name="T17" fmla="*/ 288 h 706"/>
                <a:gd name="T18" fmla="*/ 262 w 640"/>
                <a:gd name="T19" fmla="*/ 253 h 706"/>
                <a:gd name="T20" fmla="*/ 405 w 640"/>
                <a:gd name="T21" fmla="*/ 78 h 706"/>
                <a:gd name="T22" fmla="*/ 465 w 640"/>
                <a:gd name="T23" fmla="*/ 5 h 706"/>
                <a:gd name="T24" fmla="*/ 474 w 640"/>
                <a:gd name="T25" fmla="*/ 0 h 706"/>
                <a:gd name="T26" fmla="*/ 486 w 640"/>
                <a:gd name="T27" fmla="*/ 2 h 706"/>
                <a:gd name="T28" fmla="*/ 640 w 640"/>
                <a:gd name="T29" fmla="*/ 83 h 706"/>
                <a:gd name="T30" fmla="*/ 607 w 640"/>
                <a:gd name="T31" fmla="*/ 138 h 706"/>
                <a:gd name="T32" fmla="*/ 497 w 640"/>
                <a:gd name="T33" fmla="*/ 323 h 706"/>
                <a:gd name="T34" fmla="*/ 432 w 640"/>
                <a:gd name="T35" fmla="*/ 434 h 706"/>
                <a:gd name="T36" fmla="*/ 411 w 640"/>
                <a:gd name="T37" fmla="*/ 467 h 706"/>
                <a:gd name="T38" fmla="*/ 388 w 640"/>
                <a:gd name="T39" fmla="*/ 507 h 706"/>
                <a:gd name="T40" fmla="*/ 316 w 640"/>
                <a:gd name="T41" fmla="*/ 628 h 706"/>
                <a:gd name="T42" fmla="*/ 268 w 640"/>
                <a:gd name="T43" fmla="*/ 706 h 706"/>
                <a:gd name="T44" fmla="*/ 227 w 640"/>
                <a:gd name="T45" fmla="*/ 706 h 706"/>
                <a:gd name="T46" fmla="*/ 13 w 640"/>
                <a:gd name="T47" fmla="*/ 706 h 706"/>
                <a:gd name="T48" fmla="*/ 3 w 640"/>
                <a:gd name="T49" fmla="*/ 702 h 706"/>
                <a:gd name="T50" fmla="*/ 13 w 640"/>
                <a:gd name="T51"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0" h="706">
                  <a:moveTo>
                    <a:pt x="13" y="706"/>
                  </a:moveTo>
                  <a:lnTo>
                    <a:pt x="3" y="702"/>
                  </a:lnTo>
                  <a:lnTo>
                    <a:pt x="0" y="693"/>
                  </a:lnTo>
                  <a:lnTo>
                    <a:pt x="43" y="588"/>
                  </a:lnTo>
                  <a:lnTo>
                    <a:pt x="97" y="484"/>
                  </a:lnTo>
                  <a:lnTo>
                    <a:pt x="108" y="467"/>
                  </a:lnTo>
                  <a:lnTo>
                    <a:pt x="159" y="384"/>
                  </a:lnTo>
                  <a:lnTo>
                    <a:pt x="183" y="354"/>
                  </a:lnTo>
                  <a:lnTo>
                    <a:pt x="232" y="288"/>
                  </a:lnTo>
                  <a:lnTo>
                    <a:pt x="262" y="253"/>
                  </a:lnTo>
                  <a:lnTo>
                    <a:pt x="405" y="78"/>
                  </a:lnTo>
                  <a:lnTo>
                    <a:pt x="465" y="5"/>
                  </a:lnTo>
                  <a:lnTo>
                    <a:pt x="474" y="0"/>
                  </a:lnTo>
                  <a:lnTo>
                    <a:pt x="486" y="2"/>
                  </a:lnTo>
                  <a:lnTo>
                    <a:pt x="640" y="83"/>
                  </a:lnTo>
                  <a:lnTo>
                    <a:pt x="607" y="138"/>
                  </a:lnTo>
                  <a:lnTo>
                    <a:pt x="497" y="323"/>
                  </a:lnTo>
                  <a:lnTo>
                    <a:pt x="432" y="434"/>
                  </a:lnTo>
                  <a:lnTo>
                    <a:pt x="411" y="467"/>
                  </a:lnTo>
                  <a:lnTo>
                    <a:pt x="388" y="507"/>
                  </a:lnTo>
                  <a:lnTo>
                    <a:pt x="316" y="628"/>
                  </a:lnTo>
                  <a:lnTo>
                    <a:pt x="268" y="706"/>
                  </a:lnTo>
                  <a:lnTo>
                    <a:pt x="227" y="706"/>
                  </a:lnTo>
                  <a:lnTo>
                    <a:pt x="13" y="706"/>
                  </a:lnTo>
                  <a:lnTo>
                    <a:pt x="3" y="702"/>
                  </a:lnTo>
                  <a:lnTo>
                    <a:pt x="13" y="706"/>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307" name="Freeform 1755">
              <a:extLst>
                <a:ext uri="{FF2B5EF4-FFF2-40B4-BE49-F238E27FC236}">
                  <a16:creationId xmlns:a16="http://schemas.microsoft.com/office/drawing/2014/main" id="{1BB78BD7-C778-49CF-831C-FF6DA028944C}"/>
                </a:ext>
              </a:extLst>
            </p:cNvPr>
            <p:cNvSpPr>
              <a:spLocks noChangeAspect="1"/>
            </p:cNvSpPr>
            <p:nvPr/>
          </p:nvSpPr>
          <p:spPr bwMode="auto">
            <a:xfrm>
              <a:off x="9213850" y="3699828"/>
              <a:ext cx="107950" cy="157162"/>
            </a:xfrm>
            <a:custGeom>
              <a:avLst/>
              <a:gdLst>
                <a:gd name="T0" fmla="*/ 13 w 640"/>
                <a:gd name="T1" fmla="*/ 706 h 706"/>
                <a:gd name="T2" fmla="*/ 3 w 640"/>
                <a:gd name="T3" fmla="*/ 702 h 706"/>
                <a:gd name="T4" fmla="*/ 0 w 640"/>
                <a:gd name="T5" fmla="*/ 693 h 706"/>
                <a:gd name="T6" fmla="*/ 43 w 640"/>
                <a:gd name="T7" fmla="*/ 588 h 706"/>
                <a:gd name="T8" fmla="*/ 97 w 640"/>
                <a:gd name="T9" fmla="*/ 484 h 706"/>
                <a:gd name="T10" fmla="*/ 108 w 640"/>
                <a:gd name="T11" fmla="*/ 467 h 706"/>
                <a:gd name="T12" fmla="*/ 159 w 640"/>
                <a:gd name="T13" fmla="*/ 384 h 706"/>
                <a:gd name="T14" fmla="*/ 183 w 640"/>
                <a:gd name="T15" fmla="*/ 354 h 706"/>
                <a:gd name="T16" fmla="*/ 232 w 640"/>
                <a:gd name="T17" fmla="*/ 288 h 706"/>
                <a:gd name="T18" fmla="*/ 262 w 640"/>
                <a:gd name="T19" fmla="*/ 253 h 706"/>
                <a:gd name="T20" fmla="*/ 405 w 640"/>
                <a:gd name="T21" fmla="*/ 78 h 706"/>
                <a:gd name="T22" fmla="*/ 465 w 640"/>
                <a:gd name="T23" fmla="*/ 5 h 706"/>
                <a:gd name="T24" fmla="*/ 474 w 640"/>
                <a:gd name="T25" fmla="*/ 0 h 706"/>
                <a:gd name="T26" fmla="*/ 486 w 640"/>
                <a:gd name="T27" fmla="*/ 2 h 706"/>
                <a:gd name="T28" fmla="*/ 640 w 640"/>
                <a:gd name="T29" fmla="*/ 83 h 706"/>
                <a:gd name="T30" fmla="*/ 607 w 640"/>
                <a:gd name="T31" fmla="*/ 138 h 706"/>
                <a:gd name="T32" fmla="*/ 497 w 640"/>
                <a:gd name="T33" fmla="*/ 323 h 706"/>
                <a:gd name="T34" fmla="*/ 432 w 640"/>
                <a:gd name="T35" fmla="*/ 434 h 706"/>
                <a:gd name="T36" fmla="*/ 411 w 640"/>
                <a:gd name="T37" fmla="*/ 467 h 706"/>
                <a:gd name="T38" fmla="*/ 388 w 640"/>
                <a:gd name="T39" fmla="*/ 507 h 706"/>
                <a:gd name="T40" fmla="*/ 316 w 640"/>
                <a:gd name="T41" fmla="*/ 628 h 706"/>
                <a:gd name="T42" fmla="*/ 268 w 640"/>
                <a:gd name="T43" fmla="*/ 706 h 706"/>
                <a:gd name="T44" fmla="*/ 227 w 640"/>
                <a:gd name="T45" fmla="*/ 706 h 706"/>
                <a:gd name="T46" fmla="*/ 13 w 640"/>
                <a:gd name="T47" fmla="*/ 706 h 706"/>
                <a:gd name="T48" fmla="*/ 3 w 640"/>
                <a:gd name="T49" fmla="*/ 702 h 706"/>
                <a:gd name="T50" fmla="*/ 13 w 640"/>
                <a:gd name="T51"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0" h="706">
                  <a:moveTo>
                    <a:pt x="13" y="706"/>
                  </a:moveTo>
                  <a:lnTo>
                    <a:pt x="3" y="702"/>
                  </a:lnTo>
                  <a:lnTo>
                    <a:pt x="0" y="693"/>
                  </a:lnTo>
                  <a:lnTo>
                    <a:pt x="43" y="588"/>
                  </a:lnTo>
                  <a:lnTo>
                    <a:pt x="97" y="484"/>
                  </a:lnTo>
                  <a:lnTo>
                    <a:pt x="108" y="467"/>
                  </a:lnTo>
                  <a:lnTo>
                    <a:pt x="159" y="384"/>
                  </a:lnTo>
                  <a:lnTo>
                    <a:pt x="183" y="354"/>
                  </a:lnTo>
                  <a:lnTo>
                    <a:pt x="232" y="288"/>
                  </a:lnTo>
                  <a:lnTo>
                    <a:pt x="262" y="253"/>
                  </a:lnTo>
                  <a:lnTo>
                    <a:pt x="405" y="78"/>
                  </a:lnTo>
                  <a:lnTo>
                    <a:pt x="465" y="5"/>
                  </a:lnTo>
                  <a:lnTo>
                    <a:pt x="474" y="0"/>
                  </a:lnTo>
                  <a:lnTo>
                    <a:pt x="486" y="2"/>
                  </a:lnTo>
                  <a:lnTo>
                    <a:pt x="640" y="83"/>
                  </a:lnTo>
                  <a:lnTo>
                    <a:pt x="607" y="138"/>
                  </a:lnTo>
                  <a:lnTo>
                    <a:pt x="497" y="323"/>
                  </a:lnTo>
                  <a:lnTo>
                    <a:pt x="432" y="434"/>
                  </a:lnTo>
                  <a:lnTo>
                    <a:pt x="411" y="467"/>
                  </a:lnTo>
                  <a:lnTo>
                    <a:pt x="388" y="507"/>
                  </a:lnTo>
                  <a:lnTo>
                    <a:pt x="316" y="628"/>
                  </a:lnTo>
                  <a:lnTo>
                    <a:pt x="268" y="706"/>
                  </a:lnTo>
                  <a:lnTo>
                    <a:pt x="227" y="706"/>
                  </a:lnTo>
                  <a:lnTo>
                    <a:pt x="13" y="706"/>
                  </a:lnTo>
                  <a:lnTo>
                    <a:pt x="3" y="702"/>
                  </a:lnTo>
                  <a:lnTo>
                    <a:pt x="13" y="706"/>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08" name="Freeform 1756">
              <a:extLst>
                <a:ext uri="{FF2B5EF4-FFF2-40B4-BE49-F238E27FC236}">
                  <a16:creationId xmlns:a16="http://schemas.microsoft.com/office/drawing/2014/main" id="{2908D7A8-CEF2-4EDA-AE20-A45E505CC975}"/>
                </a:ext>
              </a:extLst>
            </p:cNvPr>
            <p:cNvSpPr>
              <a:spLocks noChangeAspect="1"/>
            </p:cNvSpPr>
            <p:nvPr/>
          </p:nvSpPr>
          <p:spPr bwMode="auto">
            <a:xfrm>
              <a:off x="9294813" y="3550603"/>
              <a:ext cx="127000" cy="188912"/>
            </a:xfrm>
            <a:custGeom>
              <a:avLst/>
              <a:gdLst>
                <a:gd name="T0" fmla="*/ 6 w 755"/>
                <a:gd name="T1" fmla="*/ 657 h 844"/>
                <a:gd name="T2" fmla="*/ 0 w 755"/>
                <a:gd name="T3" fmla="*/ 651 h 844"/>
                <a:gd name="T4" fmla="*/ 2 w 755"/>
                <a:gd name="T5" fmla="*/ 644 h 844"/>
                <a:gd name="T6" fmla="*/ 603 w 755"/>
                <a:gd name="T7" fmla="*/ 4 h 844"/>
                <a:gd name="T8" fmla="*/ 615 w 755"/>
                <a:gd name="T9" fmla="*/ 0 h 844"/>
                <a:gd name="T10" fmla="*/ 681 w 755"/>
                <a:gd name="T11" fmla="*/ 0 h 844"/>
                <a:gd name="T12" fmla="*/ 692 w 755"/>
                <a:gd name="T13" fmla="*/ 4 h 844"/>
                <a:gd name="T14" fmla="*/ 693 w 755"/>
                <a:gd name="T15" fmla="*/ 13 h 844"/>
                <a:gd name="T16" fmla="*/ 675 w 755"/>
                <a:gd name="T17" fmla="*/ 51 h 844"/>
                <a:gd name="T18" fmla="*/ 676 w 755"/>
                <a:gd name="T19" fmla="*/ 62 h 844"/>
                <a:gd name="T20" fmla="*/ 688 w 755"/>
                <a:gd name="T21" fmla="*/ 69 h 844"/>
                <a:gd name="T22" fmla="*/ 755 w 755"/>
                <a:gd name="T23" fmla="*/ 88 h 844"/>
                <a:gd name="T24" fmla="*/ 384 w 755"/>
                <a:gd name="T25" fmla="*/ 844 h 844"/>
                <a:gd name="T26" fmla="*/ 307 w 755"/>
                <a:gd name="T27" fmla="*/ 820 h 844"/>
                <a:gd name="T28" fmla="*/ 6 w 755"/>
                <a:gd name="T29" fmla="*/ 657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5" h="844">
                  <a:moveTo>
                    <a:pt x="6" y="657"/>
                  </a:moveTo>
                  <a:lnTo>
                    <a:pt x="0" y="651"/>
                  </a:lnTo>
                  <a:lnTo>
                    <a:pt x="2" y="644"/>
                  </a:lnTo>
                  <a:lnTo>
                    <a:pt x="603" y="4"/>
                  </a:lnTo>
                  <a:lnTo>
                    <a:pt x="615" y="0"/>
                  </a:lnTo>
                  <a:lnTo>
                    <a:pt x="681" y="0"/>
                  </a:lnTo>
                  <a:lnTo>
                    <a:pt x="692" y="4"/>
                  </a:lnTo>
                  <a:lnTo>
                    <a:pt x="693" y="13"/>
                  </a:lnTo>
                  <a:lnTo>
                    <a:pt x="675" y="51"/>
                  </a:lnTo>
                  <a:lnTo>
                    <a:pt x="676" y="62"/>
                  </a:lnTo>
                  <a:lnTo>
                    <a:pt x="688" y="69"/>
                  </a:lnTo>
                  <a:lnTo>
                    <a:pt x="755" y="88"/>
                  </a:lnTo>
                  <a:lnTo>
                    <a:pt x="384" y="844"/>
                  </a:lnTo>
                  <a:lnTo>
                    <a:pt x="307" y="820"/>
                  </a:lnTo>
                  <a:lnTo>
                    <a:pt x="6" y="657"/>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309" name="Freeform 1757">
              <a:extLst>
                <a:ext uri="{FF2B5EF4-FFF2-40B4-BE49-F238E27FC236}">
                  <a16:creationId xmlns:a16="http://schemas.microsoft.com/office/drawing/2014/main" id="{D13822D9-29C0-40E5-A1EC-9A4AC8EA8ED2}"/>
                </a:ext>
              </a:extLst>
            </p:cNvPr>
            <p:cNvSpPr>
              <a:spLocks noChangeAspect="1"/>
            </p:cNvSpPr>
            <p:nvPr/>
          </p:nvSpPr>
          <p:spPr bwMode="auto">
            <a:xfrm>
              <a:off x="9294813" y="3550603"/>
              <a:ext cx="127000" cy="188912"/>
            </a:xfrm>
            <a:custGeom>
              <a:avLst/>
              <a:gdLst>
                <a:gd name="T0" fmla="*/ 6 w 755"/>
                <a:gd name="T1" fmla="*/ 657 h 844"/>
                <a:gd name="T2" fmla="*/ 0 w 755"/>
                <a:gd name="T3" fmla="*/ 651 h 844"/>
                <a:gd name="T4" fmla="*/ 2 w 755"/>
                <a:gd name="T5" fmla="*/ 644 h 844"/>
                <a:gd name="T6" fmla="*/ 603 w 755"/>
                <a:gd name="T7" fmla="*/ 4 h 844"/>
                <a:gd name="T8" fmla="*/ 615 w 755"/>
                <a:gd name="T9" fmla="*/ 0 h 844"/>
                <a:gd name="T10" fmla="*/ 681 w 755"/>
                <a:gd name="T11" fmla="*/ 0 h 844"/>
                <a:gd name="T12" fmla="*/ 692 w 755"/>
                <a:gd name="T13" fmla="*/ 4 h 844"/>
                <a:gd name="T14" fmla="*/ 693 w 755"/>
                <a:gd name="T15" fmla="*/ 13 h 844"/>
                <a:gd name="T16" fmla="*/ 675 w 755"/>
                <a:gd name="T17" fmla="*/ 51 h 844"/>
                <a:gd name="T18" fmla="*/ 676 w 755"/>
                <a:gd name="T19" fmla="*/ 62 h 844"/>
                <a:gd name="T20" fmla="*/ 688 w 755"/>
                <a:gd name="T21" fmla="*/ 69 h 844"/>
                <a:gd name="T22" fmla="*/ 755 w 755"/>
                <a:gd name="T23" fmla="*/ 88 h 844"/>
                <a:gd name="T24" fmla="*/ 384 w 755"/>
                <a:gd name="T25" fmla="*/ 844 h 844"/>
                <a:gd name="T26" fmla="*/ 307 w 755"/>
                <a:gd name="T27" fmla="*/ 820 h 844"/>
                <a:gd name="T28" fmla="*/ 6 w 755"/>
                <a:gd name="T29" fmla="*/ 657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5" h="844">
                  <a:moveTo>
                    <a:pt x="6" y="657"/>
                  </a:moveTo>
                  <a:lnTo>
                    <a:pt x="0" y="651"/>
                  </a:lnTo>
                  <a:lnTo>
                    <a:pt x="2" y="644"/>
                  </a:lnTo>
                  <a:lnTo>
                    <a:pt x="603" y="4"/>
                  </a:lnTo>
                  <a:lnTo>
                    <a:pt x="615" y="0"/>
                  </a:lnTo>
                  <a:lnTo>
                    <a:pt x="681" y="0"/>
                  </a:lnTo>
                  <a:lnTo>
                    <a:pt x="692" y="4"/>
                  </a:lnTo>
                  <a:lnTo>
                    <a:pt x="693" y="13"/>
                  </a:lnTo>
                  <a:lnTo>
                    <a:pt x="675" y="51"/>
                  </a:lnTo>
                  <a:lnTo>
                    <a:pt x="676" y="62"/>
                  </a:lnTo>
                  <a:lnTo>
                    <a:pt x="688" y="69"/>
                  </a:lnTo>
                  <a:lnTo>
                    <a:pt x="755" y="88"/>
                  </a:lnTo>
                  <a:lnTo>
                    <a:pt x="384" y="844"/>
                  </a:lnTo>
                  <a:lnTo>
                    <a:pt x="307" y="820"/>
                  </a:lnTo>
                  <a:lnTo>
                    <a:pt x="6" y="657"/>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10" name="Freeform 1758">
              <a:extLst>
                <a:ext uri="{FF2B5EF4-FFF2-40B4-BE49-F238E27FC236}">
                  <a16:creationId xmlns:a16="http://schemas.microsoft.com/office/drawing/2014/main" id="{39C29187-C309-4FAB-AB0D-4C6FD7709C0A}"/>
                </a:ext>
              </a:extLst>
            </p:cNvPr>
            <p:cNvSpPr>
              <a:spLocks noChangeAspect="1"/>
            </p:cNvSpPr>
            <p:nvPr/>
          </p:nvSpPr>
          <p:spPr bwMode="auto">
            <a:xfrm>
              <a:off x="9410701" y="3550604"/>
              <a:ext cx="150813" cy="39687"/>
            </a:xfrm>
            <a:custGeom>
              <a:avLst/>
              <a:gdLst>
                <a:gd name="T0" fmla="*/ 29 w 895"/>
                <a:gd name="T1" fmla="*/ 0 h 178"/>
                <a:gd name="T2" fmla="*/ 635 w 895"/>
                <a:gd name="T3" fmla="*/ 0 h 178"/>
                <a:gd name="T4" fmla="*/ 861 w 895"/>
                <a:gd name="T5" fmla="*/ 0 h 178"/>
                <a:gd name="T6" fmla="*/ 879 w 895"/>
                <a:gd name="T7" fmla="*/ 3 h 178"/>
                <a:gd name="T8" fmla="*/ 892 w 895"/>
                <a:gd name="T9" fmla="*/ 13 h 178"/>
                <a:gd name="T10" fmla="*/ 895 w 895"/>
                <a:gd name="T11" fmla="*/ 26 h 178"/>
                <a:gd name="T12" fmla="*/ 891 w 895"/>
                <a:gd name="T13" fmla="*/ 40 h 178"/>
                <a:gd name="T14" fmla="*/ 769 w 895"/>
                <a:gd name="T15" fmla="*/ 178 h 178"/>
                <a:gd name="T16" fmla="*/ 217 w 895"/>
                <a:gd name="T17" fmla="*/ 178 h 178"/>
                <a:gd name="T18" fmla="*/ 217 w 895"/>
                <a:gd name="T19" fmla="*/ 143 h 178"/>
                <a:gd name="T20" fmla="*/ 212 w 895"/>
                <a:gd name="T21" fmla="*/ 118 h 178"/>
                <a:gd name="T22" fmla="*/ 197 w 895"/>
                <a:gd name="T23" fmla="*/ 95 h 178"/>
                <a:gd name="T24" fmla="*/ 171 w 895"/>
                <a:gd name="T25" fmla="*/ 75 h 178"/>
                <a:gd name="T26" fmla="*/ 139 w 895"/>
                <a:gd name="T27" fmla="*/ 65 h 178"/>
                <a:gd name="T28" fmla="*/ 107 w 895"/>
                <a:gd name="T29" fmla="*/ 61 h 178"/>
                <a:gd name="T30" fmla="*/ 19 w 895"/>
                <a:gd name="T31" fmla="*/ 61 h 178"/>
                <a:gd name="T32" fmla="*/ 0 w 895"/>
                <a:gd name="T33" fmla="*/ 42 h 178"/>
                <a:gd name="T34" fmla="*/ 15 w 895"/>
                <a:gd name="T35" fmla="*/ 7 h 178"/>
                <a:gd name="T36" fmla="*/ 21 w 895"/>
                <a:gd name="T37" fmla="*/ 2 h 178"/>
                <a:gd name="T38" fmla="*/ 29 w 895"/>
                <a:gd name="T3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5" h="178">
                  <a:moveTo>
                    <a:pt x="29" y="0"/>
                  </a:moveTo>
                  <a:lnTo>
                    <a:pt x="635" y="0"/>
                  </a:lnTo>
                  <a:lnTo>
                    <a:pt x="861" y="0"/>
                  </a:lnTo>
                  <a:lnTo>
                    <a:pt x="879" y="3"/>
                  </a:lnTo>
                  <a:lnTo>
                    <a:pt x="892" y="13"/>
                  </a:lnTo>
                  <a:lnTo>
                    <a:pt x="895" y="26"/>
                  </a:lnTo>
                  <a:lnTo>
                    <a:pt x="891" y="40"/>
                  </a:lnTo>
                  <a:lnTo>
                    <a:pt x="769" y="178"/>
                  </a:lnTo>
                  <a:lnTo>
                    <a:pt x="217" y="178"/>
                  </a:lnTo>
                  <a:lnTo>
                    <a:pt x="217" y="143"/>
                  </a:lnTo>
                  <a:lnTo>
                    <a:pt x="212" y="118"/>
                  </a:lnTo>
                  <a:lnTo>
                    <a:pt x="197" y="95"/>
                  </a:lnTo>
                  <a:lnTo>
                    <a:pt x="171" y="75"/>
                  </a:lnTo>
                  <a:lnTo>
                    <a:pt x="139" y="65"/>
                  </a:lnTo>
                  <a:lnTo>
                    <a:pt x="107" y="61"/>
                  </a:lnTo>
                  <a:lnTo>
                    <a:pt x="19" y="61"/>
                  </a:lnTo>
                  <a:lnTo>
                    <a:pt x="0" y="42"/>
                  </a:lnTo>
                  <a:lnTo>
                    <a:pt x="15" y="7"/>
                  </a:lnTo>
                  <a:lnTo>
                    <a:pt x="21" y="2"/>
                  </a:lnTo>
                  <a:lnTo>
                    <a:pt x="29" y="0"/>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311" name="Freeform 1759">
              <a:extLst>
                <a:ext uri="{FF2B5EF4-FFF2-40B4-BE49-F238E27FC236}">
                  <a16:creationId xmlns:a16="http://schemas.microsoft.com/office/drawing/2014/main" id="{7C24DA38-0ADF-4097-B634-B34B981A280C}"/>
                </a:ext>
              </a:extLst>
            </p:cNvPr>
            <p:cNvSpPr>
              <a:spLocks noChangeAspect="1"/>
            </p:cNvSpPr>
            <p:nvPr/>
          </p:nvSpPr>
          <p:spPr bwMode="auto">
            <a:xfrm>
              <a:off x="9410701" y="3550604"/>
              <a:ext cx="150813" cy="39687"/>
            </a:xfrm>
            <a:custGeom>
              <a:avLst/>
              <a:gdLst>
                <a:gd name="T0" fmla="*/ 29 w 895"/>
                <a:gd name="T1" fmla="*/ 0 h 178"/>
                <a:gd name="T2" fmla="*/ 635 w 895"/>
                <a:gd name="T3" fmla="*/ 0 h 178"/>
                <a:gd name="T4" fmla="*/ 861 w 895"/>
                <a:gd name="T5" fmla="*/ 0 h 178"/>
                <a:gd name="T6" fmla="*/ 879 w 895"/>
                <a:gd name="T7" fmla="*/ 3 h 178"/>
                <a:gd name="T8" fmla="*/ 892 w 895"/>
                <a:gd name="T9" fmla="*/ 13 h 178"/>
                <a:gd name="T10" fmla="*/ 895 w 895"/>
                <a:gd name="T11" fmla="*/ 26 h 178"/>
                <a:gd name="T12" fmla="*/ 891 w 895"/>
                <a:gd name="T13" fmla="*/ 40 h 178"/>
                <a:gd name="T14" fmla="*/ 769 w 895"/>
                <a:gd name="T15" fmla="*/ 178 h 178"/>
                <a:gd name="T16" fmla="*/ 217 w 895"/>
                <a:gd name="T17" fmla="*/ 178 h 178"/>
                <a:gd name="T18" fmla="*/ 217 w 895"/>
                <a:gd name="T19" fmla="*/ 143 h 178"/>
                <a:gd name="T20" fmla="*/ 212 w 895"/>
                <a:gd name="T21" fmla="*/ 118 h 178"/>
                <a:gd name="T22" fmla="*/ 197 w 895"/>
                <a:gd name="T23" fmla="*/ 95 h 178"/>
                <a:gd name="T24" fmla="*/ 171 w 895"/>
                <a:gd name="T25" fmla="*/ 75 h 178"/>
                <a:gd name="T26" fmla="*/ 139 w 895"/>
                <a:gd name="T27" fmla="*/ 65 h 178"/>
                <a:gd name="T28" fmla="*/ 107 w 895"/>
                <a:gd name="T29" fmla="*/ 61 h 178"/>
                <a:gd name="T30" fmla="*/ 19 w 895"/>
                <a:gd name="T31" fmla="*/ 61 h 178"/>
                <a:gd name="T32" fmla="*/ 0 w 895"/>
                <a:gd name="T33" fmla="*/ 42 h 178"/>
                <a:gd name="T34" fmla="*/ 15 w 895"/>
                <a:gd name="T35" fmla="*/ 7 h 178"/>
                <a:gd name="T36" fmla="*/ 21 w 895"/>
                <a:gd name="T37" fmla="*/ 2 h 178"/>
                <a:gd name="T38" fmla="*/ 29 w 895"/>
                <a:gd name="T3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5" h="178">
                  <a:moveTo>
                    <a:pt x="29" y="0"/>
                  </a:moveTo>
                  <a:lnTo>
                    <a:pt x="635" y="0"/>
                  </a:lnTo>
                  <a:lnTo>
                    <a:pt x="861" y="0"/>
                  </a:lnTo>
                  <a:lnTo>
                    <a:pt x="879" y="3"/>
                  </a:lnTo>
                  <a:lnTo>
                    <a:pt x="892" y="13"/>
                  </a:lnTo>
                  <a:lnTo>
                    <a:pt x="895" y="26"/>
                  </a:lnTo>
                  <a:lnTo>
                    <a:pt x="891" y="40"/>
                  </a:lnTo>
                  <a:lnTo>
                    <a:pt x="769" y="178"/>
                  </a:lnTo>
                  <a:lnTo>
                    <a:pt x="217" y="178"/>
                  </a:lnTo>
                  <a:lnTo>
                    <a:pt x="217" y="143"/>
                  </a:lnTo>
                  <a:lnTo>
                    <a:pt x="212" y="118"/>
                  </a:lnTo>
                  <a:lnTo>
                    <a:pt x="197" y="95"/>
                  </a:lnTo>
                  <a:lnTo>
                    <a:pt x="171" y="75"/>
                  </a:lnTo>
                  <a:lnTo>
                    <a:pt x="139" y="65"/>
                  </a:lnTo>
                  <a:lnTo>
                    <a:pt x="107" y="61"/>
                  </a:lnTo>
                  <a:lnTo>
                    <a:pt x="19" y="61"/>
                  </a:lnTo>
                  <a:lnTo>
                    <a:pt x="0" y="42"/>
                  </a:lnTo>
                  <a:lnTo>
                    <a:pt x="15" y="7"/>
                  </a:lnTo>
                  <a:lnTo>
                    <a:pt x="21" y="2"/>
                  </a:lnTo>
                  <a:lnTo>
                    <a:pt x="29" y="0"/>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12" name="Freeform 1760">
              <a:extLst>
                <a:ext uri="{FF2B5EF4-FFF2-40B4-BE49-F238E27FC236}">
                  <a16:creationId xmlns:a16="http://schemas.microsoft.com/office/drawing/2014/main" id="{23081486-A016-4292-A65A-71FFBE01D3DB}"/>
                </a:ext>
              </a:extLst>
            </p:cNvPr>
            <p:cNvSpPr>
              <a:spLocks noChangeAspect="1"/>
            </p:cNvSpPr>
            <p:nvPr/>
          </p:nvSpPr>
          <p:spPr bwMode="auto">
            <a:xfrm>
              <a:off x="8848726" y="1339216"/>
              <a:ext cx="212725" cy="119063"/>
            </a:xfrm>
            <a:custGeom>
              <a:avLst/>
              <a:gdLst>
                <a:gd name="T0" fmla="*/ 1229 w 1250"/>
                <a:gd name="T1" fmla="*/ 57 h 526"/>
                <a:gd name="T2" fmla="*/ 107 w 1250"/>
                <a:gd name="T3" fmla="*/ 525 h 526"/>
                <a:gd name="T4" fmla="*/ 99 w 1250"/>
                <a:gd name="T5" fmla="*/ 526 h 526"/>
                <a:gd name="T6" fmla="*/ 92 w 1250"/>
                <a:gd name="T7" fmla="*/ 524 h 526"/>
                <a:gd name="T8" fmla="*/ 0 w 1250"/>
                <a:gd name="T9" fmla="*/ 473 h 526"/>
                <a:gd name="T10" fmla="*/ 54 w 1250"/>
                <a:gd name="T11" fmla="*/ 419 h 526"/>
                <a:gd name="T12" fmla="*/ 10 w 1250"/>
                <a:gd name="T13" fmla="*/ 395 h 526"/>
                <a:gd name="T14" fmla="*/ 316 w 1250"/>
                <a:gd name="T15" fmla="*/ 93 h 526"/>
                <a:gd name="T16" fmla="*/ 592 w 1250"/>
                <a:gd name="T17" fmla="*/ 93 h 526"/>
                <a:gd name="T18" fmla="*/ 1205 w 1250"/>
                <a:gd name="T19" fmla="*/ 0 h 526"/>
                <a:gd name="T20" fmla="*/ 1219 w 1250"/>
                <a:gd name="T21" fmla="*/ 1 h 526"/>
                <a:gd name="T22" fmla="*/ 1232 w 1250"/>
                <a:gd name="T23" fmla="*/ 5 h 526"/>
                <a:gd name="T24" fmla="*/ 1242 w 1250"/>
                <a:gd name="T25" fmla="*/ 13 h 526"/>
                <a:gd name="T26" fmla="*/ 1248 w 1250"/>
                <a:gd name="T27" fmla="*/ 21 h 526"/>
                <a:gd name="T28" fmla="*/ 1250 w 1250"/>
                <a:gd name="T29" fmla="*/ 32 h 526"/>
                <a:gd name="T30" fmla="*/ 1247 w 1250"/>
                <a:gd name="T31" fmla="*/ 42 h 526"/>
                <a:gd name="T32" fmla="*/ 1239 w 1250"/>
                <a:gd name="T33" fmla="*/ 51 h 526"/>
                <a:gd name="T34" fmla="*/ 1229 w 1250"/>
                <a:gd name="T35" fmla="*/ 57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50" h="526">
                  <a:moveTo>
                    <a:pt x="1229" y="57"/>
                  </a:moveTo>
                  <a:lnTo>
                    <a:pt x="107" y="525"/>
                  </a:lnTo>
                  <a:lnTo>
                    <a:pt x="99" y="526"/>
                  </a:lnTo>
                  <a:lnTo>
                    <a:pt x="92" y="524"/>
                  </a:lnTo>
                  <a:lnTo>
                    <a:pt x="0" y="473"/>
                  </a:lnTo>
                  <a:lnTo>
                    <a:pt x="54" y="419"/>
                  </a:lnTo>
                  <a:lnTo>
                    <a:pt x="10" y="395"/>
                  </a:lnTo>
                  <a:lnTo>
                    <a:pt x="316" y="93"/>
                  </a:lnTo>
                  <a:lnTo>
                    <a:pt x="592" y="93"/>
                  </a:lnTo>
                  <a:lnTo>
                    <a:pt x="1205" y="0"/>
                  </a:lnTo>
                  <a:lnTo>
                    <a:pt x="1219" y="1"/>
                  </a:lnTo>
                  <a:lnTo>
                    <a:pt x="1232" y="5"/>
                  </a:lnTo>
                  <a:lnTo>
                    <a:pt x="1242" y="13"/>
                  </a:lnTo>
                  <a:lnTo>
                    <a:pt x="1248" y="21"/>
                  </a:lnTo>
                  <a:lnTo>
                    <a:pt x="1250" y="32"/>
                  </a:lnTo>
                  <a:lnTo>
                    <a:pt x="1247" y="42"/>
                  </a:lnTo>
                  <a:lnTo>
                    <a:pt x="1239" y="51"/>
                  </a:lnTo>
                  <a:lnTo>
                    <a:pt x="1229" y="57"/>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313" name="Freeform 1761">
              <a:extLst>
                <a:ext uri="{FF2B5EF4-FFF2-40B4-BE49-F238E27FC236}">
                  <a16:creationId xmlns:a16="http://schemas.microsoft.com/office/drawing/2014/main" id="{371B800E-8FF8-4CFB-B00F-3D13ACD77600}"/>
                </a:ext>
              </a:extLst>
            </p:cNvPr>
            <p:cNvSpPr>
              <a:spLocks noChangeAspect="1"/>
            </p:cNvSpPr>
            <p:nvPr/>
          </p:nvSpPr>
          <p:spPr bwMode="auto">
            <a:xfrm>
              <a:off x="8848726" y="1339216"/>
              <a:ext cx="212725" cy="119063"/>
            </a:xfrm>
            <a:custGeom>
              <a:avLst/>
              <a:gdLst>
                <a:gd name="T0" fmla="*/ 1229 w 1250"/>
                <a:gd name="T1" fmla="*/ 57 h 526"/>
                <a:gd name="T2" fmla="*/ 107 w 1250"/>
                <a:gd name="T3" fmla="*/ 525 h 526"/>
                <a:gd name="T4" fmla="*/ 99 w 1250"/>
                <a:gd name="T5" fmla="*/ 526 h 526"/>
                <a:gd name="T6" fmla="*/ 92 w 1250"/>
                <a:gd name="T7" fmla="*/ 524 h 526"/>
                <a:gd name="T8" fmla="*/ 0 w 1250"/>
                <a:gd name="T9" fmla="*/ 473 h 526"/>
                <a:gd name="T10" fmla="*/ 54 w 1250"/>
                <a:gd name="T11" fmla="*/ 419 h 526"/>
                <a:gd name="T12" fmla="*/ 10 w 1250"/>
                <a:gd name="T13" fmla="*/ 395 h 526"/>
                <a:gd name="T14" fmla="*/ 316 w 1250"/>
                <a:gd name="T15" fmla="*/ 93 h 526"/>
                <a:gd name="T16" fmla="*/ 592 w 1250"/>
                <a:gd name="T17" fmla="*/ 93 h 526"/>
                <a:gd name="T18" fmla="*/ 1205 w 1250"/>
                <a:gd name="T19" fmla="*/ 0 h 526"/>
                <a:gd name="T20" fmla="*/ 1219 w 1250"/>
                <a:gd name="T21" fmla="*/ 1 h 526"/>
                <a:gd name="T22" fmla="*/ 1232 w 1250"/>
                <a:gd name="T23" fmla="*/ 5 h 526"/>
                <a:gd name="T24" fmla="*/ 1242 w 1250"/>
                <a:gd name="T25" fmla="*/ 13 h 526"/>
                <a:gd name="T26" fmla="*/ 1248 w 1250"/>
                <a:gd name="T27" fmla="*/ 21 h 526"/>
                <a:gd name="T28" fmla="*/ 1250 w 1250"/>
                <a:gd name="T29" fmla="*/ 32 h 526"/>
                <a:gd name="T30" fmla="*/ 1247 w 1250"/>
                <a:gd name="T31" fmla="*/ 42 h 526"/>
                <a:gd name="T32" fmla="*/ 1239 w 1250"/>
                <a:gd name="T33" fmla="*/ 51 h 526"/>
                <a:gd name="T34" fmla="*/ 1229 w 1250"/>
                <a:gd name="T35" fmla="*/ 57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50" h="526">
                  <a:moveTo>
                    <a:pt x="1229" y="57"/>
                  </a:moveTo>
                  <a:lnTo>
                    <a:pt x="107" y="525"/>
                  </a:lnTo>
                  <a:lnTo>
                    <a:pt x="99" y="526"/>
                  </a:lnTo>
                  <a:lnTo>
                    <a:pt x="92" y="524"/>
                  </a:lnTo>
                  <a:lnTo>
                    <a:pt x="0" y="473"/>
                  </a:lnTo>
                  <a:lnTo>
                    <a:pt x="54" y="419"/>
                  </a:lnTo>
                  <a:lnTo>
                    <a:pt x="10" y="395"/>
                  </a:lnTo>
                  <a:lnTo>
                    <a:pt x="316" y="93"/>
                  </a:lnTo>
                  <a:lnTo>
                    <a:pt x="592" y="93"/>
                  </a:lnTo>
                  <a:lnTo>
                    <a:pt x="1205" y="0"/>
                  </a:lnTo>
                  <a:lnTo>
                    <a:pt x="1219" y="1"/>
                  </a:lnTo>
                  <a:lnTo>
                    <a:pt x="1232" y="5"/>
                  </a:lnTo>
                  <a:lnTo>
                    <a:pt x="1242" y="13"/>
                  </a:lnTo>
                  <a:lnTo>
                    <a:pt x="1248" y="21"/>
                  </a:lnTo>
                  <a:lnTo>
                    <a:pt x="1250" y="32"/>
                  </a:lnTo>
                  <a:lnTo>
                    <a:pt x="1247" y="42"/>
                  </a:lnTo>
                  <a:lnTo>
                    <a:pt x="1239" y="51"/>
                  </a:lnTo>
                  <a:lnTo>
                    <a:pt x="1229" y="57"/>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14" name="Freeform 1762">
              <a:extLst>
                <a:ext uri="{FF2B5EF4-FFF2-40B4-BE49-F238E27FC236}">
                  <a16:creationId xmlns:a16="http://schemas.microsoft.com/office/drawing/2014/main" id="{D6A06E95-9C34-432E-8E4C-D792749C232C}"/>
                </a:ext>
              </a:extLst>
            </p:cNvPr>
            <p:cNvSpPr>
              <a:spLocks noChangeAspect="1"/>
            </p:cNvSpPr>
            <p:nvPr/>
          </p:nvSpPr>
          <p:spPr bwMode="auto">
            <a:xfrm>
              <a:off x="8777289" y="1440815"/>
              <a:ext cx="85725" cy="90488"/>
            </a:xfrm>
            <a:custGeom>
              <a:avLst/>
              <a:gdLst>
                <a:gd name="T0" fmla="*/ 497 w 504"/>
                <a:gd name="T1" fmla="*/ 106 h 403"/>
                <a:gd name="T2" fmla="*/ 208 w 504"/>
                <a:gd name="T3" fmla="*/ 393 h 403"/>
                <a:gd name="T4" fmla="*/ 199 w 504"/>
                <a:gd name="T5" fmla="*/ 399 h 403"/>
                <a:gd name="T6" fmla="*/ 188 w 504"/>
                <a:gd name="T7" fmla="*/ 402 h 403"/>
                <a:gd name="T8" fmla="*/ 175 w 504"/>
                <a:gd name="T9" fmla="*/ 403 h 403"/>
                <a:gd name="T10" fmla="*/ 0 w 504"/>
                <a:gd name="T11" fmla="*/ 361 h 403"/>
                <a:gd name="T12" fmla="*/ 365 w 504"/>
                <a:gd name="T13" fmla="*/ 0 h 403"/>
                <a:gd name="T14" fmla="*/ 490 w 504"/>
                <a:gd name="T15" fmla="*/ 71 h 403"/>
                <a:gd name="T16" fmla="*/ 498 w 504"/>
                <a:gd name="T17" fmla="*/ 77 h 403"/>
                <a:gd name="T18" fmla="*/ 503 w 504"/>
                <a:gd name="T19" fmla="*/ 84 h 403"/>
                <a:gd name="T20" fmla="*/ 504 w 504"/>
                <a:gd name="T21" fmla="*/ 91 h 403"/>
                <a:gd name="T22" fmla="*/ 502 w 504"/>
                <a:gd name="T23" fmla="*/ 99 h 403"/>
                <a:gd name="T24" fmla="*/ 497 w 504"/>
                <a:gd name="T25" fmla="*/ 106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403">
                  <a:moveTo>
                    <a:pt x="497" y="106"/>
                  </a:moveTo>
                  <a:lnTo>
                    <a:pt x="208" y="393"/>
                  </a:lnTo>
                  <a:lnTo>
                    <a:pt x="199" y="399"/>
                  </a:lnTo>
                  <a:lnTo>
                    <a:pt x="188" y="402"/>
                  </a:lnTo>
                  <a:lnTo>
                    <a:pt x="175" y="403"/>
                  </a:lnTo>
                  <a:lnTo>
                    <a:pt x="0" y="361"/>
                  </a:lnTo>
                  <a:lnTo>
                    <a:pt x="365" y="0"/>
                  </a:lnTo>
                  <a:lnTo>
                    <a:pt x="490" y="71"/>
                  </a:lnTo>
                  <a:lnTo>
                    <a:pt x="498" y="77"/>
                  </a:lnTo>
                  <a:lnTo>
                    <a:pt x="503" y="84"/>
                  </a:lnTo>
                  <a:lnTo>
                    <a:pt x="504" y="91"/>
                  </a:lnTo>
                  <a:lnTo>
                    <a:pt x="502" y="99"/>
                  </a:lnTo>
                  <a:lnTo>
                    <a:pt x="497" y="106"/>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315" name="Freeform 1763">
              <a:extLst>
                <a:ext uri="{FF2B5EF4-FFF2-40B4-BE49-F238E27FC236}">
                  <a16:creationId xmlns:a16="http://schemas.microsoft.com/office/drawing/2014/main" id="{683F0AF4-9F67-4973-BA4C-5240A5E52F34}"/>
                </a:ext>
              </a:extLst>
            </p:cNvPr>
            <p:cNvSpPr>
              <a:spLocks noChangeAspect="1"/>
            </p:cNvSpPr>
            <p:nvPr/>
          </p:nvSpPr>
          <p:spPr bwMode="auto">
            <a:xfrm>
              <a:off x="8777289" y="1440815"/>
              <a:ext cx="85725" cy="90488"/>
            </a:xfrm>
            <a:custGeom>
              <a:avLst/>
              <a:gdLst>
                <a:gd name="T0" fmla="*/ 497 w 504"/>
                <a:gd name="T1" fmla="*/ 106 h 403"/>
                <a:gd name="T2" fmla="*/ 208 w 504"/>
                <a:gd name="T3" fmla="*/ 393 h 403"/>
                <a:gd name="T4" fmla="*/ 199 w 504"/>
                <a:gd name="T5" fmla="*/ 399 h 403"/>
                <a:gd name="T6" fmla="*/ 188 w 504"/>
                <a:gd name="T7" fmla="*/ 402 h 403"/>
                <a:gd name="T8" fmla="*/ 175 w 504"/>
                <a:gd name="T9" fmla="*/ 403 h 403"/>
                <a:gd name="T10" fmla="*/ 0 w 504"/>
                <a:gd name="T11" fmla="*/ 361 h 403"/>
                <a:gd name="T12" fmla="*/ 365 w 504"/>
                <a:gd name="T13" fmla="*/ 0 h 403"/>
                <a:gd name="T14" fmla="*/ 490 w 504"/>
                <a:gd name="T15" fmla="*/ 71 h 403"/>
                <a:gd name="T16" fmla="*/ 498 w 504"/>
                <a:gd name="T17" fmla="*/ 77 h 403"/>
                <a:gd name="T18" fmla="*/ 503 w 504"/>
                <a:gd name="T19" fmla="*/ 84 h 403"/>
                <a:gd name="T20" fmla="*/ 504 w 504"/>
                <a:gd name="T21" fmla="*/ 91 h 403"/>
                <a:gd name="T22" fmla="*/ 502 w 504"/>
                <a:gd name="T23" fmla="*/ 99 h 403"/>
                <a:gd name="T24" fmla="*/ 497 w 504"/>
                <a:gd name="T25" fmla="*/ 106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403">
                  <a:moveTo>
                    <a:pt x="497" y="106"/>
                  </a:moveTo>
                  <a:lnTo>
                    <a:pt x="208" y="393"/>
                  </a:lnTo>
                  <a:lnTo>
                    <a:pt x="199" y="399"/>
                  </a:lnTo>
                  <a:lnTo>
                    <a:pt x="188" y="402"/>
                  </a:lnTo>
                  <a:lnTo>
                    <a:pt x="175" y="403"/>
                  </a:lnTo>
                  <a:lnTo>
                    <a:pt x="0" y="361"/>
                  </a:lnTo>
                  <a:lnTo>
                    <a:pt x="365" y="0"/>
                  </a:lnTo>
                  <a:lnTo>
                    <a:pt x="490" y="71"/>
                  </a:lnTo>
                  <a:lnTo>
                    <a:pt x="498" y="77"/>
                  </a:lnTo>
                  <a:lnTo>
                    <a:pt x="503" y="84"/>
                  </a:lnTo>
                  <a:lnTo>
                    <a:pt x="504" y="91"/>
                  </a:lnTo>
                  <a:lnTo>
                    <a:pt x="502" y="99"/>
                  </a:lnTo>
                  <a:lnTo>
                    <a:pt x="497" y="106"/>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16" name="Freeform 1764">
              <a:extLst>
                <a:ext uri="{FF2B5EF4-FFF2-40B4-BE49-F238E27FC236}">
                  <a16:creationId xmlns:a16="http://schemas.microsoft.com/office/drawing/2014/main" id="{06F600AF-2EFC-4396-9D6C-5CD475DED25D}"/>
                </a:ext>
              </a:extLst>
            </p:cNvPr>
            <p:cNvSpPr>
              <a:spLocks noChangeAspect="1"/>
            </p:cNvSpPr>
            <p:nvPr/>
          </p:nvSpPr>
          <p:spPr bwMode="auto">
            <a:xfrm>
              <a:off x="8721726" y="1523365"/>
              <a:ext cx="85725" cy="82550"/>
            </a:xfrm>
            <a:custGeom>
              <a:avLst/>
              <a:gdLst>
                <a:gd name="T0" fmla="*/ 498 w 505"/>
                <a:gd name="T1" fmla="*/ 68 h 363"/>
                <a:gd name="T2" fmla="*/ 221 w 505"/>
                <a:gd name="T3" fmla="*/ 342 h 363"/>
                <a:gd name="T4" fmla="*/ 209 w 505"/>
                <a:gd name="T5" fmla="*/ 353 h 363"/>
                <a:gd name="T6" fmla="*/ 202 w 505"/>
                <a:gd name="T7" fmla="*/ 358 h 363"/>
                <a:gd name="T8" fmla="*/ 193 w 505"/>
                <a:gd name="T9" fmla="*/ 362 h 363"/>
                <a:gd name="T10" fmla="*/ 184 w 505"/>
                <a:gd name="T11" fmla="*/ 363 h 363"/>
                <a:gd name="T12" fmla="*/ 174 w 505"/>
                <a:gd name="T13" fmla="*/ 363 h 363"/>
                <a:gd name="T14" fmla="*/ 165 w 505"/>
                <a:gd name="T15" fmla="*/ 361 h 363"/>
                <a:gd name="T16" fmla="*/ 0 w 505"/>
                <a:gd name="T17" fmla="*/ 323 h 363"/>
                <a:gd name="T18" fmla="*/ 327 w 505"/>
                <a:gd name="T19" fmla="*/ 0 h 363"/>
                <a:gd name="T20" fmla="*/ 486 w 505"/>
                <a:gd name="T21" fmla="*/ 30 h 363"/>
                <a:gd name="T22" fmla="*/ 496 w 505"/>
                <a:gd name="T23" fmla="*/ 35 h 363"/>
                <a:gd name="T24" fmla="*/ 503 w 505"/>
                <a:gd name="T25" fmla="*/ 42 h 363"/>
                <a:gd name="T26" fmla="*/ 505 w 505"/>
                <a:gd name="T27" fmla="*/ 51 h 363"/>
                <a:gd name="T28" fmla="*/ 504 w 505"/>
                <a:gd name="T29" fmla="*/ 61 h 363"/>
                <a:gd name="T30" fmla="*/ 498 w 505"/>
                <a:gd name="T31" fmla="*/ 68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63">
                  <a:moveTo>
                    <a:pt x="498" y="68"/>
                  </a:moveTo>
                  <a:lnTo>
                    <a:pt x="221" y="342"/>
                  </a:lnTo>
                  <a:lnTo>
                    <a:pt x="209" y="353"/>
                  </a:lnTo>
                  <a:lnTo>
                    <a:pt x="202" y="358"/>
                  </a:lnTo>
                  <a:lnTo>
                    <a:pt x="193" y="362"/>
                  </a:lnTo>
                  <a:lnTo>
                    <a:pt x="184" y="363"/>
                  </a:lnTo>
                  <a:lnTo>
                    <a:pt x="174" y="363"/>
                  </a:lnTo>
                  <a:lnTo>
                    <a:pt x="165" y="361"/>
                  </a:lnTo>
                  <a:lnTo>
                    <a:pt x="0" y="323"/>
                  </a:lnTo>
                  <a:lnTo>
                    <a:pt x="327" y="0"/>
                  </a:lnTo>
                  <a:lnTo>
                    <a:pt x="486" y="30"/>
                  </a:lnTo>
                  <a:lnTo>
                    <a:pt x="496" y="35"/>
                  </a:lnTo>
                  <a:lnTo>
                    <a:pt x="503" y="42"/>
                  </a:lnTo>
                  <a:lnTo>
                    <a:pt x="505" y="51"/>
                  </a:lnTo>
                  <a:lnTo>
                    <a:pt x="504" y="61"/>
                  </a:lnTo>
                  <a:lnTo>
                    <a:pt x="498" y="68"/>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317" name="Freeform 1765">
              <a:extLst>
                <a:ext uri="{FF2B5EF4-FFF2-40B4-BE49-F238E27FC236}">
                  <a16:creationId xmlns:a16="http://schemas.microsoft.com/office/drawing/2014/main" id="{79642ABC-FB69-4BE5-A2F4-C40E82990079}"/>
                </a:ext>
              </a:extLst>
            </p:cNvPr>
            <p:cNvSpPr>
              <a:spLocks noChangeAspect="1"/>
            </p:cNvSpPr>
            <p:nvPr/>
          </p:nvSpPr>
          <p:spPr bwMode="auto">
            <a:xfrm>
              <a:off x="8721726" y="1523365"/>
              <a:ext cx="85725" cy="82550"/>
            </a:xfrm>
            <a:custGeom>
              <a:avLst/>
              <a:gdLst>
                <a:gd name="T0" fmla="*/ 498 w 505"/>
                <a:gd name="T1" fmla="*/ 68 h 363"/>
                <a:gd name="T2" fmla="*/ 221 w 505"/>
                <a:gd name="T3" fmla="*/ 342 h 363"/>
                <a:gd name="T4" fmla="*/ 209 w 505"/>
                <a:gd name="T5" fmla="*/ 353 h 363"/>
                <a:gd name="T6" fmla="*/ 202 w 505"/>
                <a:gd name="T7" fmla="*/ 358 h 363"/>
                <a:gd name="T8" fmla="*/ 193 w 505"/>
                <a:gd name="T9" fmla="*/ 362 h 363"/>
                <a:gd name="T10" fmla="*/ 184 w 505"/>
                <a:gd name="T11" fmla="*/ 363 h 363"/>
                <a:gd name="T12" fmla="*/ 174 w 505"/>
                <a:gd name="T13" fmla="*/ 363 h 363"/>
                <a:gd name="T14" fmla="*/ 165 w 505"/>
                <a:gd name="T15" fmla="*/ 361 h 363"/>
                <a:gd name="T16" fmla="*/ 0 w 505"/>
                <a:gd name="T17" fmla="*/ 323 h 363"/>
                <a:gd name="T18" fmla="*/ 327 w 505"/>
                <a:gd name="T19" fmla="*/ 0 h 363"/>
                <a:gd name="T20" fmla="*/ 486 w 505"/>
                <a:gd name="T21" fmla="*/ 30 h 363"/>
                <a:gd name="T22" fmla="*/ 496 w 505"/>
                <a:gd name="T23" fmla="*/ 35 h 363"/>
                <a:gd name="T24" fmla="*/ 503 w 505"/>
                <a:gd name="T25" fmla="*/ 42 h 363"/>
                <a:gd name="T26" fmla="*/ 505 w 505"/>
                <a:gd name="T27" fmla="*/ 51 h 363"/>
                <a:gd name="T28" fmla="*/ 504 w 505"/>
                <a:gd name="T29" fmla="*/ 61 h 363"/>
                <a:gd name="T30" fmla="*/ 498 w 505"/>
                <a:gd name="T31" fmla="*/ 68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63">
                  <a:moveTo>
                    <a:pt x="498" y="68"/>
                  </a:moveTo>
                  <a:lnTo>
                    <a:pt x="221" y="342"/>
                  </a:lnTo>
                  <a:lnTo>
                    <a:pt x="209" y="353"/>
                  </a:lnTo>
                  <a:lnTo>
                    <a:pt x="202" y="358"/>
                  </a:lnTo>
                  <a:lnTo>
                    <a:pt x="193" y="362"/>
                  </a:lnTo>
                  <a:lnTo>
                    <a:pt x="184" y="363"/>
                  </a:lnTo>
                  <a:lnTo>
                    <a:pt x="174" y="363"/>
                  </a:lnTo>
                  <a:lnTo>
                    <a:pt x="165" y="361"/>
                  </a:lnTo>
                  <a:lnTo>
                    <a:pt x="0" y="323"/>
                  </a:lnTo>
                  <a:lnTo>
                    <a:pt x="327" y="0"/>
                  </a:lnTo>
                  <a:lnTo>
                    <a:pt x="486" y="30"/>
                  </a:lnTo>
                  <a:lnTo>
                    <a:pt x="496" y="35"/>
                  </a:lnTo>
                  <a:lnTo>
                    <a:pt x="503" y="42"/>
                  </a:lnTo>
                  <a:lnTo>
                    <a:pt x="505" y="51"/>
                  </a:lnTo>
                  <a:lnTo>
                    <a:pt x="504" y="61"/>
                  </a:lnTo>
                  <a:lnTo>
                    <a:pt x="498" y="68"/>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18" name="Freeform 1766">
              <a:extLst>
                <a:ext uri="{FF2B5EF4-FFF2-40B4-BE49-F238E27FC236}">
                  <a16:creationId xmlns:a16="http://schemas.microsoft.com/office/drawing/2014/main" id="{D1FAA0FF-DDF3-4DBA-AA99-B658F31DC999}"/>
                </a:ext>
              </a:extLst>
            </p:cNvPr>
            <p:cNvSpPr>
              <a:spLocks noChangeAspect="1"/>
            </p:cNvSpPr>
            <p:nvPr/>
          </p:nvSpPr>
          <p:spPr bwMode="auto">
            <a:xfrm>
              <a:off x="8670925" y="1596390"/>
              <a:ext cx="82550" cy="95250"/>
            </a:xfrm>
            <a:custGeom>
              <a:avLst/>
              <a:gdLst>
                <a:gd name="T0" fmla="*/ 484 w 486"/>
                <a:gd name="T1" fmla="*/ 73 h 429"/>
                <a:gd name="T2" fmla="*/ 284 w 486"/>
                <a:gd name="T3" fmla="*/ 415 h 429"/>
                <a:gd name="T4" fmla="*/ 284 w 486"/>
                <a:gd name="T5" fmla="*/ 416 h 429"/>
                <a:gd name="T6" fmla="*/ 281 w 486"/>
                <a:gd name="T7" fmla="*/ 420 h 429"/>
                <a:gd name="T8" fmla="*/ 277 w 486"/>
                <a:gd name="T9" fmla="*/ 423 h 429"/>
                <a:gd name="T10" fmla="*/ 273 w 486"/>
                <a:gd name="T11" fmla="*/ 425 h 429"/>
                <a:gd name="T12" fmla="*/ 268 w 486"/>
                <a:gd name="T13" fmla="*/ 427 h 429"/>
                <a:gd name="T14" fmla="*/ 262 w 486"/>
                <a:gd name="T15" fmla="*/ 429 h 429"/>
                <a:gd name="T16" fmla="*/ 257 w 486"/>
                <a:gd name="T17" fmla="*/ 429 h 429"/>
                <a:gd name="T18" fmla="*/ 252 w 486"/>
                <a:gd name="T19" fmla="*/ 429 h 429"/>
                <a:gd name="T20" fmla="*/ 246 w 486"/>
                <a:gd name="T21" fmla="*/ 429 h 429"/>
                <a:gd name="T22" fmla="*/ 241 w 486"/>
                <a:gd name="T23" fmla="*/ 428 h 429"/>
                <a:gd name="T24" fmla="*/ 236 w 486"/>
                <a:gd name="T25" fmla="*/ 426 h 429"/>
                <a:gd name="T26" fmla="*/ 233 w 486"/>
                <a:gd name="T27" fmla="*/ 425 h 429"/>
                <a:gd name="T28" fmla="*/ 0 w 486"/>
                <a:gd name="T29" fmla="*/ 294 h 429"/>
                <a:gd name="T30" fmla="*/ 297 w 486"/>
                <a:gd name="T31" fmla="*/ 0 h 429"/>
                <a:gd name="T32" fmla="*/ 462 w 486"/>
                <a:gd name="T33" fmla="*/ 38 h 429"/>
                <a:gd name="T34" fmla="*/ 464 w 486"/>
                <a:gd name="T35" fmla="*/ 39 h 429"/>
                <a:gd name="T36" fmla="*/ 469 w 486"/>
                <a:gd name="T37" fmla="*/ 41 h 429"/>
                <a:gd name="T38" fmla="*/ 475 w 486"/>
                <a:gd name="T39" fmla="*/ 43 h 429"/>
                <a:gd name="T40" fmla="*/ 478 w 486"/>
                <a:gd name="T41" fmla="*/ 46 h 429"/>
                <a:gd name="T42" fmla="*/ 481 w 486"/>
                <a:gd name="T43" fmla="*/ 49 h 429"/>
                <a:gd name="T44" fmla="*/ 484 w 486"/>
                <a:gd name="T45" fmla="*/ 54 h 429"/>
                <a:gd name="T46" fmla="*/ 485 w 486"/>
                <a:gd name="T47" fmla="*/ 58 h 429"/>
                <a:gd name="T48" fmla="*/ 486 w 486"/>
                <a:gd name="T49" fmla="*/ 62 h 429"/>
                <a:gd name="T50" fmla="*/ 485 w 486"/>
                <a:gd name="T51" fmla="*/ 67 h 429"/>
                <a:gd name="T52" fmla="*/ 484 w 486"/>
                <a:gd name="T53" fmla="*/ 71 h 429"/>
                <a:gd name="T54" fmla="*/ 484 w 486"/>
                <a:gd name="T55" fmla="*/ 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6" h="429">
                  <a:moveTo>
                    <a:pt x="484" y="73"/>
                  </a:moveTo>
                  <a:lnTo>
                    <a:pt x="284" y="415"/>
                  </a:lnTo>
                  <a:lnTo>
                    <a:pt x="284" y="416"/>
                  </a:lnTo>
                  <a:lnTo>
                    <a:pt x="281" y="420"/>
                  </a:lnTo>
                  <a:lnTo>
                    <a:pt x="277" y="423"/>
                  </a:lnTo>
                  <a:lnTo>
                    <a:pt x="273" y="425"/>
                  </a:lnTo>
                  <a:lnTo>
                    <a:pt x="268" y="427"/>
                  </a:lnTo>
                  <a:lnTo>
                    <a:pt x="262" y="429"/>
                  </a:lnTo>
                  <a:lnTo>
                    <a:pt x="257" y="429"/>
                  </a:lnTo>
                  <a:lnTo>
                    <a:pt x="252" y="429"/>
                  </a:lnTo>
                  <a:lnTo>
                    <a:pt x="246" y="429"/>
                  </a:lnTo>
                  <a:lnTo>
                    <a:pt x="241" y="428"/>
                  </a:lnTo>
                  <a:lnTo>
                    <a:pt x="236" y="426"/>
                  </a:lnTo>
                  <a:lnTo>
                    <a:pt x="233" y="425"/>
                  </a:lnTo>
                  <a:lnTo>
                    <a:pt x="0" y="294"/>
                  </a:lnTo>
                  <a:lnTo>
                    <a:pt x="297" y="0"/>
                  </a:lnTo>
                  <a:lnTo>
                    <a:pt x="462" y="38"/>
                  </a:lnTo>
                  <a:lnTo>
                    <a:pt x="464" y="39"/>
                  </a:lnTo>
                  <a:lnTo>
                    <a:pt x="469" y="41"/>
                  </a:lnTo>
                  <a:lnTo>
                    <a:pt x="475" y="43"/>
                  </a:lnTo>
                  <a:lnTo>
                    <a:pt x="478" y="46"/>
                  </a:lnTo>
                  <a:lnTo>
                    <a:pt x="481" y="49"/>
                  </a:lnTo>
                  <a:lnTo>
                    <a:pt x="484" y="54"/>
                  </a:lnTo>
                  <a:lnTo>
                    <a:pt x="485" y="58"/>
                  </a:lnTo>
                  <a:lnTo>
                    <a:pt x="486" y="62"/>
                  </a:lnTo>
                  <a:lnTo>
                    <a:pt x="485" y="67"/>
                  </a:lnTo>
                  <a:lnTo>
                    <a:pt x="484" y="71"/>
                  </a:lnTo>
                  <a:lnTo>
                    <a:pt x="484" y="73"/>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319" name="Freeform 1767">
              <a:extLst>
                <a:ext uri="{FF2B5EF4-FFF2-40B4-BE49-F238E27FC236}">
                  <a16:creationId xmlns:a16="http://schemas.microsoft.com/office/drawing/2014/main" id="{817D8A4F-8A30-4FD6-820E-0E80870F757E}"/>
                </a:ext>
              </a:extLst>
            </p:cNvPr>
            <p:cNvSpPr>
              <a:spLocks noChangeAspect="1"/>
            </p:cNvSpPr>
            <p:nvPr/>
          </p:nvSpPr>
          <p:spPr bwMode="auto">
            <a:xfrm>
              <a:off x="8670925" y="1596390"/>
              <a:ext cx="82550" cy="95250"/>
            </a:xfrm>
            <a:custGeom>
              <a:avLst/>
              <a:gdLst>
                <a:gd name="T0" fmla="*/ 484 w 486"/>
                <a:gd name="T1" fmla="*/ 73 h 429"/>
                <a:gd name="T2" fmla="*/ 284 w 486"/>
                <a:gd name="T3" fmla="*/ 415 h 429"/>
                <a:gd name="T4" fmla="*/ 284 w 486"/>
                <a:gd name="T5" fmla="*/ 416 h 429"/>
                <a:gd name="T6" fmla="*/ 281 w 486"/>
                <a:gd name="T7" fmla="*/ 420 h 429"/>
                <a:gd name="T8" fmla="*/ 277 w 486"/>
                <a:gd name="T9" fmla="*/ 423 h 429"/>
                <a:gd name="T10" fmla="*/ 273 w 486"/>
                <a:gd name="T11" fmla="*/ 425 h 429"/>
                <a:gd name="T12" fmla="*/ 268 w 486"/>
                <a:gd name="T13" fmla="*/ 427 h 429"/>
                <a:gd name="T14" fmla="*/ 262 w 486"/>
                <a:gd name="T15" fmla="*/ 429 h 429"/>
                <a:gd name="T16" fmla="*/ 257 w 486"/>
                <a:gd name="T17" fmla="*/ 429 h 429"/>
                <a:gd name="T18" fmla="*/ 252 w 486"/>
                <a:gd name="T19" fmla="*/ 429 h 429"/>
                <a:gd name="T20" fmla="*/ 246 w 486"/>
                <a:gd name="T21" fmla="*/ 429 h 429"/>
                <a:gd name="T22" fmla="*/ 241 w 486"/>
                <a:gd name="T23" fmla="*/ 428 h 429"/>
                <a:gd name="T24" fmla="*/ 236 w 486"/>
                <a:gd name="T25" fmla="*/ 426 h 429"/>
                <a:gd name="T26" fmla="*/ 233 w 486"/>
                <a:gd name="T27" fmla="*/ 425 h 429"/>
                <a:gd name="T28" fmla="*/ 0 w 486"/>
                <a:gd name="T29" fmla="*/ 294 h 429"/>
                <a:gd name="T30" fmla="*/ 297 w 486"/>
                <a:gd name="T31" fmla="*/ 0 h 429"/>
                <a:gd name="T32" fmla="*/ 462 w 486"/>
                <a:gd name="T33" fmla="*/ 38 h 429"/>
                <a:gd name="T34" fmla="*/ 464 w 486"/>
                <a:gd name="T35" fmla="*/ 39 h 429"/>
                <a:gd name="T36" fmla="*/ 469 w 486"/>
                <a:gd name="T37" fmla="*/ 41 h 429"/>
                <a:gd name="T38" fmla="*/ 475 w 486"/>
                <a:gd name="T39" fmla="*/ 43 h 429"/>
                <a:gd name="T40" fmla="*/ 478 w 486"/>
                <a:gd name="T41" fmla="*/ 46 h 429"/>
                <a:gd name="T42" fmla="*/ 481 w 486"/>
                <a:gd name="T43" fmla="*/ 49 h 429"/>
                <a:gd name="T44" fmla="*/ 484 w 486"/>
                <a:gd name="T45" fmla="*/ 54 h 429"/>
                <a:gd name="T46" fmla="*/ 485 w 486"/>
                <a:gd name="T47" fmla="*/ 58 h 429"/>
                <a:gd name="T48" fmla="*/ 486 w 486"/>
                <a:gd name="T49" fmla="*/ 62 h 429"/>
                <a:gd name="T50" fmla="*/ 485 w 486"/>
                <a:gd name="T51" fmla="*/ 67 h 429"/>
                <a:gd name="T52" fmla="*/ 484 w 486"/>
                <a:gd name="T53" fmla="*/ 71 h 429"/>
                <a:gd name="T54" fmla="*/ 484 w 486"/>
                <a:gd name="T55" fmla="*/ 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6" h="429">
                  <a:moveTo>
                    <a:pt x="484" y="73"/>
                  </a:moveTo>
                  <a:lnTo>
                    <a:pt x="284" y="415"/>
                  </a:lnTo>
                  <a:lnTo>
                    <a:pt x="284" y="416"/>
                  </a:lnTo>
                  <a:lnTo>
                    <a:pt x="281" y="420"/>
                  </a:lnTo>
                  <a:lnTo>
                    <a:pt x="277" y="423"/>
                  </a:lnTo>
                  <a:lnTo>
                    <a:pt x="273" y="425"/>
                  </a:lnTo>
                  <a:lnTo>
                    <a:pt x="268" y="427"/>
                  </a:lnTo>
                  <a:lnTo>
                    <a:pt x="262" y="429"/>
                  </a:lnTo>
                  <a:lnTo>
                    <a:pt x="257" y="429"/>
                  </a:lnTo>
                  <a:lnTo>
                    <a:pt x="252" y="429"/>
                  </a:lnTo>
                  <a:lnTo>
                    <a:pt x="246" y="429"/>
                  </a:lnTo>
                  <a:lnTo>
                    <a:pt x="241" y="428"/>
                  </a:lnTo>
                  <a:lnTo>
                    <a:pt x="236" y="426"/>
                  </a:lnTo>
                  <a:lnTo>
                    <a:pt x="233" y="425"/>
                  </a:lnTo>
                  <a:lnTo>
                    <a:pt x="0" y="294"/>
                  </a:lnTo>
                  <a:lnTo>
                    <a:pt x="297" y="0"/>
                  </a:lnTo>
                  <a:lnTo>
                    <a:pt x="462" y="38"/>
                  </a:lnTo>
                  <a:lnTo>
                    <a:pt x="464" y="39"/>
                  </a:lnTo>
                  <a:lnTo>
                    <a:pt x="469" y="41"/>
                  </a:lnTo>
                  <a:lnTo>
                    <a:pt x="475" y="43"/>
                  </a:lnTo>
                  <a:lnTo>
                    <a:pt x="478" y="46"/>
                  </a:lnTo>
                  <a:lnTo>
                    <a:pt x="481" y="49"/>
                  </a:lnTo>
                  <a:lnTo>
                    <a:pt x="484" y="54"/>
                  </a:lnTo>
                  <a:lnTo>
                    <a:pt x="485" y="58"/>
                  </a:lnTo>
                  <a:lnTo>
                    <a:pt x="486" y="62"/>
                  </a:lnTo>
                  <a:lnTo>
                    <a:pt x="485" y="67"/>
                  </a:lnTo>
                  <a:lnTo>
                    <a:pt x="484" y="71"/>
                  </a:lnTo>
                  <a:lnTo>
                    <a:pt x="484" y="73"/>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20" name="Freeform 1768">
              <a:extLst>
                <a:ext uri="{FF2B5EF4-FFF2-40B4-BE49-F238E27FC236}">
                  <a16:creationId xmlns:a16="http://schemas.microsoft.com/office/drawing/2014/main" id="{88CFF7A3-19AA-47B8-8C03-B33F7832D6CA}"/>
                </a:ext>
              </a:extLst>
            </p:cNvPr>
            <p:cNvSpPr>
              <a:spLocks noChangeAspect="1"/>
            </p:cNvSpPr>
            <p:nvPr/>
          </p:nvSpPr>
          <p:spPr bwMode="auto">
            <a:xfrm>
              <a:off x="8618538" y="1663066"/>
              <a:ext cx="95250" cy="130175"/>
            </a:xfrm>
            <a:custGeom>
              <a:avLst/>
              <a:gdLst>
                <a:gd name="T0" fmla="*/ 572 w 573"/>
                <a:gd name="T1" fmla="*/ 169 h 579"/>
                <a:gd name="T2" fmla="*/ 413 w 573"/>
                <a:gd name="T3" fmla="*/ 478 h 579"/>
                <a:gd name="T4" fmla="*/ 409 w 573"/>
                <a:gd name="T5" fmla="*/ 485 h 579"/>
                <a:gd name="T6" fmla="*/ 407 w 573"/>
                <a:gd name="T7" fmla="*/ 489 h 579"/>
                <a:gd name="T8" fmla="*/ 401 w 573"/>
                <a:gd name="T9" fmla="*/ 495 h 579"/>
                <a:gd name="T10" fmla="*/ 398 w 573"/>
                <a:gd name="T11" fmla="*/ 498 h 579"/>
                <a:gd name="T12" fmla="*/ 327 w 573"/>
                <a:gd name="T13" fmla="*/ 569 h 579"/>
                <a:gd name="T14" fmla="*/ 324 w 573"/>
                <a:gd name="T15" fmla="*/ 571 h 579"/>
                <a:gd name="T16" fmla="*/ 321 w 573"/>
                <a:gd name="T17" fmla="*/ 573 h 579"/>
                <a:gd name="T18" fmla="*/ 315 w 573"/>
                <a:gd name="T19" fmla="*/ 576 h 579"/>
                <a:gd name="T20" fmla="*/ 311 w 573"/>
                <a:gd name="T21" fmla="*/ 577 h 579"/>
                <a:gd name="T22" fmla="*/ 305 w 573"/>
                <a:gd name="T23" fmla="*/ 579 h 579"/>
                <a:gd name="T24" fmla="*/ 300 w 573"/>
                <a:gd name="T25" fmla="*/ 579 h 579"/>
                <a:gd name="T26" fmla="*/ 293 w 573"/>
                <a:gd name="T27" fmla="*/ 579 h 579"/>
                <a:gd name="T28" fmla="*/ 288 w 573"/>
                <a:gd name="T29" fmla="*/ 578 h 579"/>
                <a:gd name="T30" fmla="*/ 283 w 573"/>
                <a:gd name="T31" fmla="*/ 576 h 579"/>
                <a:gd name="T32" fmla="*/ 278 w 573"/>
                <a:gd name="T33" fmla="*/ 574 h 579"/>
                <a:gd name="T34" fmla="*/ 278 w 573"/>
                <a:gd name="T35" fmla="*/ 574 h 579"/>
                <a:gd name="T36" fmla="*/ 0 w 573"/>
                <a:gd name="T37" fmla="*/ 418 h 579"/>
                <a:gd name="T38" fmla="*/ 152 w 573"/>
                <a:gd name="T39" fmla="*/ 267 h 579"/>
                <a:gd name="T40" fmla="*/ 81 w 573"/>
                <a:gd name="T41" fmla="*/ 226 h 579"/>
                <a:gd name="T42" fmla="*/ 312 w 573"/>
                <a:gd name="T43" fmla="*/ 0 h 579"/>
                <a:gd name="T44" fmla="*/ 560 w 573"/>
                <a:gd name="T45" fmla="*/ 139 h 579"/>
                <a:gd name="T46" fmla="*/ 562 w 573"/>
                <a:gd name="T47" fmla="*/ 140 h 579"/>
                <a:gd name="T48" fmla="*/ 565 w 573"/>
                <a:gd name="T49" fmla="*/ 143 h 579"/>
                <a:gd name="T50" fmla="*/ 569 w 573"/>
                <a:gd name="T51" fmla="*/ 146 h 579"/>
                <a:gd name="T52" fmla="*/ 572 w 573"/>
                <a:gd name="T53" fmla="*/ 150 h 579"/>
                <a:gd name="T54" fmla="*/ 573 w 573"/>
                <a:gd name="T55" fmla="*/ 155 h 579"/>
                <a:gd name="T56" fmla="*/ 573 w 573"/>
                <a:gd name="T57" fmla="*/ 159 h 579"/>
                <a:gd name="T58" fmla="*/ 573 w 573"/>
                <a:gd name="T59" fmla="*/ 163 h 579"/>
                <a:gd name="T60" fmla="*/ 572 w 573"/>
                <a:gd name="T61" fmla="*/ 167 h 579"/>
                <a:gd name="T62" fmla="*/ 572 w 573"/>
                <a:gd name="T63" fmla="*/ 169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3" h="579">
                  <a:moveTo>
                    <a:pt x="572" y="169"/>
                  </a:moveTo>
                  <a:lnTo>
                    <a:pt x="413" y="478"/>
                  </a:lnTo>
                  <a:lnTo>
                    <a:pt x="409" y="485"/>
                  </a:lnTo>
                  <a:lnTo>
                    <a:pt x="407" y="489"/>
                  </a:lnTo>
                  <a:lnTo>
                    <a:pt x="401" y="495"/>
                  </a:lnTo>
                  <a:lnTo>
                    <a:pt x="398" y="498"/>
                  </a:lnTo>
                  <a:lnTo>
                    <a:pt x="327" y="569"/>
                  </a:lnTo>
                  <a:lnTo>
                    <a:pt x="324" y="571"/>
                  </a:lnTo>
                  <a:lnTo>
                    <a:pt x="321" y="573"/>
                  </a:lnTo>
                  <a:lnTo>
                    <a:pt x="315" y="576"/>
                  </a:lnTo>
                  <a:lnTo>
                    <a:pt x="311" y="577"/>
                  </a:lnTo>
                  <a:lnTo>
                    <a:pt x="305" y="579"/>
                  </a:lnTo>
                  <a:lnTo>
                    <a:pt x="300" y="579"/>
                  </a:lnTo>
                  <a:lnTo>
                    <a:pt x="293" y="579"/>
                  </a:lnTo>
                  <a:lnTo>
                    <a:pt x="288" y="578"/>
                  </a:lnTo>
                  <a:lnTo>
                    <a:pt x="283" y="576"/>
                  </a:lnTo>
                  <a:lnTo>
                    <a:pt x="278" y="574"/>
                  </a:lnTo>
                  <a:lnTo>
                    <a:pt x="278" y="574"/>
                  </a:lnTo>
                  <a:lnTo>
                    <a:pt x="0" y="418"/>
                  </a:lnTo>
                  <a:lnTo>
                    <a:pt x="152" y="267"/>
                  </a:lnTo>
                  <a:lnTo>
                    <a:pt x="81" y="226"/>
                  </a:lnTo>
                  <a:lnTo>
                    <a:pt x="312" y="0"/>
                  </a:lnTo>
                  <a:lnTo>
                    <a:pt x="560" y="139"/>
                  </a:lnTo>
                  <a:lnTo>
                    <a:pt x="562" y="140"/>
                  </a:lnTo>
                  <a:lnTo>
                    <a:pt x="565" y="143"/>
                  </a:lnTo>
                  <a:lnTo>
                    <a:pt x="569" y="146"/>
                  </a:lnTo>
                  <a:lnTo>
                    <a:pt x="572" y="150"/>
                  </a:lnTo>
                  <a:lnTo>
                    <a:pt x="573" y="155"/>
                  </a:lnTo>
                  <a:lnTo>
                    <a:pt x="573" y="159"/>
                  </a:lnTo>
                  <a:lnTo>
                    <a:pt x="573" y="163"/>
                  </a:lnTo>
                  <a:lnTo>
                    <a:pt x="572" y="167"/>
                  </a:lnTo>
                  <a:lnTo>
                    <a:pt x="572" y="169"/>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321" name="Freeform 1769">
              <a:extLst>
                <a:ext uri="{FF2B5EF4-FFF2-40B4-BE49-F238E27FC236}">
                  <a16:creationId xmlns:a16="http://schemas.microsoft.com/office/drawing/2014/main" id="{9A4AD802-6CF2-472C-BAF6-36A32F2BC6C7}"/>
                </a:ext>
              </a:extLst>
            </p:cNvPr>
            <p:cNvSpPr>
              <a:spLocks noChangeAspect="1"/>
            </p:cNvSpPr>
            <p:nvPr/>
          </p:nvSpPr>
          <p:spPr bwMode="auto">
            <a:xfrm>
              <a:off x="8618538" y="1663066"/>
              <a:ext cx="95250" cy="130175"/>
            </a:xfrm>
            <a:custGeom>
              <a:avLst/>
              <a:gdLst>
                <a:gd name="T0" fmla="*/ 572 w 573"/>
                <a:gd name="T1" fmla="*/ 169 h 579"/>
                <a:gd name="T2" fmla="*/ 413 w 573"/>
                <a:gd name="T3" fmla="*/ 478 h 579"/>
                <a:gd name="T4" fmla="*/ 409 w 573"/>
                <a:gd name="T5" fmla="*/ 485 h 579"/>
                <a:gd name="T6" fmla="*/ 407 w 573"/>
                <a:gd name="T7" fmla="*/ 489 h 579"/>
                <a:gd name="T8" fmla="*/ 401 w 573"/>
                <a:gd name="T9" fmla="*/ 495 h 579"/>
                <a:gd name="T10" fmla="*/ 398 w 573"/>
                <a:gd name="T11" fmla="*/ 498 h 579"/>
                <a:gd name="T12" fmla="*/ 327 w 573"/>
                <a:gd name="T13" fmla="*/ 569 h 579"/>
                <a:gd name="T14" fmla="*/ 324 w 573"/>
                <a:gd name="T15" fmla="*/ 571 h 579"/>
                <a:gd name="T16" fmla="*/ 321 w 573"/>
                <a:gd name="T17" fmla="*/ 573 h 579"/>
                <a:gd name="T18" fmla="*/ 315 w 573"/>
                <a:gd name="T19" fmla="*/ 576 h 579"/>
                <a:gd name="T20" fmla="*/ 311 w 573"/>
                <a:gd name="T21" fmla="*/ 577 h 579"/>
                <a:gd name="T22" fmla="*/ 305 w 573"/>
                <a:gd name="T23" fmla="*/ 579 h 579"/>
                <a:gd name="T24" fmla="*/ 300 w 573"/>
                <a:gd name="T25" fmla="*/ 579 h 579"/>
                <a:gd name="T26" fmla="*/ 293 w 573"/>
                <a:gd name="T27" fmla="*/ 579 h 579"/>
                <a:gd name="T28" fmla="*/ 288 w 573"/>
                <a:gd name="T29" fmla="*/ 578 h 579"/>
                <a:gd name="T30" fmla="*/ 283 w 573"/>
                <a:gd name="T31" fmla="*/ 576 h 579"/>
                <a:gd name="T32" fmla="*/ 278 w 573"/>
                <a:gd name="T33" fmla="*/ 574 h 579"/>
                <a:gd name="T34" fmla="*/ 278 w 573"/>
                <a:gd name="T35" fmla="*/ 574 h 579"/>
                <a:gd name="T36" fmla="*/ 0 w 573"/>
                <a:gd name="T37" fmla="*/ 418 h 579"/>
                <a:gd name="T38" fmla="*/ 152 w 573"/>
                <a:gd name="T39" fmla="*/ 267 h 579"/>
                <a:gd name="T40" fmla="*/ 81 w 573"/>
                <a:gd name="T41" fmla="*/ 226 h 579"/>
                <a:gd name="T42" fmla="*/ 312 w 573"/>
                <a:gd name="T43" fmla="*/ 0 h 579"/>
                <a:gd name="T44" fmla="*/ 560 w 573"/>
                <a:gd name="T45" fmla="*/ 139 h 579"/>
                <a:gd name="T46" fmla="*/ 562 w 573"/>
                <a:gd name="T47" fmla="*/ 140 h 579"/>
                <a:gd name="T48" fmla="*/ 565 w 573"/>
                <a:gd name="T49" fmla="*/ 143 h 579"/>
                <a:gd name="T50" fmla="*/ 569 w 573"/>
                <a:gd name="T51" fmla="*/ 146 h 579"/>
                <a:gd name="T52" fmla="*/ 572 w 573"/>
                <a:gd name="T53" fmla="*/ 150 h 579"/>
                <a:gd name="T54" fmla="*/ 573 w 573"/>
                <a:gd name="T55" fmla="*/ 155 h 579"/>
                <a:gd name="T56" fmla="*/ 573 w 573"/>
                <a:gd name="T57" fmla="*/ 159 h 579"/>
                <a:gd name="T58" fmla="*/ 573 w 573"/>
                <a:gd name="T59" fmla="*/ 163 h 579"/>
                <a:gd name="T60" fmla="*/ 572 w 573"/>
                <a:gd name="T61" fmla="*/ 167 h 579"/>
                <a:gd name="T62" fmla="*/ 572 w 573"/>
                <a:gd name="T63" fmla="*/ 169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3" h="579">
                  <a:moveTo>
                    <a:pt x="572" y="169"/>
                  </a:moveTo>
                  <a:lnTo>
                    <a:pt x="413" y="478"/>
                  </a:lnTo>
                  <a:lnTo>
                    <a:pt x="409" y="485"/>
                  </a:lnTo>
                  <a:lnTo>
                    <a:pt x="407" y="489"/>
                  </a:lnTo>
                  <a:lnTo>
                    <a:pt x="401" y="495"/>
                  </a:lnTo>
                  <a:lnTo>
                    <a:pt x="398" y="498"/>
                  </a:lnTo>
                  <a:lnTo>
                    <a:pt x="327" y="569"/>
                  </a:lnTo>
                  <a:lnTo>
                    <a:pt x="324" y="571"/>
                  </a:lnTo>
                  <a:lnTo>
                    <a:pt x="321" y="573"/>
                  </a:lnTo>
                  <a:lnTo>
                    <a:pt x="315" y="576"/>
                  </a:lnTo>
                  <a:lnTo>
                    <a:pt x="311" y="577"/>
                  </a:lnTo>
                  <a:lnTo>
                    <a:pt x="305" y="579"/>
                  </a:lnTo>
                  <a:lnTo>
                    <a:pt x="300" y="579"/>
                  </a:lnTo>
                  <a:lnTo>
                    <a:pt x="293" y="579"/>
                  </a:lnTo>
                  <a:lnTo>
                    <a:pt x="288" y="578"/>
                  </a:lnTo>
                  <a:lnTo>
                    <a:pt x="283" y="576"/>
                  </a:lnTo>
                  <a:lnTo>
                    <a:pt x="278" y="574"/>
                  </a:lnTo>
                  <a:lnTo>
                    <a:pt x="278" y="574"/>
                  </a:lnTo>
                  <a:lnTo>
                    <a:pt x="0" y="418"/>
                  </a:lnTo>
                  <a:lnTo>
                    <a:pt x="152" y="267"/>
                  </a:lnTo>
                  <a:lnTo>
                    <a:pt x="81" y="226"/>
                  </a:lnTo>
                  <a:lnTo>
                    <a:pt x="312" y="0"/>
                  </a:lnTo>
                  <a:lnTo>
                    <a:pt x="560" y="139"/>
                  </a:lnTo>
                  <a:lnTo>
                    <a:pt x="562" y="140"/>
                  </a:lnTo>
                  <a:lnTo>
                    <a:pt x="565" y="143"/>
                  </a:lnTo>
                  <a:lnTo>
                    <a:pt x="569" y="146"/>
                  </a:lnTo>
                  <a:lnTo>
                    <a:pt x="572" y="150"/>
                  </a:lnTo>
                  <a:lnTo>
                    <a:pt x="573" y="155"/>
                  </a:lnTo>
                  <a:lnTo>
                    <a:pt x="573" y="159"/>
                  </a:lnTo>
                  <a:lnTo>
                    <a:pt x="573" y="163"/>
                  </a:lnTo>
                  <a:lnTo>
                    <a:pt x="572" y="167"/>
                  </a:lnTo>
                  <a:lnTo>
                    <a:pt x="572" y="16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22" name="Freeform 1770">
              <a:extLst>
                <a:ext uri="{FF2B5EF4-FFF2-40B4-BE49-F238E27FC236}">
                  <a16:creationId xmlns:a16="http://schemas.microsoft.com/office/drawing/2014/main" id="{8B5743EE-73FA-4B4F-B7FC-2914FCCFC4A8}"/>
                </a:ext>
              </a:extLst>
            </p:cNvPr>
            <p:cNvSpPr>
              <a:spLocks noChangeAspect="1"/>
            </p:cNvSpPr>
            <p:nvPr/>
          </p:nvSpPr>
          <p:spPr bwMode="auto">
            <a:xfrm>
              <a:off x="9493251" y="1604329"/>
              <a:ext cx="142875" cy="104775"/>
            </a:xfrm>
            <a:custGeom>
              <a:avLst/>
              <a:gdLst>
                <a:gd name="T0" fmla="*/ 415 w 851"/>
                <a:gd name="T1" fmla="*/ 465 h 465"/>
                <a:gd name="T2" fmla="*/ 11 w 851"/>
                <a:gd name="T3" fmla="*/ 196 h 465"/>
                <a:gd name="T4" fmla="*/ 3 w 851"/>
                <a:gd name="T5" fmla="*/ 188 h 465"/>
                <a:gd name="T6" fmla="*/ 0 w 851"/>
                <a:gd name="T7" fmla="*/ 179 h 465"/>
                <a:gd name="T8" fmla="*/ 1 w 851"/>
                <a:gd name="T9" fmla="*/ 170 h 465"/>
                <a:gd name="T10" fmla="*/ 6 w 851"/>
                <a:gd name="T11" fmla="*/ 162 h 465"/>
                <a:gd name="T12" fmla="*/ 15 w 851"/>
                <a:gd name="T13" fmla="*/ 156 h 465"/>
                <a:gd name="T14" fmla="*/ 300 w 851"/>
                <a:gd name="T15" fmla="*/ 4 h 465"/>
                <a:gd name="T16" fmla="*/ 307 w 851"/>
                <a:gd name="T17" fmla="*/ 1 h 465"/>
                <a:gd name="T18" fmla="*/ 317 w 851"/>
                <a:gd name="T19" fmla="*/ 0 h 465"/>
                <a:gd name="T20" fmla="*/ 326 w 851"/>
                <a:gd name="T21" fmla="*/ 0 h 465"/>
                <a:gd name="T22" fmla="*/ 335 w 851"/>
                <a:gd name="T23" fmla="*/ 2 h 465"/>
                <a:gd name="T24" fmla="*/ 342 w 851"/>
                <a:gd name="T25" fmla="*/ 6 h 465"/>
                <a:gd name="T26" fmla="*/ 851 w 851"/>
                <a:gd name="T27" fmla="*/ 346 h 465"/>
                <a:gd name="T28" fmla="*/ 851 w 851"/>
                <a:gd name="T29" fmla="*/ 465 h 465"/>
                <a:gd name="T30" fmla="*/ 415 w 851"/>
                <a:gd name="T31" fmla="*/ 465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1" h="465">
                  <a:moveTo>
                    <a:pt x="415" y="465"/>
                  </a:moveTo>
                  <a:lnTo>
                    <a:pt x="11" y="196"/>
                  </a:lnTo>
                  <a:lnTo>
                    <a:pt x="3" y="188"/>
                  </a:lnTo>
                  <a:lnTo>
                    <a:pt x="0" y="179"/>
                  </a:lnTo>
                  <a:lnTo>
                    <a:pt x="1" y="170"/>
                  </a:lnTo>
                  <a:lnTo>
                    <a:pt x="6" y="162"/>
                  </a:lnTo>
                  <a:lnTo>
                    <a:pt x="15" y="156"/>
                  </a:lnTo>
                  <a:lnTo>
                    <a:pt x="300" y="4"/>
                  </a:lnTo>
                  <a:lnTo>
                    <a:pt x="307" y="1"/>
                  </a:lnTo>
                  <a:lnTo>
                    <a:pt x="317" y="0"/>
                  </a:lnTo>
                  <a:lnTo>
                    <a:pt x="326" y="0"/>
                  </a:lnTo>
                  <a:lnTo>
                    <a:pt x="335" y="2"/>
                  </a:lnTo>
                  <a:lnTo>
                    <a:pt x="342" y="6"/>
                  </a:lnTo>
                  <a:lnTo>
                    <a:pt x="851" y="346"/>
                  </a:lnTo>
                  <a:lnTo>
                    <a:pt x="851" y="465"/>
                  </a:lnTo>
                  <a:lnTo>
                    <a:pt x="415" y="465"/>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323" name="Freeform 1771">
              <a:extLst>
                <a:ext uri="{FF2B5EF4-FFF2-40B4-BE49-F238E27FC236}">
                  <a16:creationId xmlns:a16="http://schemas.microsoft.com/office/drawing/2014/main" id="{7268A35B-ECDC-400D-9462-CB1A1DA0D5AE}"/>
                </a:ext>
              </a:extLst>
            </p:cNvPr>
            <p:cNvSpPr>
              <a:spLocks noChangeAspect="1"/>
            </p:cNvSpPr>
            <p:nvPr/>
          </p:nvSpPr>
          <p:spPr bwMode="auto">
            <a:xfrm>
              <a:off x="9493251" y="1604329"/>
              <a:ext cx="142875" cy="104775"/>
            </a:xfrm>
            <a:custGeom>
              <a:avLst/>
              <a:gdLst>
                <a:gd name="T0" fmla="*/ 415 w 851"/>
                <a:gd name="T1" fmla="*/ 465 h 465"/>
                <a:gd name="T2" fmla="*/ 11 w 851"/>
                <a:gd name="T3" fmla="*/ 196 h 465"/>
                <a:gd name="T4" fmla="*/ 3 w 851"/>
                <a:gd name="T5" fmla="*/ 188 h 465"/>
                <a:gd name="T6" fmla="*/ 0 w 851"/>
                <a:gd name="T7" fmla="*/ 179 h 465"/>
                <a:gd name="T8" fmla="*/ 1 w 851"/>
                <a:gd name="T9" fmla="*/ 170 h 465"/>
                <a:gd name="T10" fmla="*/ 6 w 851"/>
                <a:gd name="T11" fmla="*/ 162 h 465"/>
                <a:gd name="T12" fmla="*/ 15 w 851"/>
                <a:gd name="T13" fmla="*/ 156 h 465"/>
                <a:gd name="T14" fmla="*/ 300 w 851"/>
                <a:gd name="T15" fmla="*/ 4 h 465"/>
                <a:gd name="T16" fmla="*/ 307 w 851"/>
                <a:gd name="T17" fmla="*/ 1 h 465"/>
                <a:gd name="T18" fmla="*/ 317 w 851"/>
                <a:gd name="T19" fmla="*/ 0 h 465"/>
                <a:gd name="T20" fmla="*/ 326 w 851"/>
                <a:gd name="T21" fmla="*/ 0 h 465"/>
                <a:gd name="T22" fmla="*/ 335 w 851"/>
                <a:gd name="T23" fmla="*/ 2 h 465"/>
                <a:gd name="T24" fmla="*/ 342 w 851"/>
                <a:gd name="T25" fmla="*/ 6 h 465"/>
                <a:gd name="T26" fmla="*/ 851 w 851"/>
                <a:gd name="T27" fmla="*/ 346 h 465"/>
                <a:gd name="T28" fmla="*/ 851 w 851"/>
                <a:gd name="T29" fmla="*/ 465 h 465"/>
                <a:gd name="T30" fmla="*/ 415 w 851"/>
                <a:gd name="T31" fmla="*/ 465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1" h="465">
                  <a:moveTo>
                    <a:pt x="415" y="465"/>
                  </a:moveTo>
                  <a:lnTo>
                    <a:pt x="11" y="196"/>
                  </a:lnTo>
                  <a:lnTo>
                    <a:pt x="3" y="188"/>
                  </a:lnTo>
                  <a:lnTo>
                    <a:pt x="0" y="179"/>
                  </a:lnTo>
                  <a:lnTo>
                    <a:pt x="1" y="170"/>
                  </a:lnTo>
                  <a:lnTo>
                    <a:pt x="6" y="162"/>
                  </a:lnTo>
                  <a:lnTo>
                    <a:pt x="15" y="156"/>
                  </a:lnTo>
                  <a:lnTo>
                    <a:pt x="300" y="4"/>
                  </a:lnTo>
                  <a:lnTo>
                    <a:pt x="307" y="1"/>
                  </a:lnTo>
                  <a:lnTo>
                    <a:pt x="317" y="0"/>
                  </a:lnTo>
                  <a:lnTo>
                    <a:pt x="326" y="0"/>
                  </a:lnTo>
                  <a:lnTo>
                    <a:pt x="335" y="2"/>
                  </a:lnTo>
                  <a:lnTo>
                    <a:pt x="342" y="6"/>
                  </a:lnTo>
                  <a:lnTo>
                    <a:pt x="851" y="346"/>
                  </a:lnTo>
                  <a:lnTo>
                    <a:pt x="851" y="465"/>
                  </a:lnTo>
                  <a:lnTo>
                    <a:pt x="415" y="465"/>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24" name="Freeform 1772">
              <a:extLst>
                <a:ext uri="{FF2B5EF4-FFF2-40B4-BE49-F238E27FC236}">
                  <a16:creationId xmlns:a16="http://schemas.microsoft.com/office/drawing/2014/main" id="{1C81EF71-0051-472A-B63B-5C2A5BF079E6}"/>
                </a:ext>
              </a:extLst>
            </p:cNvPr>
            <p:cNvSpPr>
              <a:spLocks noChangeAspect="1"/>
            </p:cNvSpPr>
            <p:nvPr/>
          </p:nvSpPr>
          <p:spPr bwMode="auto">
            <a:xfrm>
              <a:off x="9371013" y="1455104"/>
              <a:ext cx="163512" cy="173037"/>
            </a:xfrm>
            <a:custGeom>
              <a:avLst/>
              <a:gdLst>
                <a:gd name="T0" fmla="*/ 640 w 981"/>
                <a:gd name="T1" fmla="*/ 768 h 778"/>
                <a:gd name="T2" fmla="*/ 5 w 981"/>
                <a:gd name="T3" fmla="*/ 121 h 778"/>
                <a:gd name="T4" fmla="*/ 0 w 981"/>
                <a:gd name="T5" fmla="*/ 112 h 778"/>
                <a:gd name="T6" fmla="*/ 0 w 981"/>
                <a:gd name="T7" fmla="*/ 102 h 778"/>
                <a:gd name="T8" fmla="*/ 4 w 981"/>
                <a:gd name="T9" fmla="*/ 92 h 778"/>
                <a:gd name="T10" fmla="*/ 13 w 981"/>
                <a:gd name="T11" fmla="*/ 85 h 778"/>
                <a:gd name="T12" fmla="*/ 63 w 981"/>
                <a:gd name="T13" fmla="*/ 59 h 778"/>
                <a:gd name="T14" fmla="*/ 184 w 981"/>
                <a:gd name="T15" fmla="*/ 92 h 778"/>
                <a:gd name="T16" fmla="*/ 188 w 981"/>
                <a:gd name="T17" fmla="*/ 92 h 778"/>
                <a:gd name="T18" fmla="*/ 192 w 981"/>
                <a:gd name="T19" fmla="*/ 92 h 778"/>
                <a:gd name="T20" fmla="*/ 198 w 981"/>
                <a:gd name="T21" fmla="*/ 93 h 778"/>
                <a:gd name="T22" fmla="*/ 203 w 981"/>
                <a:gd name="T23" fmla="*/ 92 h 778"/>
                <a:gd name="T24" fmla="*/ 209 w 981"/>
                <a:gd name="T25" fmla="*/ 91 h 778"/>
                <a:gd name="T26" fmla="*/ 215 w 981"/>
                <a:gd name="T27" fmla="*/ 89 h 778"/>
                <a:gd name="T28" fmla="*/ 219 w 981"/>
                <a:gd name="T29" fmla="*/ 87 h 778"/>
                <a:gd name="T30" fmla="*/ 222 w 981"/>
                <a:gd name="T31" fmla="*/ 84 h 778"/>
                <a:gd name="T32" fmla="*/ 226 w 981"/>
                <a:gd name="T33" fmla="*/ 80 h 778"/>
                <a:gd name="T34" fmla="*/ 228 w 981"/>
                <a:gd name="T35" fmla="*/ 77 h 778"/>
                <a:gd name="T36" fmla="*/ 266 w 981"/>
                <a:gd name="T37" fmla="*/ 0 h 778"/>
                <a:gd name="T38" fmla="*/ 442 w 981"/>
                <a:gd name="T39" fmla="*/ 47 h 778"/>
                <a:gd name="T40" fmla="*/ 974 w 981"/>
                <a:gd name="T41" fmla="*/ 591 h 778"/>
                <a:gd name="T42" fmla="*/ 980 w 981"/>
                <a:gd name="T43" fmla="*/ 601 h 778"/>
                <a:gd name="T44" fmla="*/ 981 w 981"/>
                <a:gd name="T45" fmla="*/ 611 h 778"/>
                <a:gd name="T46" fmla="*/ 975 w 981"/>
                <a:gd name="T47" fmla="*/ 620 h 778"/>
                <a:gd name="T48" fmla="*/ 966 w 981"/>
                <a:gd name="T49" fmla="*/ 627 h 778"/>
                <a:gd name="T50" fmla="*/ 687 w 981"/>
                <a:gd name="T51" fmla="*/ 774 h 778"/>
                <a:gd name="T52" fmla="*/ 675 w 981"/>
                <a:gd name="T53" fmla="*/ 778 h 778"/>
                <a:gd name="T54" fmla="*/ 661 w 981"/>
                <a:gd name="T55" fmla="*/ 778 h 778"/>
                <a:gd name="T56" fmla="*/ 649 w 981"/>
                <a:gd name="T57" fmla="*/ 775 h 778"/>
                <a:gd name="T58" fmla="*/ 640 w 981"/>
                <a:gd name="T59" fmla="*/ 768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1" h="778">
                  <a:moveTo>
                    <a:pt x="640" y="768"/>
                  </a:moveTo>
                  <a:lnTo>
                    <a:pt x="5" y="121"/>
                  </a:lnTo>
                  <a:lnTo>
                    <a:pt x="0" y="112"/>
                  </a:lnTo>
                  <a:lnTo>
                    <a:pt x="0" y="102"/>
                  </a:lnTo>
                  <a:lnTo>
                    <a:pt x="4" y="92"/>
                  </a:lnTo>
                  <a:lnTo>
                    <a:pt x="13" y="85"/>
                  </a:lnTo>
                  <a:lnTo>
                    <a:pt x="63" y="59"/>
                  </a:lnTo>
                  <a:lnTo>
                    <a:pt x="184" y="92"/>
                  </a:lnTo>
                  <a:lnTo>
                    <a:pt x="188" y="92"/>
                  </a:lnTo>
                  <a:lnTo>
                    <a:pt x="192" y="92"/>
                  </a:lnTo>
                  <a:lnTo>
                    <a:pt x="198" y="93"/>
                  </a:lnTo>
                  <a:lnTo>
                    <a:pt x="203" y="92"/>
                  </a:lnTo>
                  <a:lnTo>
                    <a:pt x="209" y="91"/>
                  </a:lnTo>
                  <a:lnTo>
                    <a:pt x="215" y="89"/>
                  </a:lnTo>
                  <a:lnTo>
                    <a:pt x="219" y="87"/>
                  </a:lnTo>
                  <a:lnTo>
                    <a:pt x="222" y="84"/>
                  </a:lnTo>
                  <a:lnTo>
                    <a:pt x="226" y="80"/>
                  </a:lnTo>
                  <a:lnTo>
                    <a:pt x="228" y="77"/>
                  </a:lnTo>
                  <a:lnTo>
                    <a:pt x="266" y="0"/>
                  </a:lnTo>
                  <a:lnTo>
                    <a:pt x="442" y="47"/>
                  </a:lnTo>
                  <a:lnTo>
                    <a:pt x="974" y="591"/>
                  </a:lnTo>
                  <a:lnTo>
                    <a:pt x="980" y="601"/>
                  </a:lnTo>
                  <a:lnTo>
                    <a:pt x="981" y="611"/>
                  </a:lnTo>
                  <a:lnTo>
                    <a:pt x="975" y="620"/>
                  </a:lnTo>
                  <a:lnTo>
                    <a:pt x="966" y="627"/>
                  </a:lnTo>
                  <a:lnTo>
                    <a:pt x="687" y="774"/>
                  </a:lnTo>
                  <a:lnTo>
                    <a:pt x="675" y="778"/>
                  </a:lnTo>
                  <a:lnTo>
                    <a:pt x="661" y="778"/>
                  </a:lnTo>
                  <a:lnTo>
                    <a:pt x="649" y="775"/>
                  </a:lnTo>
                  <a:lnTo>
                    <a:pt x="640" y="768"/>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325" name="Freeform 1773">
              <a:extLst>
                <a:ext uri="{FF2B5EF4-FFF2-40B4-BE49-F238E27FC236}">
                  <a16:creationId xmlns:a16="http://schemas.microsoft.com/office/drawing/2014/main" id="{242435D7-D357-48ED-9463-85C0ADC229E6}"/>
                </a:ext>
              </a:extLst>
            </p:cNvPr>
            <p:cNvSpPr>
              <a:spLocks noChangeAspect="1"/>
            </p:cNvSpPr>
            <p:nvPr/>
          </p:nvSpPr>
          <p:spPr bwMode="auto">
            <a:xfrm>
              <a:off x="9371013" y="1455104"/>
              <a:ext cx="163512" cy="173037"/>
            </a:xfrm>
            <a:custGeom>
              <a:avLst/>
              <a:gdLst>
                <a:gd name="T0" fmla="*/ 640 w 981"/>
                <a:gd name="T1" fmla="*/ 768 h 778"/>
                <a:gd name="T2" fmla="*/ 5 w 981"/>
                <a:gd name="T3" fmla="*/ 121 h 778"/>
                <a:gd name="T4" fmla="*/ 0 w 981"/>
                <a:gd name="T5" fmla="*/ 112 h 778"/>
                <a:gd name="T6" fmla="*/ 0 w 981"/>
                <a:gd name="T7" fmla="*/ 102 h 778"/>
                <a:gd name="T8" fmla="*/ 4 w 981"/>
                <a:gd name="T9" fmla="*/ 92 h 778"/>
                <a:gd name="T10" fmla="*/ 13 w 981"/>
                <a:gd name="T11" fmla="*/ 85 h 778"/>
                <a:gd name="T12" fmla="*/ 63 w 981"/>
                <a:gd name="T13" fmla="*/ 59 h 778"/>
                <a:gd name="T14" fmla="*/ 184 w 981"/>
                <a:gd name="T15" fmla="*/ 92 h 778"/>
                <a:gd name="T16" fmla="*/ 188 w 981"/>
                <a:gd name="T17" fmla="*/ 92 h 778"/>
                <a:gd name="T18" fmla="*/ 192 w 981"/>
                <a:gd name="T19" fmla="*/ 92 h 778"/>
                <a:gd name="T20" fmla="*/ 198 w 981"/>
                <a:gd name="T21" fmla="*/ 93 h 778"/>
                <a:gd name="T22" fmla="*/ 203 w 981"/>
                <a:gd name="T23" fmla="*/ 92 h 778"/>
                <a:gd name="T24" fmla="*/ 209 w 981"/>
                <a:gd name="T25" fmla="*/ 91 h 778"/>
                <a:gd name="T26" fmla="*/ 215 w 981"/>
                <a:gd name="T27" fmla="*/ 89 h 778"/>
                <a:gd name="T28" fmla="*/ 219 w 981"/>
                <a:gd name="T29" fmla="*/ 87 h 778"/>
                <a:gd name="T30" fmla="*/ 222 w 981"/>
                <a:gd name="T31" fmla="*/ 84 h 778"/>
                <a:gd name="T32" fmla="*/ 226 w 981"/>
                <a:gd name="T33" fmla="*/ 80 h 778"/>
                <a:gd name="T34" fmla="*/ 228 w 981"/>
                <a:gd name="T35" fmla="*/ 77 h 778"/>
                <a:gd name="T36" fmla="*/ 266 w 981"/>
                <a:gd name="T37" fmla="*/ 0 h 778"/>
                <a:gd name="T38" fmla="*/ 442 w 981"/>
                <a:gd name="T39" fmla="*/ 47 h 778"/>
                <a:gd name="T40" fmla="*/ 974 w 981"/>
                <a:gd name="T41" fmla="*/ 591 h 778"/>
                <a:gd name="T42" fmla="*/ 980 w 981"/>
                <a:gd name="T43" fmla="*/ 601 h 778"/>
                <a:gd name="T44" fmla="*/ 981 w 981"/>
                <a:gd name="T45" fmla="*/ 611 h 778"/>
                <a:gd name="T46" fmla="*/ 975 w 981"/>
                <a:gd name="T47" fmla="*/ 620 h 778"/>
                <a:gd name="T48" fmla="*/ 966 w 981"/>
                <a:gd name="T49" fmla="*/ 627 h 778"/>
                <a:gd name="T50" fmla="*/ 687 w 981"/>
                <a:gd name="T51" fmla="*/ 774 h 778"/>
                <a:gd name="T52" fmla="*/ 675 w 981"/>
                <a:gd name="T53" fmla="*/ 778 h 778"/>
                <a:gd name="T54" fmla="*/ 661 w 981"/>
                <a:gd name="T55" fmla="*/ 778 h 778"/>
                <a:gd name="T56" fmla="*/ 649 w 981"/>
                <a:gd name="T57" fmla="*/ 775 h 778"/>
                <a:gd name="T58" fmla="*/ 640 w 981"/>
                <a:gd name="T59" fmla="*/ 768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1" h="778">
                  <a:moveTo>
                    <a:pt x="640" y="768"/>
                  </a:moveTo>
                  <a:lnTo>
                    <a:pt x="5" y="121"/>
                  </a:lnTo>
                  <a:lnTo>
                    <a:pt x="0" y="112"/>
                  </a:lnTo>
                  <a:lnTo>
                    <a:pt x="0" y="102"/>
                  </a:lnTo>
                  <a:lnTo>
                    <a:pt x="4" y="92"/>
                  </a:lnTo>
                  <a:lnTo>
                    <a:pt x="13" y="85"/>
                  </a:lnTo>
                  <a:lnTo>
                    <a:pt x="63" y="59"/>
                  </a:lnTo>
                  <a:lnTo>
                    <a:pt x="184" y="92"/>
                  </a:lnTo>
                  <a:lnTo>
                    <a:pt x="188" y="92"/>
                  </a:lnTo>
                  <a:lnTo>
                    <a:pt x="192" y="92"/>
                  </a:lnTo>
                  <a:lnTo>
                    <a:pt x="198" y="93"/>
                  </a:lnTo>
                  <a:lnTo>
                    <a:pt x="203" y="92"/>
                  </a:lnTo>
                  <a:lnTo>
                    <a:pt x="209" y="91"/>
                  </a:lnTo>
                  <a:lnTo>
                    <a:pt x="215" y="89"/>
                  </a:lnTo>
                  <a:lnTo>
                    <a:pt x="219" y="87"/>
                  </a:lnTo>
                  <a:lnTo>
                    <a:pt x="222" y="84"/>
                  </a:lnTo>
                  <a:lnTo>
                    <a:pt x="226" y="80"/>
                  </a:lnTo>
                  <a:lnTo>
                    <a:pt x="228" y="77"/>
                  </a:lnTo>
                  <a:lnTo>
                    <a:pt x="266" y="0"/>
                  </a:lnTo>
                  <a:lnTo>
                    <a:pt x="442" y="47"/>
                  </a:lnTo>
                  <a:lnTo>
                    <a:pt x="974" y="591"/>
                  </a:lnTo>
                  <a:lnTo>
                    <a:pt x="980" y="601"/>
                  </a:lnTo>
                  <a:lnTo>
                    <a:pt x="981" y="611"/>
                  </a:lnTo>
                  <a:lnTo>
                    <a:pt x="975" y="620"/>
                  </a:lnTo>
                  <a:lnTo>
                    <a:pt x="966" y="627"/>
                  </a:lnTo>
                  <a:lnTo>
                    <a:pt x="687" y="774"/>
                  </a:lnTo>
                  <a:lnTo>
                    <a:pt x="675" y="778"/>
                  </a:lnTo>
                  <a:lnTo>
                    <a:pt x="661" y="778"/>
                  </a:lnTo>
                  <a:lnTo>
                    <a:pt x="649" y="775"/>
                  </a:lnTo>
                  <a:lnTo>
                    <a:pt x="640" y="768"/>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26" name="Freeform 1774">
              <a:extLst>
                <a:ext uri="{FF2B5EF4-FFF2-40B4-BE49-F238E27FC236}">
                  <a16:creationId xmlns:a16="http://schemas.microsoft.com/office/drawing/2014/main" id="{1B3248A6-A6C6-4FC1-B3D8-C7E29EE8C352}"/>
                </a:ext>
              </a:extLst>
            </p:cNvPr>
            <p:cNvSpPr>
              <a:spLocks noChangeAspect="1"/>
            </p:cNvSpPr>
            <p:nvPr/>
          </p:nvSpPr>
          <p:spPr bwMode="auto">
            <a:xfrm>
              <a:off x="9317039" y="1413829"/>
              <a:ext cx="96837" cy="58737"/>
            </a:xfrm>
            <a:custGeom>
              <a:avLst/>
              <a:gdLst>
                <a:gd name="T0" fmla="*/ 479 w 573"/>
                <a:gd name="T1" fmla="*/ 259 h 260"/>
                <a:gd name="T2" fmla="*/ 22 w 573"/>
                <a:gd name="T3" fmla="*/ 135 h 260"/>
                <a:gd name="T4" fmla="*/ 13 w 573"/>
                <a:gd name="T5" fmla="*/ 131 h 260"/>
                <a:gd name="T6" fmla="*/ 5 w 573"/>
                <a:gd name="T7" fmla="*/ 125 h 260"/>
                <a:gd name="T8" fmla="*/ 1 w 573"/>
                <a:gd name="T9" fmla="*/ 118 h 260"/>
                <a:gd name="T10" fmla="*/ 0 w 573"/>
                <a:gd name="T11" fmla="*/ 111 h 260"/>
                <a:gd name="T12" fmla="*/ 2 w 573"/>
                <a:gd name="T13" fmla="*/ 103 h 260"/>
                <a:gd name="T14" fmla="*/ 52 w 573"/>
                <a:gd name="T15" fmla="*/ 0 h 260"/>
                <a:gd name="T16" fmla="*/ 573 w 573"/>
                <a:gd name="T17" fmla="*/ 141 h 260"/>
                <a:gd name="T18" fmla="*/ 523 w 573"/>
                <a:gd name="T19" fmla="*/ 244 h 260"/>
                <a:gd name="T20" fmla="*/ 518 w 573"/>
                <a:gd name="T21" fmla="*/ 251 h 260"/>
                <a:gd name="T22" fmla="*/ 509 w 573"/>
                <a:gd name="T23" fmla="*/ 256 h 260"/>
                <a:gd name="T24" fmla="*/ 500 w 573"/>
                <a:gd name="T25" fmla="*/ 259 h 260"/>
                <a:gd name="T26" fmla="*/ 490 w 573"/>
                <a:gd name="T27" fmla="*/ 260 h 260"/>
                <a:gd name="T28" fmla="*/ 479 w 573"/>
                <a:gd name="T29" fmla="*/ 25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3" h="260">
                  <a:moveTo>
                    <a:pt x="479" y="259"/>
                  </a:moveTo>
                  <a:lnTo>
                    <a:pt x="22" y="135"/>
                  </a:lnTo>
                  <a:lnTo>
                    <a:pt x="13" y="131"/>
                  </a:lnTo>
                  <a:lnTo>
                    <a:pt x="5" y="125"/>
                  </a:lnTo>
                  <a:lnTo>
                    <a:pt x="1" y="118"/>
                  </a:lnTo>
                  <a:lnTo>
                    <a:pt x="0" y="111"/>
                  </a:lnTo>
                  <a:lnTo>
                    <a:pt x="2" y="103"/>
                  </a:lnTo>
                  <a:lnTo>
                    <a:pt x="52" y="0"/>
                  </a:lnTo>
                  <a:lnTo>
                    <a:pt x="573" y="141"/>
                  </a:lnTo>
                  <a:lnTo>
                    <a:pt x="523" y="244"/>
                  </a:lnTo>
                  <a:lnTo>
                    <a:pt x="518" y="251"/>
                  </a:lnTo>
                  <a:lnTo>
                    <a:pt x="509" y="256"/>
                  </a:lnTo>
                  <a:lnTo>
                    <a:pt x="500" y="259"/>
                  </a:lnTo>
                  <a:lnTo>
                    <a:pt x="490" y="260"/>
                  </a:lnTo>
                  <a:lnTo>
                    <a:pt x="479" y="259"/>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327" name="Freeform 1775">
              <a:extLst>
                <a:ext uri="{FF2B5EF4-FFF2-40B4-BE49-F238E27FC236}">
                  <a16:creationId xmlns:a16="http://schemas.microsoft.com/office/drawing/2014/main" id="{0E0921E5-EF1F-4E76-B858-7CA7DAB1634B}"/>
                </a:ext>
              </a:extLst>
            </p:cNvPr>
            <p:cNvSpPr>
              <a:spLocks noChangeAspect="1"/>
            </p:cNvSpPr>
            <p:nvPr/>
          </p:nvSpPr>
          <p:spPr bwMode="auto">
            <a:xfrm>
              <a:off x="9317039" y="1413829"/>
              <a:ext cx="96837" cy="58737"/>
            </a:xfrm>
            <a:custGeom>
              <a:avLst/>
              <a:gdLst>
                <a:gd name="T0" fmla="*/ 479 w 573"/>
                <a:gd name="T1" fmla="*/ 259 h 260"/>
                <a:gd name="T2" fmla="*/ 22 w 573"/>
                <a:gd name="T3" fmla="*/ 135 h 260"/>
                <a:gd name="T4" fmla="*/ 13 w 573"/>
                <a:gd name="T5" fmla="*/ 131 h 260"/>
                <a:gd name="T6" fmla="*/ 5 w 573"/>
                <a:gd name="T7" fmla="*/ 125 h 260"/>
                <a:gd name="T8" fmla="*/ 1 w 573"/>
                <a:gd name="T9" fmla="*/ 118 h 260"/>
                <a:gd name="T10" fmla="*/ 0 w 573"/>
                <a:gd name="T11" fmla="*/ 111 h 260"/>
                <a:gd name="T12" fmla="*/ 2 w 573"/>
                <a:gd name="T13" fmla="*/ 103 h 260"/>
                <a:gd name="T14" fmla="*/ 52 w 573"/>
                <a:gd name="T15" fmla="*/ 0 h 260"/>
                <a:gd name="T16" fmla="*/ 573 w 573"/>
                <a:gd name="T17" fmla="*/ 141 h 260"/>
                <a:gd name="T18" fmla="*/ 523 w 573"/>
                <a:gd name="T19" fmla="*/ 244 h 260"/>
                <a:gd name="T20" fmla="*/ 518 w 573"/>
                <a:gd name="T21" fmla="*/ 251 h 260"/>
                <a:gd name="T22" fmla="*/ 509 w 573"/>
                <a:gd name="T23" fmla="*/ 256 h 260"/>
                <a:gd name="T24" fmla="*/ 500 w 573"/>
                <a:gd name="T25" fmla="*/ 259 h 260"/>
                <a:gd name="T26" fmla="*/ 490 w 573"/>
                <a:gd name="T27" fmla="*/ 260 h 260"/>
                <a:gd name="T28" fmla="*/ 479 w 573"/>
                <a:gd name="T29" fmla="*/ 25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3" h="260">
                  <a:moveTo>
                    <a:pt x="479" y="259"/>
                  </a:moveTo>
                  <a:lnTo>
                    <a:pt x="22" y="135"/>
                  </a:lnTo>
                  <a:lnTo>
                    <a:pt x="13" y="131"/>
                  </a:lnTo>
                  <a:lnTo>
                    <a:pt x="5" y="125"/>
                  </a:lnTo>
                  <a:lnTo>
                    <a:pt x="1" y="118"/>
                  </a:lnTo>
                  <a:lnTo>
                    <a:pt x="0" y="111"/>
                  </a:lnTo>
                  <a:lnTo>
                    <a:pt x="2" y="103"/>
                  </a:lnTo>
                  <a:lnTo>
                    <a:pt x="52" y="0"/>
                  </a:lnTo>
                  <a:lnTo>
                    <a:pt x="573" y="141"/>
                  </a:lnTo>
                  <a:lnTo>
                    <a:pt x="523" y="244"/>
                  </a:lnTo>
                  <a:lnTo>
                    <a:pt x="518" y="251"/>
                  </a:lnTo>
                  <a:lnTo>
                    <a:pt x="509" y="256"/>
                  </a:lnTo>
                  <a:lnTo>
                    <a:pt x="500" y="259"/>
                  </a:lnTo>
                  <a:lnTo>
                    <a:pt x="490" y="260"/>
                  </a:lnTo>
                  <a:lnTo>
                    <a:pt x="479" y="25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28" name="Freeform 1776">
              <a:extLst>
                <a:ext uri="{FF2B5EF4-FFF2-40B4-BE49-F238E27FC236}">
                  <a16:creationId xmlns:a16="http://schemas.microsoft.com/office/drawing/2014/main" id="{9533C242-CDC8-4031-98ED-3372C9955C63}"/>
                </a:ext>
              </a:extLst>
            </p:cNvPr>
            <p:cNvSpPr>
              <a:spLocks noChangeAspect="1"/>
            </p:cNvSpPr>
            <p:nvPr/>
          </p:nvSpPr>
          <p:spPr bwMode="auto">
            <a:xfrm>
              <a:off x="9226551" y="1382078"/>
              <a:ext cx="98425" cy="57150"/>
            </a:xfrm>
            <a:custGeom>
              <a:avLst/>
              <a:gdLst>
                <a:gd name="T0" fmla="*/ 478 w 572"/>
                <a:gd name="T1" fmla="*/ 259 h 260"/>
                <a:gd name="T2" fmla="*/ 23 w 572"/>
                <a:gd name="T3" fmla="*/ 135 h 260"/>
                <a:gd name="T4" fmla="*/ 11 w 572"/>
                <a:gd name="T5" fmla="*/ 130 h 260"/>
                <a:gd name="T6" fmla="*/ 3 w 572"/>
                <a:gd name="T7" fmla="*/ 122 h 260"/>
                <a:gd name="T8" fmla="*/ 0 w 572"/>
                <a:gd name="T9" fmla="*/ 113 h 260"/>
                <a:gd name="T10" fmla="*/ 2 w 572"/>
                <a:gd name="T11" fmla="*/ 102 h 260"/>
                <a:gd name="T12" fmla="*/ 52 w 572"/>
                <a:gd name="T13" fmla="*/ 0 h 260"/>
                <a:gd name="T14" fmla="*/ 572 w 572"/>
                <a:gd name="T15" fmla="*/ 140 h 260"/>
                <a:gd name="T16" fmla="*/ 522 w 572"/>
                <a:gd name="T17" fmla="*/ 243 h 260"/>
                <a:gd name="T18" fmla="*/ 515 w 572"/>
                <a:gd name="T19" fmla="*/ 252 h 260"/>
                <a:gd name="T20" fmla="*/ 504 w 572"/>
                <a:gd name="T21" fmla="*/ 258 h 260"/>
                <a:gd name="T22" fmla="*/ 492 w 572"/>
                <a:gd name="T23" fmla="*/ 260 h 260"/>
                <a:gd name="T24" fmla="*/ 478 w 572"/>
                <a:gd name="T25" fmla="*/ 25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2" h="260">
                  <a:moveTo>
                    <a:pt x="478" y="259"/>
                  </a:moveTo>
                  <a:lnTo>
                    <a:pt x="23" y="135"/>
                  </a:lnTo>
                  <a:lnTo>
                    <a:pt x="11" y="130"/>
                  </a:lnTo>
                  <a:lnTo>
                    <a:pt x="3" y="122"/>
                  </a:lnTo>
                  <a:lnTo>
                    <a:pt x="0" y="113"/>
                  </a:lnTo>
                  <a:lnTo>
                    <a:pt x="2" y="102"/>
                  </a:lnTo>
                  <a:lnTo>
                    <a:pt x="52" y="0"/>
                  </a:lnTo>
                  <a:lnTo>
                    <a:pt x="572" y="140"/>
                  </a:lnTo>
                  <a:lnTo>
                    <a:pt x="522" y="243"/>
                  </a:lnTo>
                  <a:lnTo>
                    <a:pt x="515" y="252"/>
                  </a:lnTo>
                  <a:lnTo>
                    <a:pt x="504" y="258"/>
                  </a:lnTo>
                  <a:lnTo>
                    <a:pt x="492" y="260"/>
                  </a:lnTo>
                  <a:lnTo>
                    <a:pt x="478" y="259"/>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329" name="Freeform 1777">
              <a:extLst>
                <a:ext uri="{FF2B5EF4-FFF2-40B4-BE49-F238E27FC236}">
                  <a16:creationId xmlns:a16="http://schemas.microsoft.com/office/drawing/2014/main" id="{B5BDF00B-003C-4316-8C50-01388DC16820}"/>
                </a:ext>
              </a:extLst>
            </p:cNvPr>
            <p:cNvSpPr>
              <a:spLocks noChangeAspect="1"/>
            </p:cNvSpPr>
            <p:nvPr/>
          </p:nvSpPr>
          <p:spPr bwMode="auto">
            <a:xfrm>
              <a:off x="9226551" y="1382078"/>
              <a:ext cx="98425" cy="57150"/>
            </a:xfrm>
            <a:custGeom>
              <a:avLst/>
              <a:gdLst>
                <a:gd name="T0" fmla="*/ 478 w 572"/>
                <a:gd name="T1" fmla="*/ 259 h 260"/>
                <a:gd name="T2" fmla="*/ 23 w 572"/>
                <a:gd name="T3" fmla="*/ 135 h 260"/>
                <a:gd name="T4" fmla="*/ 11 w 572"/>
                <a:gd name="T5" fmla="*/ 130 h 260"/>
                <a:gd name="T6" fmla="*/ 3 w 572"/>
                <a:gd name="T7" fmla="*/ 122 h 260"/>
                <a:gd name="T8" fmla="*/ 0 w 572"/>
                <a:gd name="T9" fmla="*/ 113 h 260"/>
                <a:gd name="T10" fmla="*/ 2 w 572"/>
                <a:gd name="T11" fmla="*/ 102 h 260"/>
                <a:gd name="T12" fmla="*/ 52 w 572"/>
                <a:gd name="T13" fmla="*/ 0 h 260"/>
                <a:gd name="T14" fmla="*/ 572 w 572"/>
                <a:gd name="T15" fmla="*/ 140 h 260"/>
                <a:gd name="T16" fmla="*/ 522 w 572"/>
                <a:gd name="T17" fmla="*/ 243 h 260"/>
                <a:gd name="T18" fmla="*/ 515 w 572"/>
                <a:gd name="T19" fmla="*/ 252 h 260"/>
                <a:gd name="T20" fmla="*/ 504 w 572"/>
                <a:gd name="T21" fmla="*/ 258 h 260"/>
                <a:gd name="T22" fmla="*/ 492 w 572"/>
                <a:gd name="T23" fmla="*/ 260 h 260"/>
                <a:gd name="T24" fmla="*/ 478 w 572"/>
                <a:gd name="T25" fmla="*/ 25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2" h="260">
                  <a:moveTo>
                    <a:pt x="478" y="259"/>
                  </a:moveTo>
                  <a:lnTo>
                    <a:pt x="23" y="135"/>
                  </a:lnTo>
                  <a:lnTo>
                    <a:pt x="11" y="130"/>
                  </a:lnTo>
                  <a:lnTo>
                    <a:pt x="3" y="122"/>
                  </a:lnTo>
                  <a:lnTo>
                    <a:pt x="0" y="113"/>
                  </a:lnTo>
                  <a:lnTo>
                    <a:pt x="2" y="102"/>
                  </a:lnTo>
                  <a:lnTo>
                    <a:pt x="52" y="0"/>
                  </a:lnTo>
                  <a:lnTo>
                    <a:pt x="572" y="140"/>
                  </a:lnTo>
                  <a:lnTo>
                    <a:pt x="522" y="243"/>
                  </a:lnTo>
                  <a:lnTo>
                    <a:pt x="515" y="252"/>
                  </a:lnTo>
                  <a:lnTo>
                    <a:pt x="504" y="258"/>
                  </a:lnTo>
                  <a:lnTo>
                    <a:pt x="492" y="260"/>
                  </a:lnTo>
                  <a:lnTo>
                    <a:pt x="478" y="259"/>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30" name="Freeform 1778">
              <a:extLst>
                <a:ext uri="{FF2B5EF4-FFF2-40B4-BE49-F238E27FC236}">
                  <a16:creationId xmlns:a16="http://schemas.microsoft.com/office/drawing/2014/main" id="{D4B6E182-C3BC-40F9-8A22-10D6F7CF992E}"/>
                </a:ext>
              </a:extLst>
            </p:cNvPr>
            <p:cNvSpPr>
              <a:spLocks noChangeAspect="1"/>
            </p:cNvSpPr>
            <p:nvPr/>
          </p:nvSpPr>
          <p:spPr bwMode="auto">
            <a:xfrm>
              <a:off x="9048751" y="1316991"/>
              <a:ext cx="187325" cy="92075"/>
            </a:xfrm>
            <a:custGeom>
              <a:avLst/>
              <a:gdLst>
                <a:gd name="T0" fmla="*/ 1030 w 1105"/>
                <a:gd name="T1" fmla="*/ 406 h 407"/>
                <a:gd name="T2" fmla="*/ 110 w 1105"/>
                <a:gd name="T3" fmla="*/ 134 h 407"/>
                <a:gd name="T4" fmla="*/ 103 w 1105"/>
                <a:gd name="T5" fmla="*/ 127 h 407"/>
                <a:gd name="T6" fmla="*/ 92 w 1105"/>
                <a:gd name="T7" fmla="*/ 110 h 407"/>
                <a:gd name="T8" fmla="*/ 91 w 1105"/>
                <a:gd name="T9" fmla="*/ 108 h 407"/>
                <a:gd name="T10" fmla="*/ 79 w 1105"/>
                <a:gd name="T11" fmla="*/ 94 h 407"/>
                <a:gd name="T12" fmla="*/ 56 w 1105"/>
                <a:gd name="T13" fmla="*/ 82 h 407"/>
                <a:gd name="T14" fmla="*/ 9 w 1105"/>
                <a:gd name="T15" fmla="*/ 66 h 407"/>
                <a:gd name="T16" fmla="*/ 4 w 1105"/>
                <a:gd name="T17" fmla="*/ 64 h 407"/>
                <a:gd name="T18" fmla="*/ 0 w 1105"/>
                <a:gd name="T19" fmla="*/ 60 h 407"/>
                <a:gd name="T20" fmla="*/ 0 w 1105"/>
                <a:gd name="T21" fmla="*/ 55 h 407"/>
                <a:gd name="T22" fmla="*/ 4 w 1105"/>
                <a:gd name="T23" fmla="*/ 51 h 407"/>
                <a:gd name="T24" fmla="*/ 56 w 1105"/>
                <a:gd name="T25" fmla="*/ 0 h 407"/>
                <a:gd name="T26" fmla="*/ 1105 w 1105"/>
                <a:gd name="T27" fmla="*/ 283 h 407"/>
                <a:gd name="T28" fmla="*/ 1048 w 1105"/>
                <a:gd name="T29" fmla="*/ 401 h 407"/>
                <a:gd name="T30" fmla="*/ 1044 w 1105"/>
                <a:gd name="T31" fmla="*/ 404 h 407"/>
                <a:gd name="T32" fmla="*/ 1040 w 1105"/>
                <a:gd name="T33" fmla="*/ 406 h 407"/>
                <a:gd name="T34" fmla="*/ 1035 w 1105"/>
                <a:gd name="T35" fmla="*/ 407 h 407"/>
                <a:gd name="T36" fmla="*/ 1030 w 1105"/>
                <a:gd name="T37" fmla="*/ 40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5" h="407">
                  <a:moveTo>
                    <a:pt x="1030" y="406"/>
                  </a:moveTo>
                  <a:lnTo>
                    <a:pt x="110" y="134"/>
                  </a:lnTo>
                  <a:lnTo>
                    <a:pt x="103" y="127"/>
                  </a:lnTo>
                  <a:lnTo>
                    <a:pt x="92" y="110"/>
                  </a:lnTo>
                  <a:lnTo>
                    <a:pt x="91" y="108"/>
                  </a:lnTo>
                  <a:lnTo>
                    <a:pt x="79" y="94"/>
                  </a:lnTo>
                  <a:lnTo>
                    <a:pt x="56" y="82"/>
                  </a:lnTo>
                  <a:lnTo>
                    <a:pt x="9" y="66"/>
                  </a:lnTo>
                  <a:lnTo>
                    <a:pt x="4" y="64"/>
                  </a:lnTo>
                  <a:lnTo>
                    <a:pt x="0" y="60"/>
                  </a:lnTo>
                  <a:lnTo>
                    <a:pt x="0" y="55"/>
                  </a:lnTo>
                  <a:lnTo>
                    <a:pt x="4" y="51"/>
                  </a:lnTo>
                  <a:lnTo>
                    <a:pt x="56" y="0"/>
                  </a:lnTo>
                  <a:lnTo>
                    <a:pt x="1105" y="283"/>
                  </a:lnTo>
                  <a:lnTo>
                    <a:pt x="1048" y="401"/>
                  </a:lnTo>
                  <a:lnTo>
                    <a:pt x="1044" y="404"/>
                  </a:lnTo>
                  <a:lnTo>
                    <a:pt x="1040" y="406"/>
                  </a:lnTo>
                  <a:lnTo>
                    <a:pt x="1035" y="407"/>
                  </a:lnTo>
                  <a:lnTo>
                    <a:pt x="1030" y="406"/>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DE"/>
            </a:p>
          </p:txBody>
        </p:sp>
        <p:sp>
          <p:nvSpPr>
            <p:cNvPr id="409331" name="Freeform 1779">
              <a:extLst>
                <a:ext uri="{FF2B5EF4-FFF2-40B4-BE49-F238E27FC236}">
                  <a16:creationId xmlns:a16="http://schemas.microsoft.com/office/drawing/2014/main" id="{A3AC6384-7C53-451E-8F43-8CD5B83290FE}"/>
                </a:ext>
              </a:extLst>
            </p:cNvPr>
            <p:cNvSpPr>
              <a:spLocks noChangeAspect="1"/>
            </p:cNvSpPr>
            <p:nvPr/>
          </p:nvSpPr>
          <p:spPr bwMode="auto">
            <a:xfrm>
              <a:off x="9048751" y="1316991"/>
              <a:ext cx="187325" cy="92075"/>
            </a:xfrm>
            <a:custGeom>
              <a:avLst/>
              <a:gdLst>
                <a:gd name="T0" fmla="*/ 1030 w 1105"/>
                <a:gd name="T1" fmla="*/ 406 h 407"/>
                <a:gd name="T2" fmla="*/ 110 w 1105"/>
                <a:gd name="T3" fmla="*/ 134 h 407"/>
                <a:gd name="T4" fmla="*/ 103 w 1105"/>
                <a:gd name="T5" fmla="*/ 127 h 407"/>
                <a:gd name="T6" fmla="*/ 92 w 1105"/>
                <a:gd name="T7" fmla="*/ 110 h 407"/>
                <a:gd name="T8" fmla="*/ 91 w 1105"/>
                <a:gd name="T9" fmla="*/ 108 h 407"/>
                <a:gd name="T10" fmla="*/ 79 w 1105"/>
                <a:gd name="T11" fmla="*/ 94 h 407"/>
                <a:gd name="T12" fmla="*/ 56 w 1105"/>
                <a:gd name="T13" fmla="*/ 82 h 407"/>
                <a:gd name="T14" fmla="*/ 9 w 1105"/>
                <a:gd name="T15" fmla="*/ 66 h 407"/>
                <a:gd name="T16" fmla="*/ 4 w 1105"/>
                <a:gd name="T17" fmla="*/ 64 h 407"/>
                <a:gd name="T18" fmla="*/ 0 w 1105"/>
                <a:gd name="T19" fmla="*/ 60 h 407"/>
                <a:gd name="T20" fmla="*/ 0 w 1105"/>
                <a:gd name="T21" fmla="*/ 55 h 407"/>
                <a:gd name="T22" fmla="*/ 4 w 1105"/>
                <a:gd name="T23" fmla="*/ 51 h 407"/>
                <a:gd name="T24" fmla="*/ 56 w 1105"/>
                <a:gd name="T25" fmla="*/ 0 h 407"/>
                <a:gd name="T26" fmla="*/ 1105 w 1105"/>
                <a:gd name="T27" fmla="*/ 283 h 407"/>
                <a:gd name="T28" fmla="*/ 1048 w 1105"/>
                <a:gd name="T29" fmla="*/ 401 h 407"/>
                <a:gd name="T30" fmla="*/ 1044 w 1105"/>
                <a:gd name="T31" fmla="*/ 404 h 407"/>
                <a:gd name="T32" fmla="*/ 1040 w 1105"/>
                <a:gd name="T33" fmla="*/ 406 h 407"/>
                <a:gd name="T34" fmla="*/ 1035 w 1105"/>
                <a:gd name="T35" fmla="*/ 407 h 407"/>
                <a:gd name="T36" fmla="*/ 1030 w 1105"/>
                <a:gd name="T37" fmla="*/ 40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5" h="407">
                  <a:moveTo>
                    <a:pt x="1030" y="406"/>
                  </a:moveTo>
                  <a:lnTo>
                    <a:pt x="110" y="134"/>
                  </a:lnTo>
                  <a:lnTo>
                    <a:pt x="103" y="127"/>
                  </a:lnTo>
                  <a:lnTo>
                    <a:pt x="92" y="110"/>
                  </a:lnTo>
                  <a:lnTo>
                    <a:pt x="91" y="108"/>
                  </a:lnTo>
                  <a:lnTo>
                    <a:pt x="79" y="94"/>
                  </a:lnTo>
                  <a:lnTo>
                    <a:pt x="56" y="82"/>
                  </a:lnTo>
                  <a:lnTo>
                    <a:pt x="9" y="66"/>
                  </a:lnTo>
                  <a:lnTo>
                    <a:pt x="4" y="64"/>
                  </a:lnTo>
                  <a:lnTo>
                    <a:pt x="0" y="60"/>
                  </a:lnTo>
                  <a:lnTo>
                    <a:pt x="0" y="55"/>
                  </a:lnTo>
                  <a:lnTo>
                    <a:pt x="4" y="51"/>
                  </a:lnTo>
                  <a:lnTo>
                    <a:pt x="56" y="0"/>
                  </a:lnTo>
                  <a:lnTo>
                    <a:pt x="1105" y="283"/>
                  </a:lnTo>
                  <a:lnTo>
                    <a:pt x="1048" y="401"/>
                  </a:lnTo>
                  <a:lnTo>
                    <a:pt x="1044" y="404"/>
                  </a:lnTo>
                  <a:lnTo>
                    <a:pt x="1040" y="406"/>
                  </a:lnTo>
                  <a:lnTo>
                    <a:pt x="1035" y="407"/>
                  </a:lnTo>
                  <a:lnTo>
                    <a:pt x="1030" y="406"/>
                  </a:lnTo>
                </a:path>
              </a:pathLst>
            </a:custGeom>
            <a:noFill/>
            <a:ln w="793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32" name="Freeform 1780">
              <a:extLst>
                <a:ext uri="{FF2B5EF4-FFF2-40B4-BE49-F238E27FC236}">
                  <a16:creationId xmlns:a16="http://schemas.microsoft.com/office/drawing/2014/main" id="{0DD3A3EC-0D99-41B1-BB3A-0C0CC3C1C8B8}"/>
                </a:ext>
              </a:extLst>
            </p:cNvPr>
            <p:cNvSpPr>
              <a:spLocks noChangeAspect="1"/>
            </p:cNvSpPr>
            <p:nvPr/>
          </p:nvSpPr>
          <p:spPr bwMode="auto">
            <a:xfrm>
              <a:off x="8480426" y="1766253"/>
              <a:ext cx="1323975" cy="2500312"/>
            </a:xfrm>
            <a:custGeom>
              <a:avLst/>
              <a:gdLst>
                <a:gd name="T0" fmla="*/ 311 w 7845"/>
                <a:gd name="T1" fmla="*/ 10296 h 11110"/>
                <a:gd name="T2" fmla="*/ 820 w 7845"/>
                <a:gd name="T3" fmla="*/ 10039 h 11110"/>
                <a:gd name="T4" fmla="*/ 1366 w 7845"/>
                <a:gd name="T5" fmla="*/ 9765 h 11110"/>
                <a:gd name="T6" fmla="*/ 1912 w 7845"/>
                <a:gd name="T7" fmla="*/ 9495 h 11110"/>
                <a:gd name="T8" fmla="*/ 2359 w 7845"/>
                <a:gd name="T9" fmla="*/ 9278 h 11110"/>
                <a:gd name="T10" fmla="*/ 2757 w 7845"/>
                <a:gd name="T11" fmla="*/ 9074 h 11110"/>
                <a:gd name="T12" fmla="*/ 2733 w 7845"/>
                <a:gd name="T13" fmla="*/ 8599 h 11110"/>
                <a:gd name="T14" fmla="*/ 2456 w 7845"/>
                <a:gd name="T15" fmla="*/ 8261 h 11110"/>
                <a:gd name="T16" fmla="*/ 2137 w 7845"/>
                <a:gd name="T17" fmla="*/ 7854 h 11110"/>
                <a:gd name="T18" fmla="*/ 1854 w 7845"/>
                <a:gd name="T19" fmla="*/ 7447 h 11110"/>
                <a:gd name="T20" fmla="*/ 1601 w 7845"/>
                <a:gd name="T21" fmla="*/ 7040 h 11110"/>
                <a:gd name="T22" fmla="*/ 1366 w 7845"/>
                <a:gd name="T23" fmla="*/ 6609 h 11110"/>
                <a:gd name="T24" fmla="*/ 1102 w 7845"/>
                <a:gd name="T25" fmla="*/ 6022 h 11110"/>
                <a:gd name="T26" fmla="*/ 957 w 7845"/>
                <a:gd name="T27" fmla="*/ 5615 h 11110"/>
                <a:gd name="T28" fmla="*/ 820 w 7845"/>
                <a:gd name="T29" fmla="*/ 5080 h 11110"/>
                <a:gd name="T30" fmla="*/ 741 w 7845"/>
                <a:gd name="T31" fmla="*/ 4598 h 11110"/>
                <a:gd name="T32" fmla="*/ 713 w 7845"/>
                <a:gd name="T33" fmla="*/ 3988 h 11110"/>
                <a:gd name="T34" fmla="*/ 766 w 7845"/>
                <a:gd name="T35" fmla="*/ 3377 h 11110"/>
                <a:gd name="T36" fmla="*/ 849 w 7845"/>
                <a:gd name="T37" fmla="*/ 2970 h 11110"/>
                <a:gd name="T38" fmla="*/ 1048 w 7845"/>
                <a:gd name="T39" fmla="*/ 2359 h 11110"/>
                <a:gd name="T40" fmla="*/ 1237 w 7845"/>
                <a:gd name="T41" fmla="*/ 1952 h 11110"/>
                <a:gd name="T42" fmla="*/ 1482 w 7845"/>
                <a:gd name="T43" fmla="*/ 1545 h 11110"/>
                <a:gd name="T44" fmla="*/ 1793 w 7845"/>
                <a:gd name="T45" fmla="*/ 1138 h 11110"/>
                <a:gd name="T46" fmla="*/ 2186 w 7845"/>
                <a:gd name="T47" fmla="*/ 744 h 11110"/>
                <a:gd name="T48" fmla="*/ 2465 w 7845"/>
                <a:gd name="T49" fmla="*/ 528 h 11110"/>
                <a:gd name="T50" fmla="*/ 3006 w 7845"/>
                <a:gd name="T51" fmla="*/ 223 h 11110"/>
                <a:gd name="T52" fmla="*/ 3552 w 7845"/>
                <a:gd name="T53" fmla="*/ 54 h 11110"/>
                <a:gd name="T54" fmla="*/ 4372 w 7845"/>
                <a:gd name="T55" fmla="*/ 13 h 11110"/>
                <a:gd name="T56" fmla="*/ 4937 w 7845"/>
                <a:gd name="T57" fmla="*/ 121 h 11110"/>
                <a:gd name="T58" fmla="*/ 5499 w 7845"/>
                <a:gd name="T59" fmla="*/ 325 h 11110"/>
                <a:gd name="T60" fmla="*/ 6011 w 7845"/>
                <a:gd name="T61" fmla="*/ 593 h 11110"/>
                <a:gd name="T62" fmla="*/ 6500 w 7845"/>
                <a:gd name="T63" fmla="*/ 934 h 11110"/>
                <a:gd name="T64" fmla="*/ 6831 w 7845"/>
                <a:gd name="T65" fmla="*/ 1219 h 11110"/>
                <a:gd name="T66" fmla="*/ 7132 w 7845"/>
                <a:gd name="T67" fmla="*/ 1545 h 11110"/>
                <a:gd name="T68" fmla="*/ 7412 w 7845"/>
                <a:gd name="T69" fmla="*/ 1952 h 11110"/>
                <a:gd name="T70" fmla="*/ 7650 w 7845"/>
                <a:gd name="T71" fmla="*/ 2463 h 11110"/>
                <a:gd name="T72" fmla="*/ 7792 w 7845"/>
                <a:gd name="T73" fmla="*/ 2970 h 11110"/>
                <a:gd name="T74" fmla="*/ 7845 w 7845"/>
                <a:gd name="T75" fmla="*/ 3580 h 11110"/>
                <a:gd name="T76" fmla="*/ 7777 w 7845"/>
                <a:gd name="T77" fmla="*/ 4191 h 11110"/>
                <a:gd name="T78" fmla="*/ 7650 w 7845"/>
                <a:gd name="T79" fmla="*/ 4643 h 11110"/>
                <a:gd name="T80" fmla="*/ 7405 w 7845"/>
                <a:gd name="T81" fmla="*/ 5208 h 11110"/>
                <a:gd name="T82" fmla="*/ 7165 w 7845"/>
                <a:gd name="T83" fmla="*/ 5615 h 11110"/>
                <a:gd name="T84" fmla="*/ 6874 w 7845"/>
                <a:gd name="T85" fmla="*/ 6022 h 11110"/>
                <a:gd name="T86" fmla="*/ 6558 w 7845"/>
                <a:gd name="T87" fmla="*/ 6402 h 11110"/>
                <a:gd name="T88" fmla="*/ 6284 w 7845"/>
                <a:gd name="T89" fmla="*/ 6688 h 11110"/>
                <a:gd name="T90" fmla="*/ 5896 w 7845"/>
                <a:gd name="T91" fmla="*/ 7040 h 11110"/>
                <a:gd name="T92" fmla="*/ 5464 w 7845"/>
                <a:gd name="T93" fmla="*/ 7394 h 11110"/>
                <a:gd name="T94" fmla="*/ 5109 w 7845"/>
                <a:gd name="T95" fmla="*/ 7651 h 11110"/>
                <a:gd name="T96" fmla="*/ 4645 w 7845"/>
                <a:gd name="T97" fmla="*/ 7977 h 11110"/>
                <a:gd name="T98" fmla="*/ 4182 w 7845"/>
                <a:gd name="T99" fmla="*/ 8261 h 11110"/>
                <a:gd name="T100" fmla="*/ 3825 w 7845"/>
                <a:gd name="T101" fmla="*/ 8485 h 11110"/>
                <a:gd name="T102" fmla="*/ 3278 w 7845"/>
                <a:gd name="T103" fmla="*/ 8812 h 11110"/>
                <a:gd name="T104" fmla="*/ 3278 w 7845"/>
                <a:gd name="T105" fmla="*/ 9139 h 11110"/>
                <a:gd name="T106" fmla="*/ 3591 w 7845"/>
                <a:gd name="T107" fmla="*/ 9482 h 11110"/>
                <a:gd name="T108" fmla="*/ 4004 w 7845"/>
                <a:gd name="T109" fmla="*/ 9889 h 11110"/>
                <a:gd name="T110" fmla="*/ 4372 w 7845"/>
                <a:gd name="T111" fmla="*/ 10235 h 11110"/>
                <a:gd name="T112" fmla="*/ 4645 w 7845"/>
                <a:gd name="T113" fmla="*/ 10501 h 11110"/>
                <a:gd name="T114" fmla="*/ 5061 w 7845"/>
                <a:gd name="T115" fmla="*/ 10906 h 1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845" h="11110">
                  <a:moveTo>
                    <a:pt x="0" y="10449"/>
                  </a:moveTo>
                  <a:lnTo>
                    <a:pt x="273" y="10313"/>
                  </a:lnTo>
                  <a:lnTo>
                    <a:pt x="311" y="10296"/>
                  </a:lnTo>
                  <a:lnTo>
                    <a:pt x="547" y="10175"/>
                  </a:lnTo>
                  <a:lnTo>
                    <a:pt x="721" y="10092"/>
                  </a:lnTo>
                  <a:lnTo>
                    <a:pt x="820" y="10039"/>
                  </a:lnTo>
                  <a:lnTo>
                    <a:pt x="1092" y="9904"/>
                  </a:lnTo>
                  <a:lnTo>
                    <a:pt x="1128" y="9889"/>
                  </a:lnTo>
                  <a:lnTo>
                    <a:pt x="1366" y="9765"/>
                  </a:lnTo>
                  <a:lnTo>
                    <a:pt x="1540" y="9685"/>
                  </a:lnTo>
                  <a:lnTo>
                    <a:pt x="1639" y="9629"/>
                  </a:lnTo>
                  <a:lnTo>
                    <a:pt x="1912" y="9495"/>
                  </a:lnTo>
                  <a:lnTo>
                    <a:pt x="1944" y="9482"/>
                  </a:lnTo>
                  <a:lnTo>
                    <a:pt x="2186" y="9351"/>
                  </a:lnTo>
                  <a:lnTo>
                    <a:pt x="2359" y="9278"/>
                  </a:lnTo>
                  <a:lnTo>
                    <a:pt x="2459" y="9210"/>
                  </a:lnTo>
                  <a:lnTo>
                    <a:pt x="2733" y="9080"/>
                  </a:lnTo>
                  <a:lnTo>
                    <a:pt x="2757" y="9074"/>
                  </a:lnTo>
                  <a:lnTo>
                    <a:pt x="3003" y="8871"/>
                  </a:lnTo>
                  <a:lnTo>
                    <a:pt x="2837" y="8668"/>
                  </a:lnTo>
                  <a:lnTo>
                    <a:pt x="2733" y="8599"/>
                  </a:lnTo>
                  <a:lnTo>
                    <a:pt x="2640" y="8465"/>
                  </a:lnTo>
                  <a:lnTo>
                    <a:pt x="2459" y="8265"/>
                  </a:lnTo>
                  <a:lnTo>
                    <a:pt x="2456" y="8261"/>
                  </a:lnTo>
                  <a:lnTo>
                    <a:pt x="2296" y="8058"/>
                  </a:lnTo>
                  <a:lnTo>
                    <a:pt x="2186" y="7928"/>
                  </a:lnTo>
                  <a:lnTo>
                    <a:pt x="2137" y="7854"/>
                  </a:lnTo>
                  <a:lnTo>
                    <a:pt x="1992" y="7651"/>
                  </a:lnTo>
                  <a:lnTo>
                    <a:pt x="1912" y="7542"/>
                  </a:lnTo>
                  <a:lnTo>
                    <a:pt x="1854" y="7447"/>
                  </a:lnTo>
                  <a:lnTo>
                    <a:pt x="1723" y="7243"/>
                  </a:lnTo>
                  <a:lnTo>
                    <a:pt x="1639" y="7109"/>
                  </a:lnTo>
                  <a:lnTo>
                    <a:pt x="1601" y="7040"/>
                  </a:lnTo>
                  <a:lnTo>
                    <a:pt x="1486" y="6836"/>
                  </a:lnTo>
                  <a:lnTo>
                    <a:pt x="1378" y="6633"/>
                  </a:lnTo>
                  <a:lnTo>
                    <a:pt x="1366" y="6609"/>
                  </a:lnTo>
                  <a:lnTo>
                    <a:pt x="1278" y="6429"/>
                  </a:lnTo>
                  <a:lnTo>
                    <a:pt x="1186" y="6226"/>
                  </a:lnTo>
                  <a:lnTo>
                    <a:pt x="1102" y="6022"/>
                  </a:lnTo>
                  <a:lnTo>
                    <a:pt x="1092" y="5997"/>
                  </a:lnTo>
                  <a:lnTo>
                    <a:pt x="1026" y="5819"/>
                  </a:lnTo>
                  <a:lnTo>
                    <a:pt x="957" y="5615"/>
                  </a:lnTo>
                  <a:lnTo>
                    <a:pt x="898" y="5411"/>
                  </a:lnTo>
                  <a:lnTo>
                    <a:pt x="846" y="5208"/>
                  </a:lnTo>
                  <a:lnTo>
                    <a:pt x="820" y="5080"/>
                  </a:lnTo>
                  <a:lnTo>
                    <a:pt x="803" y="5004"/>
                  </a:lnTo>
                  <a:lnTo>
                    <a:pt x="767" y="4801"/>
                  </a:lnTo>
                  <a:lnTo>
                    <a:pt x="741" y="4598"/>
                  </a:lnTo>
                  <a:lnTo>
                    <a:pt x="723" y="4395"/>
                  </a:lnTo>
                  <a:lnTo>
                    <a:pt x="713" y="4191"/>
                  </a:lnTo>
                  <a:lnTo>
                    <a:pt x="713" y="3988"/>
                  </a:lnTo>
                  <a:lnTo>
                    <a:pt x="721" y="3784"/>
                  </a:lnTo>
                  <a:lnTo>
                    <a:pt x="739" y="3580"/>
                  </a:lnTo>
                  <a:lnTo>
                    <a:pt x="766" y="3377"/>
                  </a:lnTo>
                  <a:lnTo>
                    <a:pt x="803" y="3173"/>
                  </a:lnTo>
                  <a:lnTo>
                    <a:pt x="820" y="3103"/>
                  </a:lnTo>
                  <a:lnTo>
                    <a:pt x="849" y="2970"/>
                  </a:lnTo>
                  <a:lnTo>
                    <a:pt x="904" y="2766"/>
                  </a:lnTo>
                  <a:lnTo>
                    <a:pt x="971" y="2563"/>
                  </a:lnTo>
                  <a:lnTo>
                    <a:pt x="1048" y="2359"/>
                  </a:lnTo>
                  <a:lnTo>
                    <a:pt x="1092" y="2257"/>
                  </a:lnTo>
                  <a:lnTo>
                    <a:pt x="1137" y="2156"/>
                  </a:lnTo>
                  <a:lnTo>
                    <a:pt x="1237" y="1952"/>
                  </a:lnTo>
                  <a:lnTo>
                    <a:pt x="1353" y="1748"/>
                  </a:lnTo>
                  <a:lnTo>
                    <a:pt x="1366" y="1727"/>
                  </a:lnTo>
                  <a:lnTo>
                    <a:pt x="1482" y="1545"/>
                  </a:lnTo>
                  <a:lnTo>
                    <a:pt x="1628" y="1341"/>
                  </a:lnTo>
                  <a:lnTo>
                    <a:pt x="1639" y="1326"/>
                  </a:lnTo>
                  <a:lnTo>
                    <a:pt x="1793" y="1138"/>
                  </a:lnTo>
                  <a:lnTo>
                    <a:pt x="1912" y="1005"/>
                  </a:lnTo>
                  <a:lnTo>
                    <a:pt x="1982" y="934"/>
                  </a:lnTo>
                  <a:lnTo>
                    <a:pt x="2186" y="744"/>
                  </a:lnTo>
                  <a:lnTo>
                    <a:pt x="2202" y="732"/>
                  </a:lnTo>
                  <a:lnTo>
                    <a:pt x="2459" y="531"/>
                  </a:lnTo>
                  <a:lnTo>
                    <a:pt x="2465" y="528"/>
                  </a:lnTo>
                  <a:lnTo>
                    <a:pt x="2733" y="359"/>
                  </a:lnTo>
                  <a:lnTo>
                    <a:pt x="2802" y="325"/>
                  </a:lnTo>
                  <a:lnTo>
                    <a:pt x="3006" y="223"/>
                  </a:lnTo>
                  <a:lnTo>
                    <a:pt x="3278" y="126"/>
                  </a:lnTo>
                  <a:lnTo>
                    <a:pt x="3299" y="121"/>
                  </a:lnTo>
                  <a:lnTo>
                    <a:pt x="3552" y="54"/>
                  </a:lnTo>
                  <a:lnTo>
                    <a:pt x="3825" y="13"/>
                  </a:lnTo>
                  <a:lnTo>
                    <a:pt x="4098" y="0"/>
                  </a:lnTo>
                  <a:lnTo>
                    <a:pt x="4372" y="13"/>
                  </a:lnTo>
                  <a:lnTo>
                    <a:pt x="4645" y="50"/>
                  </a:lnTo>
                  <a:lnTo>
                    <a:pt x="4919" y="115"/>
                  </a:lnTo>
                  <a:lnTo>
                    <a:pt x="4937" y="121"/>
                  </a:lnTo>
                  <a:lnTo>
                    <a:pt x="5192" y="197"/>
                  </a:lnTo>
                  <a:lnTo>
                    <a:pt x="5464" y="307"/>
                  </a:lnTo>
                  <a:lnTo>
                    <a:pt x="5499" y="325"/>
                  </a:lnTo>
                  <a:lnTo>
                    <a:pt x="5738" y="437"/>
                  </a:lnTo>
                  <a:lnTo>
                    <a:pt x="5894" y="528"/>
                  </a:lnTo>
                  <a:lnTo>
                    <a:pt x="6011" y="593"/>
                  </a:lnTo>
                  <a:lnTo>
                    <a:pt x="6221" y="732"/>
                  </a:lnTo>
                  <a:lnTo>
                    <a:pt x="6284" y="772"/>
                  </a:lnTo>
                  <a:lnTo>
                    <a:pt x="6500" y="934"/>
                  </a:lnTo>
                  <a:lnTo>
                    <a:pt x="6558" y="978"/>
                  </a:lnTo>
                  <a:lnTo>
                    <a:pt x="6743" y="1138"/>
                  </a:lnTo>
                  <a:lnTo>
                    <a:pt x="6831" y="1219"/>
                  </a:lnTo>
                  <a:lnTo>
                    <a:pt x="6953" y="1341"/>
                  </a:lnTo>
                  <a:lnTo>
                    <a:pt x="7105" y="1512"/>
                  </a:lnTo>
                  <a:lnTo>
                    <a:pt x="7132" y="1545"/>
                  </a:lnTo>
                  <a:lnTo>
                    <a:pt x="7283" y="1748"/>
                  </a:lnTo>
                  <a:lnTo>
                    <a:pt x="7377" y="1896"/>
                  </a:lnTo>
                  <a:lnTo>
                    <a:pt x="7412" y="1952"/>
                  </a:lnTo>
                  <a:lnTo>
                    <a:pt x="7521" y="2156"/>
                  </a:lnTo>
                  <a:lnTo>
                    <a:pt x="7612" y="2359"/>
                  </a:lnTo>
                  <a:lnTo>
                    <a:pt x="7650" y="2463"/>
                  </a:lnTo>
                  <a:lnTo>
                    <a:pt x="7686" y="2563"/>
                  </a:lnTo>
                  <a:lnTo>
                    <a:pt x="7747" y="2766"/>
                  </a:lnTo>
                  <a:lnTo>
                    <a:pt x="7792" y="2970"/>
                  </a:lnTo>
                  <a:lnTo>
                    <a:pt x="7824" y="3173"/>
                  </a:lnTo>
                  <a:lnTo>
                    <a:pt x="7840" y="3377"/>
                  </a:lnTo>
                  <a:lnTo>
                    <a:pt x="7845" y="3580"/>
                  </a:lnTo>
                  <a:lnTo>
                    <a:pt x="7836" y="3784"/>
                  </a:lnTo>
                  <a:lnTo>
                    <a:pt x="7813" y="3988"/>
                  </a:lnTo>
                  <a:lnTo>
                    <a:pt x="7777" y="4191"/>
                  </a:lnTo>
                  <a:lnTo>
                    <a:pt x="7729" y="4395"/>
                  </a:lnTo>
                  <a:lnTo>
                    <a:pt x="7667" y="4598"/>
                  </a:lnTo>
                  <a:lnTo>
                    <a:pt x="7650" y="4643"/>
                  </a:lnTo>
                  <a:lnTo>
                    <a:pt x="7593" y="4801"/>
                  </a:lnTo>
                  <a:lnTo>
                    <a:pt x="7505" y="5004"/>
                  </a:lnTo>
                  <a:lnTo>
                    <a:pt x="7405" y="5208"/>
                  </a:lnTo>
                  <a:lnTo>
                    <a:pt x="7377" y="5260"/>
                  </a:lnTo>
                  <a:lnTo>
                    <a:pt x="7291" y="5411"/>
                  </a:lnTo>
                  <a:lnTo>
                    <a:pt x="7165" y="5615"/>
                  </a:lnTo>
                  <a:lnTo>
                    <a:pt x="7105" y="5708"/>
                  </a:lnTo>
                  <a:lnTo>
                    <a:pt x="7026" y="5819"/>
                  </a:lnTo>
                  <a:lnTo>
                    <a:pt x="6874" y="6022"/>
                  </a:lnTo>
                  <a:lnTo>
                    <a:pt x="6831" y="6079"/>
                  </a:lnTo>
                  <a:lnTo>
                    <a:pt x="6709" y="6226"/>
                  </a:lnTo>
                  <a:lnTo>
                    <a:pt x="6558" y="6402"/>
                  </a:lnTo>
                  <a:lnTo>
                    <a:pt x="6531" y="6429"/>
                  </a:lnTo>
                  <a:lnTo>
                    <a:pt x="6336" y="6633"/>
                  </a:lnTo>
                  <a:lnTo>
                    <a:pt x="6284" y="6688"/>
                  </a:lnTo>
                  <a:lnTo>
                    <a:pt x="6125" y="6836"/>
                  </a:lnTo>
                  <a:lnTo>
                    <a:pt x="6011" y="6944"/>
                  </a:lnTo>
                  <a:lnTo>
                    <a:pt x="5896" y="7040"/>
                  </a:lnTo>
                  <a:lnTo>
                    <a:pt x="5738" y="7177"/>
                  </a:lnTo>
                  <a:lnTo>
                    <a:pt x="5650" y="7243"/>
                  </a:lnTo>
                  <a:lnTo>
                    <a:pt x="5464" y="7394"/>
                  </a:lnTo>
                  <a:lnTo>
                    <a:pt x="5388" y="7447"/>
                  </a:lnTo>
                  <a:lnTo>
                    <a:pt x="5192" y="7597"/>
                  </a:lnTo>
                  <a:lnTo>
                    <a:pt x="5109" y="7651"/>
                  </a:lnTo>
                  <a:lnTo>
                    <a:pt x="4919" y="7791"/>
                  </a:lnTo>
                  <a:lnTo>
                    <a:pt x="4815" y="7854"/>
                  </a:lnTo>
                  <a:lnTo>
                    <a:pt x="4645" y="7977"/>
                  </a:lnTo>
                  <a:lnTo>
                    <a:pt x="4507" y="8058"/>
                  </a:lnTo>
                  <a:lnTo>
                    <a:pt x="4372" y="8154"/>
                  </a:lnTo>
                  <a:lnTo>
                    <a:pt x="4182" y="8261"/>
                  </a:lnTo>
                  <a:lnTo>
                    <a:pt x="4098" y="8324"/>
                  </a:lnTo>
                  <a:lnTo>
                    <a:pt x="3850" y="8465"/>
                  </a:lnTo>
                  <a:lnTo>
                    <a:pt x="3825" y="8485"/>
                  </a:lnTo>
                  <a:lnTo>
                    <a:pt x="3552" y="8643"/>
                  </a:lnTo>
                  <a:lnTo>
                    <a:pt x="3471" y="8668"/>
                  </a:lnTo>
                  <a:lnTo>
                    <a:pt x="3278" y="8812"/>
                  </a:lnTo>
                  <a:lnTo>
                    <a:pt x="3012" y="8871"/>
                  </a:lnTo>
                  <a:lnTo>
                    <a:pt x="3147" y="9074"/>
                  </a:lnTo>
                  <a:lnTo>
                    <a:pt x="3278" y="9139"/>
                  </a:lnTo>
                  <a:lnTo>
                    <a:pt x="3375" y="9278"/>
                  </a:lnTo>
                  <a:lnTo>
                    <a:pt x="3552" y="9427"/>
                  </a:lnTo>
                  <a:lnTo>
                    <a:pt x="3591" y="9482"/>
                  </a:lnTo>
                  <a:lnTo>
                    <a:pt x="3800" y="9685"/>
                  </a:lnTo>
                  <a:lnTo>
                    <a:pt x="3825" y="9705"/>
                  </a:lnTo>
                  <a:lnTo>
                    <a:pt x="4004" y="9889"/>
                  </a:lnTo>
                  <a:lnTo>
                    <a:pt x="4098" y="9968"/>
                  </a:lnTo>
                  <a:lnTo>
                    <a:pt x="4214" y="10092"/>
                  </a:lnTo>
                  <a:lnTo>
                    <a:pt x="4372" y="10235"/>
                  </a:lnTo>
                  <a:lnTo>
                    <a:pt x="4427" y="10296"/>
                  </a:lnTo>
                  <a:lnTo>
                    <a:pt x="4642" y="10499"/>
                  </a:lnTo>
                  <a:lnTo>
                    <a:pt x="4645" y="10501"/>
                  </a:lnTo>
                  <a:lnTo>
                    <a:pt x="4850" y="10703"/>
                  </a:lnTo>
                  <a:lnTo>
                    <a:pt x="4919" y="10762"/>
                  </a:lnTo>
                  <a:lnTo>
                    <a:pt x="5061" y="10906"/>
                  </a:lnTo>
                  <a:lnTo>
                    <a:pt x="5192" y="11025"/>
                  </a:lnTo>
                  <a:lnTo>
                    <a:pt x="5274" y="11110"/>
                  </a:lnTo>
                </a:path>
              </a:pathLst>
            </a:custGeom>
            <a:noFill/>
            <a:ln w="28575" cmpd="sng">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33" name="Freeform 1781">
              <a:extLst>
                <a:ext uri="{FF2B5EF4-FFF2-40B4-BE49-F238E27FC236}">
                  <a16:creationId xmlns:a16="http://schemas.microsoft.com/office/drawing/2014/main" id="{719B66B4-072E-4A97-8D88-C1635F79D3C6}"/>
                </a:ext>
              </a:extLst>
            </p:cNvPr>
            <p:cNvSpPr>
              <a:spLocks noChangeAspect="1"/>
            </p:cNvSpPr>
            <p:nvPr/>
          </p:nvSpPr>
          <p:spPr bwMode="auto">
            <a:xfrm>
              <a:off x="9250364" y="2602865"/>
              <a:ext cx="52387" cy="63500"/>
            </a:xfrm>
            <a:custGeom>
              <a:avLst/>
              <a:gdLst>
                <a:gd name="T0" fmla="*/ 0 w 307"/>
                <a:gd name="T1" fmla="*/ 139 h 279"/>
                <a:gd name="T2" fmla="*/ 307 w 307"/>
                <a:gd name="T3" fmla="*/ 139 h 279"/>
                <a:gd name="T4" fmla="*/ 153 w 307"/>
                <a:gd name="T5" fmla="*/ 139 h 279"/>
                <a:gd name="T6" fmla="*/ 153 w 307"/>
                <a:gd name="T7" fmla="*/ 0 h 279"/>
                <a:gd name="T8" fmla="*/ 153 w 307"/>
                <a:gd name="T9" fmla="*/ 279 h 279"/>
              </a:gdLst>
              <a:ahLst/>
              <a:cxnLst>
                <a:cxn ang="0">
                  <a:pos x="T0" y="T1"/>
                </a:cxn>
                <a:cxn ang="0">
                  <a:pos x="T2" y="T3"/>
                </a:cxn>
                <a:cxn ang="0">
                  <a:pos x="T4" y="T5"/>
                </a:cxn>
                <a:cxn ang="0">
                  <a:pos x="T6" y="T7"/>
                </a:cxn>
                <a:cxn ang="0">
                  <a:pos x="T8" y="T9"/>
                </a:cxn>
              </a:cxnLst>
              <a:rect l="0" t="0" r="r" b="b"/>
              <a:pathLst>
                <a:path w="307" h="279">
                  <a:moveTo>
                    <a:pt x="0" y="139"/>
                  </a:moveTo>
                  <a:lnTo>
                    <a:pt x="307" y="139"/>
                  </a:lnTo>
                  <a:lnTo>
                    <a:pt x="153" y="139"/>
                  </a:lnTo>
                  <a:lnTo>
                    <a:pt x="153" y="0"/>
                  </a:lnTo>
                  <a:lnTo>
                    <a:pt x="153" y="279"/>
                  </a:lnTo>
                </a:path>
              </a:pathLst>
            </a:custGeom>
            <a:noFill/>
            <a:ln w="3175">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34" name="Freeform 1782">
              <a:extLst>
                <a:ext uri="{FF2B5EF4-FFF2-40B4-BE49-F238E27FC236}">
                  <a16:creationId xmlns:a16="http://schemas.microsoft.com/office/drawing/2014/main" id="{E10C5590-DB6D-431D-BE90-9D18CA503216}"/>
                </a:ext>
              </a:extLst>
            </p:cNvPr>
            <p:cNvSpPr>
              <a:spLocks noChangeAspect="1"/>
            </p:cNvSpPr>
            <p:nvPr/>
          </p:nvSpPr>
          <p:spPr bwMode="auto">
            <a:xfrm>
              <a:off x="9250364" y="2602865"/>
              <a:ext cx="52387" cy="63500"/>
            </a:xfrm>
            <a:custGeom>
              <a:avLst/>
              <a:gdLst>
                <a:gd name="T0" fmla="*/ 0 w 307"/>
                <a:gd name="T1" fmla="*/ 139 h 279"/>
                <a:gd name="T2" fmla="*/ 307 w 307"/>
                <a:gd name="T3" fmla="*/ 139 h 279"/>
                <a:gd name="T4" fmla="*/ 153 w 307"/>
                <a:gd name="T5" fmla="*/ 139 h 279"/>
                <a:gd name="T6" fmla="*/ 153 w 307"/>
                <a:gd name="T7" fmla="*/ 0 h 279"/>
                <a:gd name="T8" fmla="*/ 153 w 307"/>
                <a:gd name="T9" fmla="*/ 279 h 279"/>
              </a:gdLst>
              <a:ahLst/>
              <a:cxnLst>
                <a:cxn ang="0">
                  <a:pos x="T0" y="T1"/>
                </a:cxn>
                <a:cxn ang="0">
                  <a:pos x="T2" y="T3"/>
                </a:cxn>
                <a:cxn ang="0">
                  <a:pos x="T4" y="T5"/>
                </a:cxn>
                <a:cxn ang="0">
                  <a:pos x="T6" y="T7"/>
                </a:cxn>
                <a:cxn ang="0">
                  <a:pos x="T8" y="T9"/>
                </a:cxn>
              </a:cxnLst>
              <a:rect l="0" t="0" r="r" b="b"/>
              <a:pathLst>
                <a:path w="307" h="279">
                  <a:moveTo>
                    <a:pt x="0" y="139"/>
                  </a:moveTo>
                  <a:lnTo>
                    <a:pt x="307" y="139"/>
                  </a:lnTo>
                  <a:lnTo>
                    <a:pt x="153" y="139"/>
                  </a:lnTo>
                  <a:lnTo>
                    <a:pt x="153" y="0"/>
                  </a:lnTo>
                  <a:lnTo>
                    <a:pt x="153" y="279"/>
                  </a:lnTo>
                </a:path>
              </a:pathLst>
            </a:custGeom>
            <a:noFill/>
            <a:ln w="3175">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35" name="Freeform 1783">
              <a:extLst>
                <a:ext uri="{FF2B5EF4-FFF2-40B4-BE49-F238E27FC236}">
                  <a16:creationId xmlns:a16="http://schemas.microsoft.com/office/drawing/2014/main" id="{07A96FDB-8910-4403-9C86-1C808C0AB837}"/>
                </a:ext>
              </a:extLst>
            </p:cNvPr>
            <p:cNvSpPr>
              <a:spLocks noChangeAspect="1"/>
            </p:cNvSpPr>
            <p:nvPr/>
          </p:nvSpPr>
          <p:spPr bwMode="auto">
            <a:xfrm>
              <a:off x="8480425" y="4091941"/>
              <a:ext cx="769938" cy="174625"/>
            </a:xfrm>
            <a:custGeom>
              <a:avLst/>
              <a:gdLst>
                <a:gd name="T0" fmla="*/ 0 w 4560"/>
                <a:gd name="T1" fmla="*/ 617 h 774"/>
                <a:gd name="T2" fmla="*/ 131 w 4560"/>
                <a:gd name="T3" fmla="*/ 570 h 774"/>
                <a:gd name="T4" fmla="*/ 273 w 4560"/>
                <a:gd name="T5" fmla="*/ 515 h 774"/>
                <a:gd name="T6" fmla="*/ 547 w 4560"/>
                <a:gd name="T7" fmla="*/ 417 h 774"/>
                <a:gd name="T8" fmla="*/ 702 w 4560"/>
                <a:gd name="T9" fmla="*/ 367 h 774"/>
                <a:gd name="T10" fmla="*/ 820 w 4560"/>
                <a:gd name="T11" fmla="*/ 325 h 774"/>
                <a:gd name="T12" fmla="*/ 1092 w 4560"/>
                <a:gd name="T13" fmla="*/ 239 h 774"/>
                <a:gd name="T14" fmla="*/ 1366 w 4560"/>
                <a:gd name="T15" fmla="*/ 164 h 774"/>
                <a:gd name="T16" fmla="*/ 1371 w 4560"/>
                <a:gd name="T17" fmla="*/ 163 h 774"/>
                <a:gd name="T18" fmla="*/ 1639 w 4560"/>
                <a:gd name="T19" fmla="*/ 97 h 774"/>
                <a:gd name="T20" fmla="*/ 1912 w 4560"/>
                <a:gd name="T21" fmla="*/ 46 h 774"/>
                <a:gd name="T22" fmla="*/ 2186 w 4560"/>
                <a:gd name="T23" fmla="*/ 12 h 774"/>
                <a:gd name="T24" fmla="*/ 2459 w 4560"/>
                <a:gd name="T25" fmla="*/ 0 h 774"/>
                <a:gd name="T26" fmla="*/ 2733 w 4560"/>
                <a:gd name="T27" fmla="*/ 10 h 774"/>
                <a:gd name="T28" fmla="*/ 3006 w 4560"/>
                <a:gd name="T29" fmla="*/ 48 h 774"/>
                <a:gd name="T30" fmla="*/ 3278 w 4560"/>
                <a:gd name="T31" fmla="*/ 116 h 774"/>
                <a:gd name="T32" fmla="*/ 3404 w 4560"/>
                <a:gd name="T33" fmla="*/ 163 h 774"/>
                <a:gd name="T34" fmla="*/ 3552 w 4560"/>
                <a:gd name="T35" fmla="*/ 213 h 774"/>
                <a:gd name="T36" fmla="*/ 3825 w 4560"/>
                <a:gd name="T37" fmla="*/ 336 h 774"/>
                <a:gd name="T38" fmla="*/ 3879 w 4560"/>
                <a:gd name="T39" fmla="*/ 367 h 774"/>
                <a:gd name="T40" fmla="*/ 4098 w 4560"/>
                <a:gd name="T41" fmla="*/ 480 h 774"/>
                <a:gd name="T42" fmla="*/ 4241 w 4560"/>
                <a:gd name="T43" fmla="*/ 570 h 774"/>
                <a:gd name="T44" fmla="*/ 4372 w 4560"/>
                <a:gd name="T45" fmla="*/ 646 h 774"/>
                <a:gd name="T46" fmla="*/ 4560 w 4560"/>
                <a:gd name="T47" fmla="*/ 774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60" h="774">
                  <a:moveTo>
                    <a:pt x="0" y="617"/>
                  </a:moveTo>
                  <a:lnTo>
                    <a:pt x="131" y="570"/>
                  </a:lnTo>
                  <a:lnTo>
                    <a:pt x="273" y="515"/>
                  </a:lnTo>
                  <a:lnTo>
                    <a:pt x="547" y="417"/>
                  </a:lnTo>
                  <a:lnTo>
                    <a:pt x="702" y="367"/>
                  </a:lnTo>
                  <a:lnTo>
                    <a:pt x="820" y="325"/>
                  </a:lnTo>
                  <a:lnTo>
                    <a:pt x="1092" y="239"/>
                  </a:lnTo>
                  <a:lnTo>
                    <a:pt x="1366" y="164"/>
                  </a:lnTo>
                  <a:lnTo>
                    <a:pt x="1371" y="163"/>
                  </a:lnTo>
                  <a:lnTo>
                    <a:pt x="1639" y="97"/>
                  </a:lnTo>
                  <a:lnTo>
                    <a:pt x="1912" y="46"/>
                  </a:lnTo>
                  <a:lnTo>
                    <a:pt x="2186" y="12"/>
                  </a:lnTo>
                  <a:lnTo>
                    <a:pt x="2459" y="0"/>
                  </a:lnTo>
                  <a:lnTo>
                    <a:pt x="2733" y="10"/>
                  </a:lnTo>
                  <a:lnTo>
                    <a:pt x="3006" y="48"/>
                  </a:lnTo>
                  <a:lnTo>
                    <a:pt x="3278" y="116"/>
                  </a:lnTo>
                  <a:lnTo>
                    <a:pt x="3404" y="163"/>
                  </a:lnTo>
                  <a:lnTo>
                    <a:pt x="3552" y="213"/>
                  </a:lnTo>
                  <a:lnTo>
                    <a:pt x="3825" y="336"/>
                  </a:lnTo>
                  <a:lnTo>
                    <a:pt x="3879" y="367"/>
                  </a:lnTo>
                  <a:lnTo>
                    <a:pt x="4098" y="480"/>
                  </a:lnTo>
                  <a:lnTo>
                    <a:pt x="4241" y="570"/>
                  </a:lnTo>
                  <a:lnTo>
                    <a:pt x="4372" y="646"/>
                  </a:lnTo>
                  <a:lnTo>
                    <a:pt x="4560" y="774"/>
                  </a:lnTo>
                </a:path>
              </a:pathLst>
            </a:custGeom>
            <a:noFill/>
            <a:ln w="3175">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36" name="Freeform 1784">
              <a:extLst>
                <a:ext uri="{FF2B5EF4-FFF2-40B4-BE49-F238E27FC236}">
                  <a16:creationId xmlns:a16="http://schemas.microsoft.com/office/drawing/2014/main" id="{2A95EF5E-EFBE-4155-867D-1CB9BE746C3A}"/>
                </a:ext>
              </a:extLst>
            </p:cNvPr>
            <p:cNvSpPr>
              <a:spLocks noChangeAspect="1"/>
            </p:cNvSpPr>
            <p:nvPr/>
          </p:nvSpPr>
          <p:spPr bwMode="auto">
            <a:xfrm>
              <a:off x="8651875" y="4231641"/>
              <a:ext cx="400050" cy="34925"/>
            </a:xfrm>
            <a:custGeom>
              <a:avLst/>
              <a:gdLst>
                <a:gd name="T0" fmla="*/ 0 w 2364"/>
                <a:gd name="T1" fmla="*/ 155 h 155"/>
                <a:gd name="T2" fmla="*/ 73 w 2364"/>
                <a:gd name="T3" fmla="*/ 138 h 155"/>
                <a:gd name="T4" fmla="*/ 347 w 2364"/>
                <a:gd name="T5" fmla="*/ 84 h 155"/>
                <a:gd name="T6" fmla="*/ 620 w 2364"/>
                <a:gd name="T7" fmla="*/ 42 h 155"/>
                <a:gd name="T8" fmla="*/ 893 w 2364"/>
                <a:gd name="T9" fmla="*/ 14 h 155"/>
                <a:gd name="T10" fmla="*/ 1167 w 2364"/>
                <a:gd name="T11" fmla="*/ 0 h 155"/>
                <a:gd name="T12" fmla="*/ 1440 w 2364"/>
                <a:gd name="T13" fmla="*/ 3 h 155"/>
                <a:gd name="T14" fmla="*/ 1714 w 2364"/>
                <a:gd name="T15" fmla="*/ 23 h 155"/>
                <a:gd name="T16" fmla="*/ 1987 w 2364"/>
                <a:gd name="T17" fmla="*/ 62 h 155"/>
                <a:gd name="T18" fmla="*/ 2259 w 2364"/>
                <a:gd name="T19" fmla="*/ 123 h 155"/>
                <a:gd name="T20" fmla="*/ 2364 w 2364"/>
                <a:gd name="T21"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64" h="155">
                  <a:moveTo>
                    <a:pt x="0" y="155"/>
                  </a:moveTo>
                  <a:lnTo>
                    <a:pt x="73" y="138"/>
                  </a:lnTo>
                  <a:lnTo>
                    <a:pt x="347" y="84"/>
                  </a:lnTo>
                  <a:lnTo>
                    <a:pt x="620" y="42"/>
                  </a:lnTo>
                  <a:lnTo>
                    <a:pt x="893" y="14"/>
                  </a:lnTo>
                  <a:lnTo>
                    <a:pt x="1167" y="0"/>
                  </a:lnTo>
                  <a:lnTo>
                    <a:pt x="1440" y="3"/>
                  </a:lnTo>
                  <a:lnTo>
                    <a:pt x="1714" y="23"/>
                  </a:lnTo>
                  <a:lnTo>
                    <a:pt x="1987" y="62"/>
                  </a:lnTo>
                  <a:lnTo>
                    <a:pt x="2259" y="123"/>
                  </a:lnTo>
                  <a:lnTo>
                    <a:pt x="2364" y="155"/>
                  </a:lnTo>
                </a:path>
              </a:pathLst>
            </a:custGeom>
            <a:noFill/>
            <a:ln w="3175">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37" name="Freeform 1785">
              <a:extLst>
                <a:ext uri="{FF2B5EF4-FFF2-40B4-BE49-F238E27FC236}">
                  <a16:creationId xmlns:a16="http://schemas.microsoft.com/office/drawing/2014/main" id="{3E7B6F0B-A2E4-4E28-A176-C14C4B05D9AB}"/>
                </a:ext>
              </a:extLst>
            </p:cNvPr>
            <p:cNvSpPr>
              <a:spLocks noChangeAspect="1"/>
            </p:cNvSpPr>
            <p:nvPr/>
          </p:nvSpPr>
          <p:spPr bwMode="auto">
            <a:xfrm>
              <a:off x="8726489" y="1956754"/>
              <a:ext cx="998537" cy="1393825"/>
            </a:xfrm>
            <a:custGeom>
              <a:avLst/>
              <a:gdLst>
                <a:gd name="T0" fmla="*/ 1594 w 5922"/>
                <a:gd name="T1" fmla="*/ 5990 h 6191"/>
                <a:gd name="T2" fmla="*/ 1276 w 5922"/>
                <a:gd name="T3" fmla="*/ 5803 h 6191"/>
                <a:gd name="T4" fmla="*/ 1008 w 5922"/>
                <a:gd name="T5" fmla="*/ 5583 h 6191"/>
                <a:gd name="T6" fmla="*/ 813 w 5922"/>
                <a:gd name="T7" fmla="*/ 5380 h 6191"/>
                <a:gd name="T8" fmla="*/ 650 w 5922"/>
                <a:gd name="T9" fmla="*/ 5176 h 6191"/>
                <a:gd name="T10" fmla="*/ 455 w 5922"/>
                <a:gd name="T11" fmla="*/ 4880 h 6191"/>
                <a:gd name="T12" fmla="*/ 296 w 5922"/>
                <a:gd name="T13" fmla="*/ 4565 h 6191"/>
                <a:gd name="T14" fmla="*/ 182 w 5922"/>
                <a:gd name="T15" fmla="*/ 4277 h 6191"/>
                <a:gd name="T16" fmla="*/ 89 w 5922"/>
                <a:gd name="T17" fmla="*/ 3955 h 6191"/>
                <a:gd name="T18" fmla="*/ 19 w 5922"/>
                <a:gd name="T19" fmla="*/ 3549 h 6191"/>
                <a:gd name="T20" fmla="*/ 0 w 5922"/>
                <a:gd name="T21" fmla="*/ 3142 h 6191"/>
                <a:gd name="T22" fmla="*/ 30 w 5922"/>
                <a:gd name="T23" fmla="*/ 2734 h 6191"/>
                <a:gd name="T24" fmla="*/ 113 w 5922"/>
                <a:gd name="T25" fmla="*/ 2327 h 6191"/>
                <a:gd name="T26" fmla="*/ 182 w 5922"/>
                <a:gd name="T27" fmla="*/ 2107 h 6191"/>
                <a:gd name="T28" fmla="*/ 346 w 5922"/>
                <a:gd name="T29" fmla="*/ 1717 h 6191"/>
                <a:gd name="T30" fmla="*/ 458 w 5922"/>
                <a:gd name="T31" fmla="*/ 1513 h 6191"/>
                <a:gd name="T32" fmla="*/ 729 w 5922"/>
                <a:gd name="T33" fmla="*/ 1122 h 6191"/>
                <a:gd name="T34" fmla="*/ 925 w 5922"/>
                <a:gd name="T35" fmla="*/ 902 h 6191"/>
                <a:gd name="T36" fmla="*/ 1142 w 5922"/>
                <a:gd name="T37" fmla="*/ 699 h 6191"/>
                <a:gd name="T38" fmla="*/ 1408 w 5922"/>
                <a:gd name="T39" fmla="*/ 495 h 6191"/>
                <a:gd name="T40" fmla="*/ 1755 w 5922"/>
                <a:gd name="T41" fmla="*/ 292 h 6191"/>
                <a:gd name="T42" fmla="*/ 2095 w 5922"/>
                <a:gd name="T43" fmla="*/ 147 h 6191"/>
                <a:gd name="T44" fmla="*/ 2368 w 5922"/>
                <a:gd name="T45" fmla="*/ 69 h 6191"/>
                <a:gd name="T46" fmla="*/ 2915 w 5922"/>
                <a:gd name="T47" fmla="*/ 0 h 6191"/>
                <a:gd name="T48" fmla="*/ 3462 w 5922"/>
                <a:gd name="T49" fmla="*/ 42 h 6191"/>
                <a:gd name="T50" fmla="*/ 3735 w 5922"/>
                <a:gd name="T51" fmla="*/ 104 h 6191"/>
                <a:gd name="T52" fmla="*/ 4241 w 5922"/>
                <a:gd name="T53" fmla="*/ 292 h 6191"/>
                <a:gd name="T54" fmla="*/ 4554 w 5922"/>
                <a:gd name="T55" fmla="*/ 458 h 6191"/>
                <a:gd name="T56" fmla="*/ 4827 w 5922"/>
                <a:gd name="T57" fmla="*/ 643 h 6191"/>
                <a:gd name="T58" fmla="*/ 5101 w 5922"/>
                <a:gd name="T59" fmla="*/ 876 h 6191"/>
                <a:gd name="T60" fmla="*/ 5313 w 5922"/>
                <a:gd name="T61" fmla="*/ 1106 h 6191"/>
                <a:gd name="T62" fmla="*/ 5468 w 5922"/>
                <a:gd name="T63" fmla="*/ 1310 h 6191"/>
                <a:gd name="T64" fmla="*/ 5648 w 5922"/>
                <a:gd name="T65" fmla="*/ 1612 h 6191"/>
                <a:gd name="T66" fmla="*/ 5778 w 5922"/>
                <a:gd name="T67" fmla="*/ 1920 h 6191"/>
                <a:gd name="T68" fmla="*/ 5885 w 5922"/>
                <a:gd name="T69" fmla="*/ 2327 h 6191"/>
                <a:gd name="T70" fmla="*/ 5920 w 5922"/>
                <a:gd name="T71" fmla="*/ 2693 h 6191"/>
                <a:gd name="T72" fmla="*/ 5920 w 5922"/>
                <a:gd name="T73" fmla="*/ 2811 h 6191"/>
                <a:gd name="T74" fmla="*/ 5895 w 5922"/>
                <a:gd name="T75" fmla="*/ 3142 h 6191"/>
                <a:gd name="T76" fmla="*/ 5804 w 5922"/>
                <a:gd name="T77" fmla="*/ 3549 h 6191"/>
                <a:gd name="T78" fmla="*/ 5649 w 5922"/>
                <a:gd name="T79" fmla="*/ 3955 h 6191"/>
                <a:gd name="T80" fmla="*/ 5545 w 5922"/>
                <a:gd name="T81" fmla="*/ 4158 h 6191"/>
                <a:gd name="T82" fmla="*/ 5374 w 5922"/>
                <a:gd name="T83" fmla="*/ 4440 h 6191"/>
                <a:gd name="T84" fmla="*/ 5126 w 5922"/>
                <a:gd name="T85" fmla="*/ 4769 h 6191"/>
                <a:gd name="T86" fmla="*/ 4942 w 5922"/>
                <a:gd name="T87" fmla="*/ 4973 h 6191"/>
                <a:gd name="T88" fmla="*/ 4734 w 5922"/>
                <a:gd name="T89" fmla="*/ 5176 h 6191"/>
                <a:gd name="T90" fmla="*/ 4496 w 5922"/>
                <a:gd name="T91" fmla="*/ 5380 h 6191"/>
                <a:gd name="T92" fmla="*/ 4215 w 5922"/>
                <a:gd name="T93" fmla="*/ 5583 h 6191"/>
                <a:gd name="T94" fmla="*/ 3875 w 5922"/>
                <a:gd name="T95" fmla="*/ 5787 h 6191"/>
                <a:gd name="T96" fmla="*/ 3462 w 5922"/>
                <a:gd name="T97" fmla="*/ 5984 h 6191"/>
                <a:gd name="T98" fmla="*/ 3188 w 5922"/>
                <a:gd name="T99" fmla="*/ 6080 h 6191"/>
                <a:gd name="T100" fmla="*/ 2641 w 5922"/>
                <a:gd name="T101" fmla="*/ 6185 h 6191"/>
                <a:gd name="T102" fmla="*/ 2095 w 5922"/>
                <a:gd name="T103" fmla="*/ 6160 h 6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22" h="6191">
                  <a:moveTo>
                    <a:pt x="1821" y="6087"/>
                  </a:moveTo>
                  <a:lnTo>
                    <a:pt x="1594" y="5990"/>
                  </a:lnTo>
                  <a:lnTo>
                    <a:pt x="1549" y="5971"/>
                  </a:lnTo>
                  <a:lnTo>
                    <a:pt x="1276" y="5803"/>
                  </a:lnTo>
                  <a:lnTo>
                    <a:pt x="1255" y="5787"/>
                  </a:lnTo>
                  <a:lnTo>
                    <a:pt x="1008" y="5583"/>
                  </a:lnTo>
                  <a:lnTo>
                    <a:pt x="1002" y="5578"/>
                  </a:lnTo>
                  <a:lnTo>
                    <a:pt x="813" y="5380"/>
                  </a:lnTo>
                  <a:lnTo>
                    <a:pt x="729" y="5281"/>
                  </a:lnTo>
                  <a:lnTo>
                    <a:pt x="650" y="5176"/>
                  </a:lnTo>
                  <a:lnTo>
                    <a:pt x="512" y="4973"/>
                  </a:lnTo>
                  <a:lnTo>
                    <a:pt x="455" y="4880"/>
                  </a:lnTo>
                  <a:lnTo>
                    <a:pt x="395" y="4769"/>
                  </a:lnTo>
                  <a:lnTo>
                    <a:pt x="296" y="4565"/>
                  </a:lnTo>
                  <a:lnTo>
                    <a:pt x="211" y="4362"/>
                  </a:lnTo>
                  <a:lnTo>
                    <a:pt x="182" y="4277"/>
                  </a:lnTo>
                  <a:lnTo>
                    <a:pt x="144" y="4158"/>
                  </a:lnTo>
                  <a:lnTo>
                    <a:pt x="89" y="3955"/>
                  </a:lnTo>
                  <a:lnTo>
                    <a:pt x="47" y="3752"/>
                  </a:lnTo>
                  <a:lnTo>
                    <a:pt x="19" y="3549"/>
                  </a:lnTo>
                  <a:lnTo>
                    <a:pt x="2" y="3345"/>
                  </a:lnTo>
                  <a:lnTo>
                    <a:pt x="0" y="3142"/>
                  </a:lnTo>
                  <a:lnTo>
                    <a:pt x="8" y="2938"/>
                  </a:lnTo>
                  <a:lnTo>
                    <a:pt x="30" y="2734"/>
                  </a:lnTo>
                  <a:lnTo>
                    <a:pt x="65" y="2531"/>
                  </a:lnTo>
                  <a:lnTo>
                    <a:pt x="113" y="2327"/>
                  </a:lnTo>
                  <a:lnTo>
                    <a:pt x="176" y="2124"/>
                  </a:lnTo>
                  <a:lnTo>
                    <a:pt x="182" y="2107"/>
                  </a:lnTo>
                  <a:lnTo>
                    <a:pt x="253" y="1920"/>
                  </a:lnTo>
                  <a:lnTo>
                    <a:pt x="346" y="1717"/>
                  </a:lnTo>
                  <a:lnTo>
                    <a:pt x="455" y="1516"/>
                  </a:lnTo>
                  <a:lnTo>
                    <a:pt x="458" y="1513"/>
                  </a:lnTo>
                  <a:lnTo>
                    <a:pt x="588" y="1310"/>
                  </a:lnTo>
                  <a:lnTo>
                    <a:pt x="729" y="1122"/>
                  </a:lnTo>
                  <a:lnTo>
                    <a:pt x="742" y="1106"/>
                  </a:lnTo>
                  <a:lnTo>
                    <a:pt x="925" y="902"/>
                  </a:lnTo>
                  <a:lnTo>
                    <a:pt x="1002" y="825"/>
                  </a:lnTo>
                  <a:lnTo>
                    <a:pt x="1142" y="699"/>
                  </a:lnTo>
                  <a:lnTo>
                    <a:pt x="1276" y="589"/>
                  </a:lnTo>
                  <a:lnTo>
                    <a:pt x="1408" y="495"/>
                  </a:lnTo>
                  <a:lnTo>
                    <a:pt x="1549" y="403"/>
                  </a:lnTo>
                  <a:lnTo>
                    <a:pt x="1755" y="292"/>
                  </a:lnTo>
                  <a:lnTo>
                    <a:pt x="1821" y="258"/>
                  </a:lnTo>
                  <a:lnTo>
                    <a:pt x="2095" y="147"/>
                  </a:lnTo>
                  <a:lnTo>
                    <a:pt x="2296" y="88"/>
                  </a:lnTo>
                  <a:lnTo>
                    <a:pt x="2368" y="69"/>
                  </a:lnTo>
                  <a:lnTo>
                    <a:pt x="2641" y="20"/>
                  </a:lnTo>
                  <a:lnTo>
                    <a:pt x="2915" y="0"/>
                  </a:lnTo>
                  <a:lnTo>
                    <a:pt x="3188" y="7"/>
                  </a:lnTo>
                  <a:lnTo>
                    <a:pt x="3462" y="42"/>
                  </a:lnTo>
                  <a:lnTo>
                    <a:pt x="3666" y="88"/>
                  </a:lnTo>
                  <a:lnTo>
                    <a:pt x="3735" y="104"/>
                  </a:lnTo>
                  <a:lnTo>
                    <a:pt x="4007" y="192"/>
                  </a:lnTo>
                  <a:lnTo>
                    <a:pt x="4241" y="292"/>
                  </a:lnTo>
                  <a:lnTo>
                    <a:pt x="4281" y="309"/>
                  </a:lnTo>
                  <a:lnTo>
                    <a:pt x="4554" y="458"/>
                  </a:lnTo>
                  <a:lnTo>
                    <a:pt x="4613" y="495"/>
                  </a:lnTo>
                  <a:lnTo>
                    <a:pt x="4827" y="643"/>
                  </a:lnTo>
                  <a:lnTo>
                    <a:pt x="4897" y="699"/>
                  </a:lnTo>
                  <a:lnTo>
                    <a:pt x="5101" y="876"/>
                  </a:lnTo>
                  <a:lnTo>
                    <a:pt x="5128" y="902"/>
                  </a:lnTo>
                  <a:lnTo>
                    <a:pt x="5313" y="1106"/>
                  </a:lnTo>
                  <a:lnTo>
                    <a:pt x="5374" y="1180"/>
                  </a:lnTo>
                  <a:lnTo>
                    <a:pt x="5468" y="1310"/>
                  </a:lnTo>
                  <a:lnTo>
                    <a:pt x="5595" y="1513"/>
                  </a:lnTo>
                  <a:lnTo>
                    <a:pt x="5648" y="1612"/>
                  </a:lnTo>
                  <a:lnTo>
                    <a:pt x="5698" y="1717"/>
                  </a:lnTo>
                  <a:lnTo>
                    <a:pt x="5778" y="1920"/>
                  </a:lnTo>
                  <a:lnTo>
                    <a:pt x="5840" y="2124"/>
                  </a:lnTo>
                  <a:lnTo>
                    <a:pt x="5885" y="2327"/>
                  </a:lnTo>
                  <a:lnTo>
                    <a:pt x="5912" y="2531"/>
                  </a:lnTo>
                  <a:lnTo>
                    <a:pt x="5920" y="2693"/>
                  </a:lnTo>
                  <a:lnTo>
                    <a:pt x="5922" y="2734"/>
                  </a:lnTo>
                  <a:lnTo>
                    <a:pt x="5920" y="2811"/>
                  </a:lnTo>
                  <a:lnTo>
                    <a:pt x="5917" y="2938"/>
                  </a:lnTo>
                  <a:lnTo>
                    <a:pt x="5895" y="3142"/>
                  </a:lnTo>
                  <a:lnTo>
                    <a:pt x="5857" y="3345"/>
                  </a:lnTo>
                  <a:lnTo>
                    <a:pt x="5804" y="3549"/>
                  </a:lnTo>
                  <a:lnTo>
                    <a:pt x="5735" y="3752"/>
                  </a:lnTo>
                  <a:lnTo>
                    <a:pt x="5649" y="3955"/>
                  </a:lnTo>
                  <a:lnTo>
                    <a:pt x="5648" y="3959"/>
                  </a:lnTo>
                  <a:lnTo>
                    <a:pt x="5545" y="4158"/>
                  </a:lnTo>
                  <a:lnTo>
                    <a:pt x="5425" y="4362"/>
                  </a:lnTo>
                  <a:lnTo>
                    <a:pt x="5374" y="4440"/>
                  </a:lnTo>
                  <a:lnTo>
                    <a:pt x="5284" y="4565"/>
                  </a:lnTo>
                  <a:lnTo>
                    <a:pt x="5126" y="4769"/>
                  </a:lnTo>
                  <a:lnTo>
                    <a:pt x="5101" y="4800"/>
                  </a:lnTo>
                  <a:lnTo>
                    <a:pt x="4942" y="4973"/>
                  </a:lnTo>
                  <a:lnTo>
                    <a:pt x="4827" y="5092"/>
                  </a:lnTo>
                  <a:lnTo>
                    <a:pt x="4734" y="5176"/>
                  </a:lnTo>
                  <a:lnTo>
                    <a:pt x="4554" y="5336"/>
                  </a:lnTo>
                  <a:lnTo>
                    <a:pt x="4496" y="5380"/>
                  </a:lnTo>
                  <a:lnTo>
                    <a:pt x="4281" y="5542"/>
                  </a:lnTo>
                  <a:lnTo>
                    <a:pt x="4215" y="5583"/>
                  </a:lnTo>
                  <a:lnTo>
                    <a:pt x="4007" y="5718"/>
                  </a:lnTo>
                  <a:lnTo>
                    <a:pt x="3875" y="5787"/>
                  </a:lnTo>
                  <a:lnTo>
                    <a:pt x="3735" y="5865"/>
                  </a:lnTo>
                  <a:lnTo>
                    <a:pt x="3462" y="5984"/>
                  </a:lnTo>
                  <a:lnTo>
                    <a:pt x="3441" y="5990"/>
                  </a:lnTo>
                  <a:lnTo>
                    <a:pt x="3188" y="6080"/>
                  </a:lnTo>
                  <a:lnTo>
                    <a:pt x="2915" y="6148"/>
                  </a:lnTo>
                  <a:lnTo>
                    <a:pt x="2641" y="6185"/>
                  </a:lnTo>
                  <a:lnTo>
                    <a:pt x="2368" y="6191"/>
                  </a:lnTo>
                  <a:lnTo>
                    <a:pt x="2095" y="6160"/>
                  </a:lnTo>
                  <a:lnTo>
                    <a:pt x="1821" y="6087"/>
                  </a:lnTo>
                </a:path>
              </a:pathLst>
            </a:custGeom>
            <a:noFill/>
            <a:ln w="12700" cmpd="sng">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38" name="Freeform 1786">
              <a:extLst>
                <a:ext uri="{FF2B5EF4-FFF2-40B4-BE49-F238E27FC236}">
                  <a16:creationId xmlns:a16="http://schemas.microsoft.com/office/drawing/2014/main" id="{42CFC187-59AD-4D05-9B98-9915A89108CB}"/>
                </a:ext>
              </a:extLst>
            </p:cNvPr>
            <p:cNvSpPr>
              <a:spLocks noChangeAspect="1"/>
            </p:cNvSpPr>
            <p:nvPr/>
          </p:nvSpPr>
          <p:spPr bwMode="auto">
            <a:xfrm>
              <a:off x="8839200" y="2110740"/>
              <a:ext cx="808038" cy="1060450"/>
            </a:xfrm>
            <a:custGeom>
              <a:avLst/>
              <a:gdLst>
                <a:gd name="T0" fmla="*/ 1933 w 4784"/>
                <a:gd name="T1" fmla="*/ 4695 h 4706"/>
                <a:gd name="T2" fmla="*/ 1426 w 4784"/>
                <a:gd name="T3" fmla="*/ 4580 h 4706"/>
                <a:gd name="T4" fmla="*/ 1152 w 4784"/>
                <a:gd name="T5" fmla="*/ 4453 h 4706"/>
                <a:gd name="T6" fmla="*/ 880 w 4784"/>
                <a:gd name="T7" fmla="*/ 4273 h 4706"/>
                <a:gd name="T8" fmla="*/ 607 w 4784"/>
                <a:gd name="T9" fmla="*/ 4019 h 4706"/>
                <a:gd name="T10" fmla="*/ 348 w 4784"/>
                <a:gd name="T11" fmla="*/ 3677 h 4706"/>
                <a:gd name="T12" fmla="*/ 238 w 4784"/>
                <a:gd name="T13" fmla="*/ 3473 h 4706"/>
                <a:gd name="T14" fmla="*/ 83 w 4784"/>
                <a:gd name="T15" fmla="*/ 3067 h 4706"/>
                <a:gd name="T16" fmla="*/ 37 w 4784"/>
                <a:gd name="T17" fmla="*/ 2864 h 4706"/>
                <a:gd name="T18" fmla="*/ 0 w 4784"/>
                <a:gd name="T19" fmla="*/ 2457 h 4706"/>
                <a:gd name="T20" fmla="*/ 34 w 4784"/>
                <a:gd name="T21" fmla="*/ 2049 h 4706"/>
                <a:gd name="T22" fmla="*/ 78 w 4784"/>
                <a:gd name="T23" fmla="*/ 1846 h 4706"/>
                <a:gd name="T24" fmla="*/ 224 w 4784"/>
                <a:gd name="T25" fmla="*/ 1439 h 4706"/>
                <a:gd name="T26" fmla="*/ 333 w 4784"/>
                <a:gd name="T27" fmla="*/ 1229 h 4706"/>
                <a:gd name="T28" fmla="*/ 607 w 4784"/>
                <a:gd name="T29" fmla="*/ 851 h 4706"/>
                <a:gd name="T30" fmla="*/ 830 w 4784"/>
                <a:gd name="T31" fmla="*/ 625 h 4706"/>
                <a:gd name="T32" fmla="*/ 1094 w 4784"/>
                <a:gd name="T33" fmla="*/ 421 h 4706"/>
                <a:gd name="T34" fmla="*/ 1426 w 4784"/>
                <a:gd name="T35" fmla="*/ 233 h 4706"/>
                <a:gd name="T36" fmla="*/ 1699 w 4784"/>
                <a:gd name="T37" fmla="*/ 124 h 4706"/>
                <a:gd name="T38" fmla="*/ 2229 w 4784"/>
                <a:gd name="T39" fmla="*/ 14 h 4706"/>
                <a:gd name="T40" fmla="*/ 2519 w 4784"/>
                <a:gd name="T41" fmla="*/ 0 h 4706"/>
                <a:gd name="T42" fmla="*/ 2793 w 4784"/>
                <a:gd name="T43" fmla="*/ 19 h 4706"/>
                <a:gd name="T44" fmla="*/ 3338 w 4784"/>
                <a:gd name="T45" fmla="*/ 152 h 4706"/>
                <a:gd name="T46" fmla="*/ 3612 w 4784"/>
                <a:gd name="T47" fmla="*/ 275 h 4706"/>
                <a:gd name="T48" fmla="*/ 3885 w 4784"/>
                <a:gd name="T49" fmla="*/ 443 h 4706"/>
                <a:gd name="T50" fmla="*/ 4158 w 4784"/>
                <a:gd name="T51" fmla="*/ 675 h 4706"/>
                <a:gd name="T52" fmla="*/ 4432 w 4784"/>
                <a:gd name="T53" fmla="*/ 1004 h 4706"/>
                <a:gd name="T54" fmla="*/ 4565 w 4784"/>
                <a:gd name="T55" fmla="*/ 1235 h 4706"/>
                <a:gd name="T56" fmla="*/ 4705 w 4784"/>
                <a:gd name="T57" fmla="*/ 1587 h 4706"/>
                <a:gd name="T58" fmla="*/ 4763 w 4784"/>
                <a:gd name="T59" fmla="*/ 1846 h 4706"/>
                <a:gd name="T60" fmla="*/ 4784 w 4784"/>
                <a:gd name="T61" fmla="*/ 2253 h 4706"/>
                <a:gd name="T62" fmla="*/ 4727 w 4784"/>
                <a:gd name="T63" fmla="*/ 2660 h 4706"/>
                <a:gd name="T64" fmla="*/ 4667 w 4784"/>
                <a:gd name="T65" fmla="*/ 2864 h 4706"/>
                <a:gd name="T66" fmla="*/ 4485 w 4784"/>
                <a:gd name="T67" fmla="*/ 3270 h 4706"/>
                <a:gd name="T68" fmla="*/ 4356 w 4784"/>
                <a:gd name="T69" fmla="*/ 3473 h 4706"/>
                <a:gd name="T70" fmla="*/ 4158 w 4784"/>
                <a:gd name="T71" fmla="*/ 3732 h 4706"/>
                <a:gd name="T72" fmla="*/ 3885 w 4784"/>
                <a:gd name="T73" fmla="*/ 4006 h 4706"/>
                <a:gd name="T74" fmla="*/ 3612 w 4784"/>
                <a:gd name="T75" fmla="*/ 4221 h 4706"/>
                <a:gd name="T76" fmla="*/ 3338 w 4784"/>
                <a:gd name="T77" fmla="*/ 4391 h 4706"/>
                <a:gd name="T78" fmla="*/ 3066 w 4784"/>
                <a:gd name="T79" fmla="*/ 4521 h 4706"/>
                <a:gd name="T80" fmla="*/ 2519 w 4784"/>
                <a:gd name="T81" fmla="*/ 4677 h 4706"/>
                <a:gd name="T82" fmla="*/ 2246 w 4784"/>
                <a:gd name="T83" fmla="*/ 4706 h 4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84" h="4706">
                  <a:moveTo>
                    <a:pt x="1972" y="4701"/>
                  </a:moveTo>
                  <a:lnTo>
                    <a:pt x="1933" y="4695"/>
                  </a:lnTo>
                  <a:lnTo>
                    <a:pt x="1699" y="4660"/>
                  </a:lnTo>
                  <a:lnTo>
                    <a:pt x="1426" y="4580"/>
                  </a:lnTo>
                  <a:lnTo>
                    <a:pt x="1231" y="4491"/>
                  </a:lnTo>
                  <a:lnTo>
                    <a:pt x="1152" y="4453"/>
                  </a:lnTo>
                  <a:lnTo>
                    <a:pt x="900" y="4288"/>
                  </a:lnTo>
                  <a:lnTo>
                    <a:pt x="880" y="4273"/>
                  </a:lnTo>
                  <a:lnTo>
                    <a:pt x="670" y="4084"/>
                  </a:lnTo>
                  <a:lnTo>
                    <a:pt x="607" y="4019"/>
                  </a:lnTo>
                  <a:lnTo>
                    <a:pt x="491" y="3880"/>
                  </a:lnTo>
                  <a:lnTo>
                    <a:pt x="348" y="3677"/>
                  </a:lnTo>
                  <a:lnTo>
                    <a:pt x="333" y="3651"/>
                  </a:lnTo>
                  <a:lnTo>
                    <a:pt x="238" y="3473"/>
                  </a:lnTo>
                  <a:lnTo>
                    <a:pt x="150" y="3270"/>
                  </a:lnTo>
                  <a:lnTo>
                    <a:pt x="83" y="3067"/>
                  </a:lnTo>
                  <a:lnTo>
                    <a:pt x="60" y="2962"/>
                  </a:lnTo>
                  <a:lnTo>
                    <a:pt x="37" y="2864"/>
                  </a:lnTo>
                  <a:lnTo>
                    <a:pt x="10" y="2660"/>
                  </a:lnTo>
                  <a:lnTo>
                    <a:pt x="0" y="2457"/>
                  </a:lnTo>
                  <a:lnTo>
                    <a:pt x="8" y="2253"/>
                  </a:lnTo>
                  <a:lnTo>
                    <a:pt x="34" y="2049"/>
                  </a:lnTo>
                  <a:lnTo>
                    <a:pt x="60" y="1930"/>
                  </a:lnTo>
                  <a:lnTo>
                    <a:pt x="78" y="1846"/>
                  </a:lnTo>
                  <a:lnTo>
                    <a:pt x="141" y="1642"/>
                  </a:lnTo>
                  <a:lnTo>
                    <a:pt x="224" y="1439"/>
                  </a:lnTo>
                  <a:lnTo>
                    <a:pt x="330" y="1235"/>
                  </a:lnTo>
                  <a:lnTo>
                    <a:pt x="333" y="1229"/>
                  </a:lnTo>
                  <a:lnTo>
                    <a:pt x="464" y="1032"/>
                  </a:lnTo>
                  <a:lnTo>
                    <a:pt x="607" y="851"/>
                  </a:lnTo>
                  <a:lnTo>
                    <a:pt x="626" y="828"/>
                  </a:lnTo>
                  <a:lnTo>
                    <a:pt x="830" y="625"/>
                  </a:lnTo>
                  <a:lnTo>
                    <a:pt x="880" y="581"/>
                  </a:lnTo>
                  <a:lnTo>
                    <a:pt x="1094" y="421"/>
                  </a:lnTo>
                  <a:lnTo>
                    <a:pt x="1152" y="381"/>
                  </a:lnTo>
                  <a:lnTo>
                    <a:pt x="1426" y="233"/>
                  </a:lnTo>
                  <a:lnTo>
                    <a:pt x="1463" y="217"/>
                  </a:lnTo>
                  <a:lnTo>
                    <a:pt x="1699" y="124"/>
                  </a:lnTo>
                  <a:lnTo>
                    <a:pt x="1972" y="53"/>
                  </a:lnTo>
                  <a:lnTo>
                    <a:pt x="2229" y="14"/>
                  </a:lnTo>
                  <a:lnTo>
                    <a:pt x="2246" y="12"/>
                  </a:lnTo>
                  <a:lnTo>
                    <a:pt x="2519" y="0"/>
                  </a:lnTo>
                  <a:lnTo>
                    <a:pt x="2725" y="14"/>
                  </a:lnTo>
                  <a:lnTo>
                    <a:pt x="2793" y="19"/>
                  </a:lnTo>
                  <a:lnTo>
                    <a:pt x="3066" y="68"/>
                  </a:lnTo>
                  <a:lnTo>
                    <a:pt x="3338" y="152"/>
                  </a:lnTo>
                  <a:lnTo>
                    <a:pt x="3488" y="217"/>
                  </a:lnTo>
                  <a:lnTo>
                    <a:pt x="3612" y="275"/>
                  </a:lnTo>
                  <a:lnTo>
                    <a:pt x="3851" y="421"/>
                  </a:lnTo>
                  <a:lnTo>
                    <a:pt x="3885" y="443"/>
                  </a:lnTo>
                  <a:lnTo>
                    <a:pt x="4104" y="625"/>
                  </a:lnTo>
                  <a:lnTo>
                    <a:pt x="4158" y="675"/>
                  </a:lnTo>
                  <a:lnTo>
                    <a:pt x="4296" y="828"/>
                  </a:lnTo>
                  <a:lnTo>
                    <a:pt x="4432" y="1004"/>
                  </a:lnTo>
                  <a:lnTo>
                    <a:pt x="4450" y="1032"/>
                  </a:lnTo>
                  <a:lnTo>
                    <a:pt x="4565" y="1235"/>
                  </a:lnTo>
                  <a:lnTo>
                    <a:pt x="4656" y="1439"/>
                  </a:lnTo>
                  <a:lnTo>
                    <a:pt x="4705" y="1587"/>
                  </a:lnTo>
                  <a:lnTo>
                    <a:pt x="4721" y="1642"/>
                  </a:lnTo>
                  <a:lnTo>
                    <a:pt x="4763" y="1846"/>
                  </a:lnTo>
                  <a:lnTo>
                    <a:pt x="4784" y="2049"/>
                  </a:lnTo>
                  <a:lnTo>
                    <a:pt x="4784" y="2253"/>
                  </a:lnTo>
                  <a:lnTo>
                    <a:pt x="4765" y="2457"/>
                  </a:lnTo>
                  <a:lnTo>
                    <a:pt x="4727" y="2660"/>
                  </a:lnTo>
                  <a:lnTo>
                    <a:pt x="4705" y="2737"/>
                  </a:lnTo>
                  <a:lnTo>
                    <a:pt x="4667" y="2864"/>
                  </a:lnTo>
                  <a:lnTo>
                    <a:pt x="4586" y="3067"/>
                  </a:lnTo>
                  <a:lnTo>
                    <a:pt x="4485" y="3270"/>
                  </a:lnTo>
                  <a:lnTo>
                    <a:pt x="4432" y="3359"/>
                  </a:lnTo>
                  <a:lnTo>
                    <a:pt x="4356" y="3473"/>
                  </a:lnTo>
                  <a:lnTo>
                    <a:pt x="4205" y="3677"/>
                  </a:lnTo>
                  <a:lnTo>
                    <a:pt x="4158" y="3732"/>
                  </a:lnTo>
                  <a:lnTo>
                    <a:pt x="4016" y="3880"/>
                  </a:lnTo>
                  <a:lnTo>
                    <a:pt x="3885" y="4006"/>
                  </a:lnTo>
                  <a:lnTo>
                    <a:pt x="3789" y="4084"/>
                  </a:lnTo>
                  <a:lnTo>
                    <a:pt x="3612" y="4221"/>
                  </a:lnTo>
                  <a:lnTo>
                    <a:pt x="3505" y="4288"/>
                  </a:lnTo>
                  <a:lnTo>
                    <a:pt x="3338" y="4391"/>
                  </a:lnTo>
                  <a:lnTo>
                    <a:pt x="3126" y="4491"/>
                  </a:lnTo>
                  <a:lnTo>
                    <a:pt x="3066" y="4521"/>
                  </a:lnTo>
                  <a:lnTo>
                    <a:pt x="2793" y="4615"/>
                  </a:lnTo>
                  <a:lnTo>
                    <a:pt x="2519" y="4677"/>
                  </a:lnTo>
                  <a:lnTo>
                    <a:pt x="2344" y="4695"/>
                  </a:lnTo>
                  <a:lnTo>
                    <a:pt x="2246" y="4706"/>
                  </a:lnTo>
                  <a:lnTo>
                    <a:pt x="1972" y="4701"/>
                  </a:lnTo>
                </a:path>
              </a:pathLst>
            </a:custGeom>
            <a:noFill/>
            <a:ln w="12700" cmpd="sng">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39" name="Freeform 1787">
              <a:extLst>
                <a:ext uri="{FF2B5EF4-FFF2-40B4-BE49-F238E27FC236}">
                  <a16:creationId xmlns:a16="http://schemas.microsoft.com/office/drawing/2014/main" id="{BAC31D0E-7CFA-467A-8AF1-5264F360F792}"/>
                </a:ext>
              </a:extLst>
            </p:cNvPr>
            <p:cNvSpPr>
              <a:spLocks noChangeAspect="1"/>
            </p:cNvSpPr>
            <p:nvPr/>
          </p:nvSpPr>
          <p:spPr bwMode="auto">
            <a:xfrm>
              <a:off x="8947150" y="2248853"/>
              <a:ext cx="617538" cy="779462"/>
            </a:xfrm>
            <a:custGeom>
              <a:avLst/>
              <a:gdLst>
                <a:gd name="T0" fmla="*/ 1056 w 3658"/>
                <a:gd name="T1" fmla="*/ 3352 h 3469"/>
                <a:gd name="T2" fmla="*/ 891 w 3658"/>
                <a:gd name="T3" fmla="*/ 3271 h 3469"/>
                <a:gd name="T4" fmla="*/ 783 w 3658"/>
                <a:gd name="T5" fmla="*/ 3213 h 3469"/>
                <a:gd name="T6" fmla="*/ 589 w 3658"/>
                <a:gd name="T7" fmla="*/ 3068 h 3469"/>
                <a:gd name="T8" fmla="*/ 509 w 3658"/>
                <a:gd name="T9" fmla="*/ 2997 h 3469"/>
                <a:gd name="T10" fmla="*/ 388 w 3658"/>
                <a:gd name="T11" fmla="*/ 2864 h 3469"/>
                <a:gd name="T12" fmla="*/ 241 w 3658"/>
                <a:gd name="T13" fmla="*/ 2661 h 3469"/>
                <a:gd name="T14" fmla="*/ 237 w 3658"/>
                <a:gd name="T15" fmla="*/ 2654 h 3469"/>
                <a:gd name="T16" fmla="*/ 138 w 3658"/>
                <a:gd name="T17" fmla="*/ 2458 h 3469"/>
                <a:gd name="T18" fmla="*/ 65 w 3658"/>
                <a:gd name="T19" fmla="*/ 2255 h 3469"/>
                <a:gd name="T20" fmla="*/ 20 w 3658"/>
                <a:gd name="T21" fmla="*/ 2051 h 3469"/>
                <a:gd name="T22" fmla="*/ 0 w 3658"/>
                <a:gd name="T23" fmla="*/ 1848 h 3469"/>
                <a:gd name="T24" fmla="*/ 5 w 3658"/>
                <a:gd name="T25" fmla="*/ 1644 h 3469"/>
                <a:gd name="T26" fmla="*/ 34 w 3658"/>
                <a:gd name="T27" fmla="*/ 1440 h 3469"/>
                <a:gd name="T28" fmla="*/ 91 w 3658"/>
                <a:gd name="T29" fmla="*/ 1237 h 3469"/>
                <a:gd name="T30" fmla="*/ 174 w 3658"/>
                <a:gd name="T31" fmla="*/ 1033 h 3469"/>
                <a:gd name="T32" fmla="*/ 237 w 3658"/>
                <a:gd name="T33" fmla="*/ 919 h 3469"/>
                <a:gd name="T34" fmla="*/ 291 w 3658"/>
                <a:gd name="T35" fmla="*/ 830 h 3469"/>
                <a:gd name="T36" fmla="*/ 448 w 3658"/>
                <a:gd name="T37" fmla="*/ 626 h 3469"/>
                <a:gd name="T38" fmla="*/ 509 w 3658"/>
                <a:gd name="T39" fmla="*/ 561 h 3469"/>
                <a:gd name="T40" fmla="*/ 663 w 3658"/>
                <a:gd name="T41" fmla="*/ 423 h 3469"/>
                <a:gd name="T42" fmla="*/ 783 w 3658"/>
                <a:gd name="T43" fmla="*/ 332 h 3469"/>
                <a:gd name="T44" fmla="*/ 974 w 3658"/>
                <a:gd name="T45" fmla="*/ 219 h 3469"/>
                <a:gd name="T46" fmla="*/ 1056 w 3658"/>
                <a:gd name="T47" fmla="*/ 176 h 3469"/>
                <a:gd name="T48" fmla="*/ 1329 w 3658"/>
                <a:gd name="T49" fmla="*/ 75 h 3469"/>
                <a:gd name="T50" fmla="*/ 1603 w 3658"/>
                <a:gd name="T51" fmla="*/ 19 h 3469"/>
                <a:gd name="T52" fmla="*/ 1641 w 3658"/>
                <a:gd name="T53" fmla="*/ 16 h 3469"/>
                <a:gd name="T54" fmla="*/ 1876 w 3658"/>
                <a:gd name="T55" fmla="*/ 0 h 3469"/>
                <a:gd name="T56" fmla="*/ 2062 w 3658"/>
                <a:gd name="T57" fmla="*/ 16 h 3469"/>
                <a:gd name="T58" fmla="*/ 2150 w 3658"/>
                <a:gd name="T59" fmla="*/ 23 h 3469"/>
                <a:gd name="T60" fmla="*/ 2423 w 3658"/>
                <a:gd name="T61" fmla="*/ 83 h 3469"/>
                <a:gd name="T62" fmla="*/ 2695 w 3658"/>
                <a:gd name="T63" fmla="*/ 187 h 3469"/>
                <a:gd name="T64" fmla="*/ 2755 w 3658"/>
                <a:gd name="T65" fmla="*/ 219 h 3469"/>
                <a:gd name="T66" fmla="*/ 2969 w 3658"/>
                <a:gd name="T67" fmla="*/ 347 h 3469"/>
                <a:gd name="T68" fmla="*/ 3065 w 3658"/>
                <a:gd name="T69" fmla="*/ 423 h 3469"/>
                <a:gd name="T70" fmla="*/ 3242 w 3658"/>
                <a:gd name="T71" fmla="*/ 585 h 3469"/>
                <a:gd name="T72" fmla="*/ 3278 w 3658"/>
                <a:gd name="T73" fmla="*/ 626 h 3469"/>
                <a:gd name="T74" fmla="*/ 3428 w 3658"/>
                <a:gd name="T75" fmla="*/ 830 h 3469"/>
                <a:gd name="T76" fmla="*/ 3515 w 3658"/>
                <a:gd name="T77" fmla="*/ 989 h 3469"/>
                <a:gd name="T78" fmla="*/ 3537 w 3658"/>
                <a:gd name="T79" fmla="*/ 1033 h 3469"/>
                <a:gd name="T80" fmla="*/ 3607 w 3658"/>
                <a:gd name="T81" fmla="*/ 1237 h 3469"/>
                <a:gd name="T82" fmla="*/ 3646 w 3658"/>
                <a:gd name="T83" fmla="*/ 1440 h 3469"/>
                <a:gd name="T84" fmla="*/ 3658 w 3658"/>
                <a:gd name="T85" fmla="*/ 1644 h 3469"/>
                <a:gd name="T86" fmla="*/ 3644 w 3658"/>
                <a:gd name="T87" fmla="*/ 1848 h 3469"/>
                <a:gd name="T88" fmla="*/ 3602 w 3658"/>
                <a:gd name="T89" fmla="*/ 2051 h 3469"/>
                <a:gd name="T90" fmla="*/ 3532 w 3658"/>
                <a:gd name="T91" fmla="*/ 2255 h 3469"/>
                <a:gd name="T92" fmla="*/ 3515 w 3658"/>
                <a:gd name="T93" fmla="*/ 2292 h 3469"/>
                <a:gd name="T94" fmla="*/ 3429 w 3658"/>
                <a:gd name="T95" fmla="*/ 2458 h 3469"/>
                <a:gd name="T96" fmla="*/ 3294 w 3658"/>
                <a:gd name="T97" fmla="*/ 2661 h 3469"/>
                <a:gd name="T98" fmla="*/ 3242 w 3658"/>
                <a:gd name="T99" fmla="*/ 2726 h 3469"/>
                <a:gd name="T100" fmla="*/ 3112 w 3658"/>
                <a:gd name="T101" fmla="*/ 2864 h 3469"/>
                <a:gd name="T102" fmla="*/ 2969 w 3658"/>
                <a:gd name="T103" fmla="*/ 2997 h 3469"/>
                <a:gd name="T104" fmla="*/ 2873 w 3658"/>
                <a:gd name="T105" fmla="*/ 3068 h 3469"/>
                <a:gd name="T106" fmla="*/ 2695 w 3658"/>
                <a:gd name="T107" fmla="*/ 3190 h 3469"/>
                <a:gd name="T108" fmla="*/ 2531 w 3658"/>
                <a:gd name="T109" fmla="*/ 3271 h 3469"/>
                <a:gd name="T110" fmla="*/ 2423 w 3658"/>
                <a:gd name="T111" fmla="*/ 3324 h 3469"/>
                <a:gd name="T112" fmla="*/ 2150 w 3658"/>
                <a:gd name="T113" fmla="*/ 3413 h 3469"/>
                <a:gd name="T114" fmla="*/ 1876 w 3658"/>
                <a:gd name="T115" fmla="*/ 3462 h 3469"/>
                <a:gd name="T116" fmla="*/ 1603 w 3658"/>
                <a:gd name="T117" fmla="*/ 3469 h 3469"/>
                <a:gd name="T118" fmla="*/ 1329 w 3658"/>
                <a:gd name="T119" fmla="*/ 3433 h 3469"/>
                <a:gd name="T120" fmla="*/ 1056 w 3658"/>
                <a:gd name="T121" fmla="*/ 3352 h 3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58" h="3469">
                  <a:moveTo>
                    <a:pt x="1056" y="3352"/>
                  </a:moveTo>
                  <a:lnTo>
                    <a:pt x="891" y="3271"/>
                  </a:lnTo>
                  <a:lnTo>
                    <a:pt x="783" y="3213"/>
                  </a:lnTo>
                  <a:lnTo>
                    <a:pt x="589" y="3068"/>
                  </a:lnTo>
                  <a:lnTo>
                    <a:pt x="509" y="2997"/>
                  </a:lnTo>
                  <a:lnTo>
                    <a:pt x="388" y="2864"/>
                  </a:lnTo>
                  <a:lnTo>
                    <a:pt x="241" y="2661"/>
                  </a:lnTo>
                  <a:lnTo>
                    <a:pt x="237" y="2654"/>
                  </a:lnTo>
                  <a:lnTo>
                    <a:pt x="138" y="2458"/>
                  </a:lnTo>
                  <a:lnTo>
                    <a:pt x="65" y="2255"/>
                  </a:lnTo>
                  <a:lnTo>
                    <a:pt x="20" y="2051"/>
                  </a:lnTo>
                  <a:lnTo>
                    <a:pt x="0" y="1848"/>
                  </a:lnTo>
                  <a:lnTo>
                    <a:pt x="5" y="1644"/>
                  </a:lnTo>
                  <a:lnTo>
                    <a:pt x="34" y="1440"/>
                  </a:lnTo>
                  <a:lnTo>
                    <a:pt x="91" y="1237"/>
                  </a:lnTo>
                  <a:lnTo>
                    <a:pt x="174" y="1033"/>
                  </a:lnTo>
                  <a:lnTo>
                    <a:pt x="237" y="919"/>
                  </a:lnTo>
                  <a:lnTo>
                    <a:pt x="291" y="830"/>
                  </a:lnTo>
                  <a:lnTo>
                    <a:pt x="448" y="626"/>
                  </a:lnTo>
                  <a:lnTo>
                    <a:pt x="509" y="561"/>
                  </a:lnTo>
                  <a:lnTo>
                    <a:pt x="663" y="423"/>
                  </a:lnTo>
                  <a:lnTo>
                    <a:pt x="783" y="332"/>
                  </a:lnTo>
                  <a:lnTo>
                    <a:pt x="974" y="219"/>
                  </a:lnTo>
                  <a:lnTo>
                    <a:pt x="1056" y="176"/>
                  </a:lnTo>
                  <a:lnTo>
                    <a:pt x="1329" y="75"/>
                  </a:lnTo>
                  <a:lnTo>
                    <a:pt x="1603" y="19"/>
                  </a:lnTo>
                  <a:lnTo>
                    <a:pt x="1641" y="16"/>
                  </a:lnTo>
                  <a:lnTo>
                    <a:pt x="1876" y="0"/>
                  </a:lnTo>
                  <a:lnTo>
                    <a:pt x="2062" y="16"/>
                  </a:lnTo>
                  <a:lnTo>
                    <a:pt x="2150" y="23"/>
                  </a:lnTo>
                  <a:lnTo>
                    <a:pt x="2423" y="83"/>
                  </a:lnTo>
                  <a:lnTo>
                    <a:pt x="2695" y="187"/>
                  </a:lnTo>
                  <a:lnTo>
                    <a:pt x="2755" y="219"/>
                  </a:lnTo>
                  <a:lnTo>
                    <a:pt x="2969" y="347"/>
                  </a:lnTo>
                  <a:lnTo>
                    <a:pt x="3065" y="423"/>
                  </a:lnTo>
                  <a:lnTo>
                    <a:pt x="3242" y="585"/>
                  </a:lnTo>
                  <a:lnTo>
                    <a:pt x="3278" y="626"/>
                  </a:lnTo>
                  <a:lnTo>
                    <a:pt x="3428" y="830"/>
                  </a:lnTo>
                  <a:lnTo>
                    <a:pt x="3515" y="989"/>
                  </a:lnTo>
                  <a:lnTo>
                    <a:pt x="3537" y="1033"/>
                  </a:lnTo>
                  <a:lnTo>
                    <a:pt x="3607" y="1237"/>
                  </a:lnTo>
                  <a:lnTo>
                    <a:pt x="3646" y="1440"/>
                  </a:lnTo>
                  <a:lnTo>
                    <a:pt x="3658" y="1644"/>
                  </a:lnTo>
                  <a:lnTo>
                    <a:pt x="3644" y="1848"/>
                  </a:lnTo>
                  <a:lnTo>
                    <a:pt x="3602" y="2051"/>
                  </a:lnTo>
                  <a:lnTo>
                    <a:pt x="3532" y="2255"/>
                  </a:lnTo>
                  <a:lnTo>
                    <a:pt x="3515" y="2292"/>
                  </a:lnTo>
                  <a:lnTo>
                    <a:pt x="3429" y="2458"/>
                  </a:lnTo>
                  <a:lnTo>
                    <a:pt x="3294" y="2661"/>
                  </a:lnTo>
                  <a:lnTo>
                    <a:pt x="3242" y="2726"/>
                  </a:lnTo>
                  <a:lnTo>
                    <a:pt x="3112" y="2864"/>
                  </a:lnTo>
                  <a:lnTo>
                    <a:pt x="2969" y="2997"/>
                  </a:lnTo>
                  <a:lnTo>
                    <a:pt x="2873" y="3068"/>
                  </a:lnTo>
                  <a:lnTo>
                    <a:pt x="2695" y="3190"/>
                  </a:lnTo>
                  <a:lnTo>
                    <a:pt x="2531" y="3271"/>
                  </a:lnTo>
                  <a:lnTo>
                    <a:pt x="2423" y="3324"/>
                  </a:lnTo>
                  <a:lnTo>
                    <a:pt x="2150" y="3413"/>
                  </a:lnTo>
                  <a:lnTo>
                    <a:pt x="1876" y="3462"/>
                  </a:lnTo>
                  <a:lnTo>
                    <a:pt x="1603" y="3469"/>
                  </a:lnTo>
                  <a:lnTo>
                    <a:pt x="1329" y="3433"/>
                  </a:lnTo>
                  <a:lnTo>
                    <a:pt x="1056" y="3352"/>
                  </a:lnTo>
                </a:path>
              </a:pathLst>
            </a:custGeom>
            <a:noFill/>
            <a:ln w="12700" cmpd="sng">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40" name="Freeform 1788">
              <a:extLst>
                <a:ext uri="{FF2B5EF4-FFF2-40B4-BE49-F238E27FC236}">
                  <a16:creationId xmlns:a16="http://schemas.microsoft.com/office/drawing/2014/main" id="{CC3FE588-44DF-4B03-B7DC-803EF0DE9715}"/>
                </a:ext>
              </a:extLst>
            </p:cNvPr>
            <p:cNvSpPr>
              <a:spLocks noChangeAspect="1"/>
            </p:cNvSpPr>
            <p:nvPr/>
          </p:nvSpPr>
          <p:spPr bwMode="auto">
            <a:xfrm>
              <a:off x="9064625" y="2380615"/>
              <a:ext cx="407988" cy="509588"/>
            </a:xfrm>
            <a:custGeom>
              <a:avLst/>
              <a:gdLst>
                <a:gd name="T0" fmla="*/ 644 w 2424"/>
                <a:gd name="T1" fmla="*/ 2156 h 2261"/>
                <a:gd name="T2" fmla="*/ 496 w 2424"/>
                <a:gd name="T3" fmla="*/ 2071 h 2261"/>
                <a:gd name="T4" fmla="*/ 371 w 2424"/>
                <a:gd name="T5" fmla="*/ 1981 h 2261"/>
                <a:gd name="T6" fmla="*/ 260 w 2424"/>
                <a:gd name="T7" fmla="*/ 1868 h 2261"/>
                <a:gd name="T8" fmla="*/ 118 w 2424"/>
                <a:gd name="T9" fmla="*/ 1665 h 2261"/>
                <a:gd name="T10" fmla="*/ 98 w 2424"/>
                <a:gd name="T11" fmla="*/ 1622 h 2261"/>
                <a:gd name="T12" fmla="*/ 37 w 2424"/>
                <a:gd name="T13" fmla="*/ 1461 h 2261"/>
                <a:gd name="T14" fmla="*/ 0 w 2424"/>
                <a:gd name="T15" fmla="*/ 1258 h 2261"/>
                <a:gd name="T16" fmla="*/ 2 w 2424"/>
                <a:gd name="T17" fmla="*/ 1054 h 2261"/>
                <a:gd name="T18" fmla="*/ 43 w 2424"/>
                <a:gd name="T19" fmla="*/ 850 h 2261"/>
                <a:gd name="T20" fmla="*/ 98 w 2424"/>
                <a:gd name="T21" fmla="*/ 709 h 2261"/>
                <a:gd name="T22" fmla="*/ 127 w 2424"/>
                <a:gd name="T23" fmla="*/ 647 h 2261"/>
                <a:gd name="T24" fmla="*/ 269 w 2424"/>
                <a:gd name="T25" fmla="*/ 443 h 2261"/>
                <a:gd name="T26" fmla="*/ 371 w 2424"/>
                <a:gd name="T27" fmla="*/ 336 h 2261"/>
                <a:gd name="T28" fmla="*/ 494 w 2424"/>
                <a:gd name="T29" fmla="*/ 240 h 2261"/>
                <a:gd name="T30" fmla="*/ 644 w 2424"/>
                <a:gd name="T31" fmla="*/ 146 h 2261"/>
                <a:gd name="T32" fmla="*/ 918 w 2424"/>
                <a:gd name="T33" fmla="*/ 39 h 2261"/>
                <a:gd name="T34" fmla="*/ 937 w 2424"/>
                <a:gd name="T35" fmla="*/ 36 h 2261"/>
                <a:gd name="T36" fmla="*/ 1191 w 2424"/>
                <a:gd name="T37" fmla="*/ 0 h 2261"/>
                <a:gd name="T38" fmla="*/ 1465 w 2424"/>
                <a:gd name="T39" fmla="*/ 18 h 2261"/>
                <a:gd name="T40" fmla="*/ 1531 w 2424"/>
                <a:gd name="T41" fmla="*/ 36 h 2261"/>
                <a:gd name="T42" fmla="*/ 1738 w 2424"/>
                <a:gd name="T43" fmla="*/ 100 h 2261"/>
                <a:gd name="T44" fmla="*/ 1990 w 2424"/>
                <a:gd name="T45" fmla="*/ 240 h 2261"/>
                <a:gd name="T46" fmla="*/ 2010 w 2424"/>
                <a:gd name="T47" fmla="*/ 254 h 2261"/>
                <a:gd name="T48" fmla="*/ 2198 w 2424"/>
                <a:gd name="T49" fmla="*/ 443 h 2261"/>
                <a:gd name="T50" fmla="*/ 2284 w 2424"/>
                <a:gd name="T51" fmla="*/ 564 h 2261"/>
                <a:gd name="T52" fmla="*/ 2330 w 2424"/>
                <a:gd name="T53" fmla="*/ 647 h 2261"/>
                <a:gd name="T54" fmla="*/ 2398 w 2424"/>
                <a:gd name="T55" fmla="*/ 850 h 2261"/>
                <a:gd name="T56" fmla="*/ 2424 w 2424"/>
                <a:gd name="T57" fmla="*/ 1054 h 2261"/>
                <a:gd name="T58" fmla="*/ 2409 w 2424"/>
                <a:gd name="T59" fmla="*/ 1258 h 2261"/>
                <a:gd name="T60" fmla="*/ 2352 w 2424"/>
                <a:gd name="T61" fmla="*/ 1461 h 2261"/>
                <a:gd name="T62" fmla="*/ 2284 w 2424"/>
                <a:gd name="T63" fmla="*/ 1605 h 2261"/>
                <a:gd name="T64" fmla="*/ 2249 w 2424"/>
                <a:gd name="T65" fmla="*/ 1665 h 2261"/>
                <a:gd name="T66" fmla="*/ 2081 w 2424"/>
                <a:gd name="T67" fmla="*/ 1868 h 2261"/>
                <a:gd name="T68" fmla="*/ 2010 w 2424"/>
                <a:gd name="T69" fmla="*/ 1936 h 2261"/>
                <a:gd name="T70" fmla="*/ 1814 w 2424"/>
                <a:gd name="T71" fmla="*/ 2071 h 2261"/>
                <a:gd name="T72" fmla="*/ 1738 w 2424"/>
                <a:gd name="T73" fmla="*/ 2117 h 2261"/>
                <a:gd name="T74" fmla="*/ 1465 w 2424"/>
                <a:gd name="T75" fmla="*/ 2219 h 2261"/>
                <a:gd name="T76" fmla="*/ 1191 w 2424"/>
                <a:gd name="T77" fmla="*/ 2261 h 2261"/>
                <a:gd name="T78" fmla="*/ 918 w 2424"/>
                <a:gd name="T79" fmla="*/ 2241 h 2261"/>
                <a:gd name="T80" fmla="*/ 644 w 2424"/>
                <a:gd name="T81" fmla="*/ 2156 h 2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24" h="2261">
                  <a:moveTo>
                    <a:pt x="644" y="2156"/>
                  </a:moveTo>
                  <a:lnTo>
                    <a:pt x="496" y="2071"/>
                  </a:lnTo>
                  <a:lnTo>
                    <a:pt x="371" y="1981"/>
                  </a:lnTo>
                  <a:lnTo>
                    <a:pt x="260" y="1868"/>
                  </a:lnTo>
                  <a:lnTo>
                    <a:pt x="118" y="1665"/>
                  </a:lnTo>
                  <a:lnTo>
                    <a:pt x="98" y="1622"/>
                  </a:lnTo>
                  <a:lnTo>
                    <a:pt x="37" y="1461"/>
                  </a:lnTo>
                  <a:lnTo>
                    <a:pt x="0" y="1258"/>
                  </a:lnTo>
                  <a:lnTo>
                    <a:pt x="2" y="1054"/>
                  </a:lnTo>
                  <a:lnTo>
                    <a:pt x="43" y="850"/>
                  </a:lnTo>
                  <a:lnTo>
                    <a:pt x="98" y="709"/>
                  </a:lnTo>
                  <a:lnTo>
                    <a:pt x="127" y="647"/>
                  </a:lnTo>
                  <a:lnTo>
                    <a:pt x="269" y="443"/>
                  </a:lnTo>
                  <a:lnTo>
                    <a:pt x="371" y="336"/>
                  </a:lnTo>
                  <a:lnTo>
                    <a:pt x="494" y="240"/>
                  </a:lnTo>
                  <a:lnTo>
                    <a:pt x="644" y="146"/>
                  </a:lnTo>
                  <a:lnTo>
                    <a:pt x="918" y="39"/>
                  </a:lnTo>
                  <a:lnTo>
                    <a:pt x="937" y="36"/>
                  </a:lnTo>
                  <a:lnTo>
                    <a:pt x="1191" y="0"/>
                  </a:lnTo>
                  <a:lnTo>
                    <a:pt x="1465" y="18"/>
                  </a:lnTo>
                  <a:lnTo>
                    <a:pt x="1531" y="36"/>
                  </a:lnTo>
                  <a:lnTo>
                    <a:pt x="1738" y="100"/>
                  </a:lnTo>
                  <a:lnTo>
                    <a:pt x="1990" y="240"/>
                  </a:lnTo>
                  <a:lnTo>
                    <a:pt x="2010" y="254"/>
                  </a:lnTo>
                  <a:lnTo>
                    <a:pt x="2198" y="443"/>
                  </a:lnTo>
                  <a:lnTo>
                    <a:pt x="2284" y="564"/>
                  </a:lnTo>
                  <a:lnTo>
                    <a:pt x="2330" y="647"/>
                  </a:lnTo>
                  <a:lnTo>
                    <a:pt x="2398" y="850"/>
                  </a:lnTo>
                  <a:lnTo>
                    <a:pt x="2424" y="1054"/>
                  </a:lnTo>
                  <a:lnTo>
                    <a:pt x="2409" y="1258"/>
                  </a:lnTo>
                  <a:lnTo>
                    <a:pt x="2352" y="1461"/>
                  </a:lnTo>
                  <a:lnTo>
                    <a:pt x="2284" y="1605"/>
                  </a:lnTo>
                  <a:lnTo>
                    <a:pt x="2249" y="1665"/>
                  </a:lnTo>
                  <a:lnTo>
                    <a:pt x="2081" y="1868"/>
                  </a:lnTo>
                  <a:lnTo>
                    <a:pt x="2010" y="1936"/>
                  </a:lnTo>
                  <a:lnTo>
                    <a:pt x="1814" y="2071"/>
                  </a:lnTo>
                  <a:lnTo>
                    <a:pt x="1738" y="2117"/>
                  </a:lnTo>
                  <a:lnTo>
                    <a:pt x="1465" y="2219"/>
                  </a:lnTo>
                  <a:lnTo>
                    <a:pt x="1191" y="2261"/>
                  </a:lnTo>
                  <a:lnTo>
                    <a:pt x="918" y="2241"/>
                  </a:lnTo>
                  <a:lnTo>
                    <a:pt x="644" y="2156"/>
                  </a:lnTo>
                </a:path>
              </a:pathLst>
            </a:custGeom>
            <a:noFill/>
            <a:ln w="12700" cmpd="sng">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341" name="Line 1789">
              <a:extLst>
                <a:ext uri="{FF2B5EF4-FFF2-40B4-BE49-F238E27FC236}">
                  <a16:creationId xmlns:a16="http://schemas.microsoft.com/office/drawing/2014/main" id="{0E4E247D-0262-4DE6-BD93-1B1BA4A32127}"/>
                </a:ext>
              </a:extLst>
            </p:cNvPr>
            <p:cNvSpPr>
              <a:spLocks noChangeAspect="1" noChangeShapeType="1"/>
            </p:cNvSpPr>
            <p:nvPr/>
          </p:nvSpPr>
          <p:spPr bwMode="auto">
            <a:xfrm flipV="1">
              <a:off x="8480425" y="4037965"/>
              <a:ext cx="1588"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42" name="Line 1790">
              <a:extLst>
                <a:ext uri="{FF2B5EF4-FFF2-40B4-BE49-F238E27FC236}">
                  <a16:creationId xmlns:a16="http://schemas.microsoft.com/office/drawing/2014/main" id="{FA3938AB-DBA6-42EA-B80C-2F99D8814030}"/>
                </a:ext>
              </a:extLst>
            </p:cNvPr>
            <p:cNvSpPr>
              <a:spLocks noChangeAspect="1" noChangeShapeType="1"/>
            </p:cNvSpPr>
            <p:nvPr/>
          </p:nvSpPr>
          <p:spPr bwMode="auto">
            <a:xfrm flipV="1">
              <a:off x="8482014" y="4004629"/>
              <a:ext cx="39687" cy="333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43" name="Line 1791">
              <a:extLst>
                <a:ext uri="{FF2B5EF4-FFF2-40B4-BE49-F238E27FC236}">
                  <a16:creationId xmlns:a16="http://schemas.microsoft.com/office/drawing/2014/main" id="{6A7EB40B-4203-48B9-8E9D-E564D493A40E}"/>
                </a:ext>
              </a:extLst>
            </p:cNvPr>
            <p:cNvSpPr>
              <a:spLocks noChangeAspect="1" noChangeShapeType="1"/>
            </p:cNvSpPr>
            <p:nvPr/>
          </p:nvSpPr>
          <p:spPr bwMode="auto">
            <a:xfrm flipV="1">
              <a:off x="8531225" y="3991928"/>
              <a:ext cx="6350"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44" name="Line 1792">
              <a:extLst>
                <a:ext uri="{FF2B5EF4-FFF2-40B4-BE49-F238E27FC236}">
                  <a16:creationId xmlns:a16="http://schemas.microsoft.com/office/drawing/2014/main" id="{EBCDBD67-B0DD-487B-A45B-B30AA5DC06E1}"/>
                </a:ext>
              </a:extLst>
            </p:cNvPr>
            <p:cNvSpPr>
              <a:spLocks noChangeAspect="1" noChangeShapeType="1"/>
            </p:cNvSpPr>
            <p:nvPr/>
          </p:nvSpPr>
          <p:spPr bwMode="auto">
            <a:xfrm flipV="1">
              <a:off x="8537575" y="3960178"/>
              <a:ext cx="33338"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45" name="Line 1793">
              <a:extLst>
                <a:ext uri="{FF2B5EF4-FFF2-40B4-BE49-F238E27FC236}">
                  <a16:creationId xmlns:a16="http://schemas.microsoft.com/office/drawing/2014/main" id="{B20A9480-F930-4AAF-8277-0EE88AD09A7B}"/>
                </a:ext>
              </a:extLst>
            </p:cNvPr>
            <p:cNvSpPr>
              <a:spLocks noChangeAspect="1" noChangeShapeType="1"/>
            </p:cNvSpPr>
            <p:nvPr/>
          </p:nvSpPr>
          <p:spPr bwMode="auto">
            <a:xfrm flipV="1">
              <a:off x="8582025" y="3945890"/>
              <a:ext cx="6350"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46" name="Line 1794">
              <a:extLst>
                <a:ext uri="{FF2B5EF4-FFF2-40B4-BE49-F238E27FC236}">
                  <a16:creationId xmlns:a16="http://schemas.microsoft.com/office/drawing/2014/main" id="{8F040589-676C-441B-AFF8-E5D6B49FC7A3}"/>
                </a:ext>
              </a:extLst>
            </p:cNvPr>
            <p:cNvSpPr>
              <a:spLocks noChangeAspect="1" noChangeShapeType="1"/>
            </p:cNvSpPr>
            <p:nvPr/>
          </p:nvSpPr>
          <p:spPr bwMode="auto">
            <a:xfrm flipV="1">
              <a:off x="8588376" y="3917316"/>
              <a:ext cx="30163"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47" name="Line 1795">
              <a:extLst>
                <a:ext uri="{FF2B5EF4-FFF2-40B4-BE49-F238E27FC236}">
                  <a16:creationId xmlns:a16="http://schemas.microsoft.com/office/drawing/2014/main" id="{A709CD4D-E443-4917-B941-A8DB81437473}"/>
                </a:ext>
              </a:extLst>
            </p:cNvPr>
            <p:cNvSpPr>
              <a:spLocks noChangeAspect="1" noChangeShapeType="1"/>
            </p:cNvSpPr>
            <p:nvPr/>
          </p:nvSpPr>
          <p:spPr bwMode="auto">
            <a:xfrm flipV="1">
              <a:off x="8618539" y="3914141"/>
              <a:ext cx="31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48" name="Line 1796">
              <a:extLst>
                <a:ext uri="{FF2B5EF4-FFF2-40B4-BE49-F238E27FC236}">
                  <a16:creationId xmlns:a16="http://schemas.microsoft.com/office/drawing/2014/main" id="{9ACDE621-C3F9-4540-AC3A-04CA2B940B22}"/>
                </a:ext>
              </a:extLst>
            </p:cNvPr>
            <p:cNvSpPr>
              <a:spLocks noChangeAspect="1" noChangeShapeType="1"/>
            </p:cNvSpPr>
            <p:nvPr/>
          </p:nvSpPr>
          <p:spPr bwMode="auto">
            <a:xfrm flipV="1">
              <a:off x="8631238" y="3899853"/>
              <a:ext cx="4762"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49" name="Line 1797">
              <a:extLst>
                <a:ext uri="{FF2B5EF4-FFF2-40B4-BE49-F238E27FC236}">
                  <a16:creationId xmlns:a16="http://schemas.microsoft.com/office/drawing/2014/main" id="{5F90C9C5-EF22-490C-A491-B6E667C080B0}"/>
                </a:ext>
              </a:extLst>
            </p:cNvPr>
            <p:cNvSpPr>
              <a:spLocks noChangeAspect="1" noChangeShapeType="1"/>
            </p:cNvSpPr>
            <p:nvPr/>
          </p:nvSpPr>
          <p:spPr bwMode="auto">
            <a:xfrm flipV="1">
              <a:off x="8636001" y="3866515"/>
              <a:ext cx="28575" cy="333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50" name="Line 1798">
              <a:extLst>
                <a:ext uri="{FF2B5EF4-FFF2-40B4-BE49-F238E27FC236}">
                  <a16:creationId xmlns:a16="http://schemas.microsoft.com/office/drawing/2014/main" id="{C46BC354-9EDF-4F78-9E7F-C01B897FE5FB}"/>
                </a:ext>
              </a:extLst>
            </p:cNvPr>
            <p:cNvSpPr>
              <a:spLocks noChangeAspect="1" noChangeShapeType="1"/>
            </p:cNvSpPr>
            <p:nvPr/>
          </p:nvSpPr>
          <p:spPr bwMode="auto">
            <a:xfrm flipV="1">
              <a:off x="8664575" y="3864929"/>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51" name="Line 1799">
              <a:extLst>
                <a:ext uri="{FF2B5EF4-FFF2-40B4-BE49-F238E27FC236}">
                  <a16:creationId xmlns:a16="http://schemas.microsoft.com/office/drawing/2014/main" id="{4470A9E4-A0AA-4CE2-BFDB-F19FF9217215}"/>
                </a:ext>
              </a:extLst>
            </p:cNvPr>
            <p:cNvSpPr>
              <a:spLocks noChangeAspect="1" noChangeShapeType="1"/>
            </p:cNvSpPr>
            <p:nvPr/>
          </p:nvSpPr>
          <p:spPr bwMode="auto">
            <a:xfrm flipV="1">
              <a:off x="8675689" y="3853815"/>
              <a:ext cx="1587"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52" name="Line 1800">
              <a:extLst>
                <a:ext uri="{FF2B5EF4-FFF2-40B4-BE49-F238E27FC236}">
                  <a16:creationId xmlns:a16="http://schemas.microsoft.com/office/drawing/2014/main" id="{2B9B81B1-A031-4813-9F11-D445589E7F23}"/>
                </a:ext>
              </a:extLst>
            </p:cNvPr>
            <p:cNvSpPr>
              <a:spLocks noChangeAspect="1" noChangeShapeType="1"/>
            </p:cNvSpPr>
            <p:nvPr/>
          </p:nvSpPr>
          <p:spPr bwMode="auto">
            <a:xfrm flipV="1">
              <a:off x="8675689" y="3809365"/>
              <a:ext cx="33337"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53" name="Line 1801">
              <a:extLst>
                <a:ext uri="{FF2B5EF4-FFF2-40B4-BE49-F238E27FC236}">
                  <a16:creationId xmlns:a16="http://schemas.microsoft.com/office/drawing/2014/main" id="{033667E7-A406-43B8-9120-84DA25D51135}"/>
                </a:ext>
              </a:extLst>
            </p:cNvPr>
            <p:cNvSpPr>
              <a:spLocks noChangeAspect="1" noChangeShapeType="1"/>
            </p:cNvSpPr>
            <p:nvPr/>
          </p:nvSpPr>
          <p:spPr bwMode="auto">
            <a:xfrm flipV="1">
              <a:off x="8715375" y="3763329"/>
              <a:ext cx="19050" cy="333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54" name="Line 1802">
              <a:extLst>
                <a:ext uri="{FF2B5EF4-FFF2-40B4-BE49-F238E27FC236}">
                  <a16:creationId xmlns:a16="http://schemas.microsoft.com/office/drawing/2014/main" id="{D36F4157-B015-498E-B660-96D14352D6D4}"/>
                </a:ext>
              </a:extLst>
            </p:cNvPr>
            <p:cNvSpPr>
              <a:spLocks noChangeAspect="1" noChangeShapeType="1"/>
            </p:cNvSpPr>
            <p:nvPr/>
          </p:nvSpPr>
          <p:spPr bwMode="auto">
            <a:xfrm flipV="1">
              <a:off x="8734426" y="3744278"/>
              <a:ext cx="4763"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55" name="Line 1803">
              <a:extLst>
                <a:ext uri="{FF2B5EF4-FFF2-40B4-BE49-F238E27FC236}">
                  <a16:creationId xmlns:a16="http://schemas.microsoft.com/office/drawing/2014/main" id="{89D55521-ABBC-4C29-A590-1D89203A2944}"/>
                </a:ext>
              </a:extLst>
            </p:cNvPr>
            <p:cNvSpPr>
              <a:spLocks noChangeAspect="1" noChangeShapeType="1"/>
            </p:cNvSpPr>
            <p:nvPr/>
          </p:nvSpPr>
          <p:spPr bwMode="auto">
            <a:xfrm flipV="1">
              <a:off x="8743951" y="3717290"/>
              <a:ext cx="4763"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56" name="Line 1804">
              <a:extLst>
                <a:ext uri="{FF2B5EF4-FFF2-40B4-BE49-F238E27FC236}">
                  <a16:creationId xmlns:a16="http://schemas.microsoft.com/office/drawing/2014/main" id="{25000044-CC33-41AD-8C8F-A59C8D027CFC}"/>
                </a:ext>
              </a:extLst>
            </p:cNvPr>
            <p:cNvSpPr>
              <a:spLocks noChangeAspect="1" noChangeShapeType="1"/>
            </p:cNvSpPr>
            <p:nvPr/>
          </p:nvSpPr>
          <p:spPr bwMode="auto">
            <a:xfrm flipV="1">
              <a:off x="8748713" y="3671254"/>
              <a:ext cx="4762"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57" name="Line 1805">
              <a:extLst>
                <a:ext uri="{FF2B5EF4-FFF2-40B4-BE49-F238E27FC236}">
                  <a16:creationId xmlns:a16="http://schemas.microsoft.com/office/drawing/2014/main" id="{59802F52-C4CE-4D0B-82CC-570B750AA14F}"/>
                </a:ext>
              </a:extLst>
            </p:cNvPr>
            <p:cNvSpPr>
              <a:spLocks noChangeAspect="1" noChangeShapeType="1"/>
            </p:cNvSpPr>
            <p:nvPr/>
          </p:nvSpPr>
          <p:spPr bwMode="auto">
            <a:xfrm flipH="1" flipV="1">
              <a:off x="8753475" y="3625215"/>
              <a:ext cx="1588"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58" name="Line 1806">
              <a:extLst>
                <a:ext uri="{FF2B5EF4-FFF2-40B4-BE49-F238E27FC236}">
                  <a16:creationId xmlns:a16="http://schemas.microsoft.com/office/drawing/2014/main" id="{150759A8-5136-4ADA-86B9-BC48D8519F3C}"/>
                </a:ext>
              </a:extLst>
            </p:cNvPr>
            <p:cNvSpPr>
              <a:spLocks noChangeAspect="1" noChangeShapeType="1"/>
            </p:cNvSpPr>
            <p:nvPr/>
          </p:nvSpPr>
          <p:spPr bwMode="auto">
            <a:xfrm flipH="1" flipV="1">
              <a:off x="8748713" y="3596641"/>
              <a:ext cx="4762"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59" name="Line 1807">
              <a:extLst>
                <a:ext uri="{FF2B5EF4-FFF2-40B4-BE49-F238E27FC236}">
                  <a16:creationId xmlns:a16="http://schemas.microsoft.com/office/drawing/2014/main" id="{7A01D73F-2CCB-4E35-8BD4-4858B2039FF6}"/>
                </a:ext>
              </a:extLst>
            </p:cNvPr>
            <p:cNvSpPr>
              <a:spLocks noChangeAspect="1" noChangeShapeType="1"/>
            </p:cNvSpPr>
            <p:nvPr/>
          </p:nvSpPr>
          <p:spPr bwMode="auto">
            <a:xfrm flipH="1" flipV="1">
              <a:off x="8747125" y="3579179"/>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60" name="Line 1808">
              <a:extLst>
                <a:ext uri="{FF2B5EF4-FFF2-40B4-BE49-F238E27FC236}">
                  <a16:creationId xmlns:a16="http://schemas.microsoft.com/office/drawing/2014/main" id="{D35895AC-564E-4D17-A8D3-C038A0CD337F}"/>
                </a:ext>
              </a:extLst>
            </p:cNvPr>
            <p:cNvSpPr>
              <a:spLocks noChangeAspect="1" noChangeShapeType="1"/>
            </p:cNvSpPr>
            <p:nvPr/>
          </p:nvSpPr>
          <p:spPr bwMode="auto">
            <a:xfrm flipH="1" flipV="1">
              <a:off x="8737601" y="3533140"/>
              <a:ext cx="9525" cy="460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61" name="Line 1809">
              <a:extLst>
                <a:ext uri="{FF2B5EF4-FFF2-40B4-BE49-F238E27FC236}">
                  <a16:creationId xmlns:a16="http://schemas.microsoft.com/office/drawing/2014/main" id="{A6F56075-8355-469F-8E2F-98BFF3B429B4}"/>
                </a:ext>
              </a:extLst>
            </p:cNvPr>
            <p:cNvSpPr>
              <a:spLocks noChangeAspect="1" noChangeShapeType="1"/>
            </p:cNvSpPr>
            <p:nvPr/>
          </p:nvSpPr>
          <p:spPr bwMode="auto">
            <a:xfrm flipH="1" flipV="1">
              <a:off x="8734426" y="3523616"/>
              <a:ext cx="3175"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62" name="Line 1810">
              <a:extLst>
                <a:ext uri="{FF2B5EF4-FFF2-40B4-BE49-F238E27FC236}">
                  <a16:creationId xmlns:a16="http://schemas.microsoft.com/office/drawing/2014/main" id="{31835C76-D10B-46E1-8EA2-0CAC426E018F}"/>
                </a:ext>
              </a:extLst>
            </p:cNvPr>
            <p:cNvSpPr>
              <a:spLocks noChangeAspect="1" noChangeShapeType="1"/>
            </p:cNvSpPr>
            <p:nvPr/>
          </p:nvSpPr>
          <p:spPr bwMode="auto">
            <a:xfrm flipH="1" flipV="1">
              <a:off x="8724901" y="3487104"/>
              <a:ext cx="4763"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63" name="Line 1811">
              <a:extLst>
                <a:ext uri="{FF2B5EF4-FFF2-40B4-BE49-F238E27FC236}">
                  <a16:creationId xmlns:a16="http://schemas.microsoft.com/office/drawing/2014/main" id="{143C9567-2D38-4ED3-B2D3-85E28F7089C7}"/>
                </a:ext>
              </a:extLst>
            </p:cNvPr>
            <p:cNvSpPr>
              <a:spLocks noChangeAspect="1" noChangeShapeType="1"/>
            </p:cNvSpPr>
            <p:nvPr/>
          </p:nvSpPr>
          <p:spPr bwMode="auto">
            <a:xfrm flipH="1" flipV="1">
              <a:off x="8713788" y="3452179"/>
              <a:ext cx="11112"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64" name="Line 1812">
              <a:extLst>
                <a:ext uri="{FF2B5EF4-FFF2-40B4-BE49-F238E27FC236}">
                  <a16:creationId xmlns:a16="http://schemas.microsoft.com/office/drawing/2014/main" id="{FE47C798-1991-4408-AA17-EEDCBBC59CAF}"/>
                </a:ext>
              </a:extLst>
            </p:cNvPr>
            <p:cNvSpPr>
              <a:spLocks noChangeAspect="1" noChangeShapeType="1"/>
            </p:cNvSpPr>
            <p:nvPr/>
          </p:nvSpPr>
          <p:spPr bwMode="auto">
            <a:xfrm flipH="1" flipV="1">
              <a:off x="8696325" y="3396616"/>
              <a:ext cx="12700" cy="412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65" name="Line 1813">
              <a:extLst>
                <a:ext uri="{FF2B5EF4-FFF2-40B4-BE49-F238E27FC236}">
                  <a16:creationId xmlns:a16="http://schemas.microsoft.com/office/drawing/2014/main" id="{64F25011-2F40-4E8F-8E61-962D6631414D}"/>
                </a:ext>
              </a:extLst>
            </p:cNvPr>
            <p:cNvSpPr>
              <a:spLocks noChangeAspect="1" noChangeShapeType="1"/>
            </p:cNvSpPr>
            <p:nvPr/>
          </p:nvSpPr>
          <p:spPr bwMode="auto">
            <a:xfrm flipH="1" flipV="1">
              <a:off x="8693151" y="3382329"/>
              <a:ext cx="3175"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66" name="Line 1814">
              <a:extLst>
                <a:ext uri="{FF2B5EF4-FFF2-40B4-BE49-F238E27FC236}">
                  <a16:creationId xmlns:a16="http://schemas.microsoft.com/office/drawing/2014/main" id="{0F260A7F-8865-488C-8E9A-0DF3B0CFA599}"/>
                </a:ext>
              </a:extLst>
            </p:cNvPr>
            <p:cNvSpPr>
              <a:spLocks noChangeAspect="1" noChangeShapeType="1"/>
            </p:cNvSpPr>
            <p:nvPr/>
          </p:nvSpPr>
          <p:spPr bwMode="auto">
            <a:xfrm flipH="1" flipV="1">
              <a:off x="8682038" y="3350578"/>
              <a:ext cx="4762"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67" name="Line 1815">
              <a:extLst>
                <a:ext uri="{FF2B5EF4-FFF2-40B4-BE49-F238E27FC236}">
                  <a16:creationId xmlns:a16="http://schemas.microsoft.com/office/drawing/2014/main" id="{D6B2D4B0-B854-4095-9FF7-A332812B554B}"/>
                </a:ext>
              </a:extLst>
            </p:cNvPr>
            <p:cNvSpPr>
              <a:spLocks noChangeAspect="1" noChangeShapeType="1"/>
            </p:cNvSpPr>
            <p:nvPr/>
          </p:nvSpPr>
          <p:spPr bwMode="auto">
            <a:xfrm flipH="1" flipV="1">
              <a:off x="8669338" y="3310890"/>
              <a:ext cx="12700" cy="396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68" name="Line 1816">
              <a:extLst>
                <a:ext uri="{FF2B5EF4-FFF2-40B4-BE49-F238E27FC236}">
                  <a16:creationId xmlns:a16="http://schemas.microsoft.com/office/drawing/2014/main" id="{C91AE73E-720B-4C81-9C8D-749CD3E4EE6C}"/>
                </a:ext>
              </a:extLst>
            </p:cNvPr>
            <p:cNvSpPr>
              <a:spLocks noChangeAspect="1" noChangeShapeType="1"/>
            </p:cNvSpPr>
            <p:nvPr/>
          </p:nvSpPr>
          <p:spPr bwMode="auto">
            <a:xfrm flipH="1" flipV="1">
              <a:off x="8664575" y="3296604"/>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69" name="Line 1817">
              <a:extLst>
                <a:ext uri="{FF2B5EF4-FFF2-40B4-BE49-F238E27FC236}">
                  <a16:creationId xmlns:a16="http://schemas.microsoft.com/office/drawing/2014/main" id="{3C877FE6-B107-48AD-91D9-4EB84CE4B43B}"/>
                </a:ext>
              </a:extLst>
            </p:cNvPr>
            <p:cNvSpPr>
              <a:spLocks noChangeAspect="1" noChangeShapeType="1"/>
            </p:cNvSpPr>
            <p:nvPr/>
          </p:nvSpPr>
          <p:spPr bwMode="auto">
            <a:xfrm flipH="1" flipV="1">
              <a:off x="8653463" y="3260091"/>
              <a:ext cx="11112" cy="365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70" name="Line 1818">
              <a:extLst>
                <a:ext uri="{FF2B5EF4-FFF2-40B4-BE49-F238E27FC236}">
                  <a16:creationId xmlns:a16="http://schemas.microsoft.com/office/drawing/2014/main" id="{2D992ADE-A9DE-464D-B1DF-4EE22908C33C}"/>
                </a:ext>
              </a:extLst>
            </p:cNvPr>
            <p:cNvSpPr>
              <a:spLocks noChangeAspect="1" noChangeShapeType="1"/>
            </p:cNvSpPr>
            <p:nvPr/>
          </p:nvSpPr>
          <p:spPr bwMode="auto">
            <a:xfrm flipH="1" flipV="1">
              <a:off x="8648701" y="3241040"/>
              <a:ext cx="4763"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71" name="Line 1819">
              <a:extLst>
                <a:ext uri="{FF2B5EF4-FFF2-40B4-BE49-F238E27FC236}">
                  <a16:creationId xmlns:a16="http://schemas.microsoft.com/office/drawing/2014/main" id="{6CC31A36-A72E-4CEC-81C8-85B836BEC1D9}"/>
                </a:ext>
              </a:extLst>
            </p:cNvPr>
            <p:cNvSpPr>
              <a:spLocks noChangeAspect="1" noChangeShapeType="1"/>
            </p:cNvSpPr>
            <p:nvPr/>
          </p:nvSpPr>
          <p:spPr bwMode="auto">
            <a:xfrm flipH="1" flipV="1">
              <a:off x="8639176" y="3214053"/>
              <a:ext cx="4763"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72" name="Line 1820">
              <a:extLst>
                <a:ext uri="{FF2B5EF4-FFF2-40B4-BE49-F238E27FC236}">
                  <a16:creationId xmlns:a16="http://schemas.microsoft.com/office/drawing/2014/main" id="{1C8555E1-F459-4BFD-BB0D-C15636C8F73A}"/>
                </a:ext>
              </a:extLst>
            </p:cNvPr>
            <p:cNvSpPr>
              <a:spLocks noChangeAspect="1" noChangeShapeType="1"/>
            </p:cNvSpPr>
            <p:nvPr/>
          </p:nvSpPr>
          <p:spPr bwMode="auto">
            <a:xfrm flipH="1" flipV="1">
              <a:off x="8629651" y="3169603"/>
              <a:ext cx="9525"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73" name="Line 1821">
              <a:extLst>
                <a:ext uri="{FF2B5EF4-FFF2-40B4-BE49-F238E27FC236}">
                  <a16:creationId xmlns:a16="http://schemas.microsoft.com/office/drawing/2014/main" id="{7550286B-B9CA-4FAB-A18B-F679B34A5B6E}"/>
                </a:ext>
              </a:extLst>
            </p:cNvPr>
            <p:cNvSpPr>
              <a:spLocks noChangeAspect="1" noChangeShapeType="1"/>
            </p:cNvSpPr>
            <p:nvPr/>
          </p:nvSpPr>
          <p:spPr bwMode="auto">
            <a:xfrm flipH="1" flipV="1">
              <a:off x="8618538" y="3131503"/>
              <a:ext cx="6350" cy="238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74" name="Line 1822">
              <a:extLst>
                <a:ext uri="{FF2B5EF4-FFF2-40B4-BE49-F238E27FC236}">
                  <a16:creationId xmlns:a16="http://schemas.microsoft.com/office/drawing/2014/main" id="{64608563-FC26-406C-B458-F4A4AFDC2847}"/>
                </a:ext>
              </a:extLst>
            </p:cNvPr>
            <p:cNvSpPr>
              <a:spLocks noChangeAspect="1" noChangeShapeType="1"/>
            </p:cNvSpPr>
            <p:nvPr/>
          </p:nvSpPr>
          <p:spPr bwMode="auto">
            <a:xfrm flipH="1" flipV="1">
              <a:off x="8616950" y="3121979"/>
              <a:ext cx="1588"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75" name="Line 1823">
              <a:extLst>
                <a:ext uri="{FF2B5EF4-FFF2-40B4-BE49-F238E27FC236}">
                  <a16:creationId xmlns:a16="http://schemas.microsoft.com/office/drawing/2014/main" id="{DF973148-99C4-4ABE-8051-8577C902449F}"/>
                </a:ext>
              </a:extLst>
            </p:cNvPr>
            <p:cNvSpPr>
              <a:spLocks noChangeAspect="1" noChangeShapeType="1"/>
            </p:cNvSpPr>
            <p:nvPr/>
          </p:nvSpPr>
          <p:spPr bwMode="auto">
            <a:xfrm flipH="1" flipV="1">
              <a:off x="8610600" y="3098166"/>
              <a:ext cx="6350" cy="238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76" name="Line 1824">
              <a:extLst>
                <a:ext uri="{FF2B5EF4-FFF2-40B4-BE49-F238E27FC236}">
                  <a16:creationId xmlns:a16="http://schemas.microsoft.com/office/drawing/2014/main" id="{5A80DD14-B17D-4027-947D-6C728E3DACFB}"/>
                </a:ext>
              </a:extLst>
            </p:cNvPr>
            <p:cNvSpPr>
              <a:spLocks noChangeAspect="1" noChangeShapeType="1"/>
            </p:cNvSpPr>
            <p:nvPr/>
          </p:nvSpPr>
          <p:spPr bwMode="auto">
            <a:xfrm flipH="1" flipV="1">
              <a:off x="8605839" y="3075940"/>
              <a:ext cx="1587"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77" name="Line 1825">
              <a:extLst>
                <a:ext uri="{FF2B5EF4-FFF2-40B4-BE49-F238E27FC236}">
                  <a16:creationId xmlns:a16="http://schemas.microsoft.com/office/drawing/2014/main" id="{23A044CB-6006-4D26-BF1F-D33F5FCFDFE0}"/>
                </a:ext>
              </a:extLst>
            </p:cNvPr>
            <p:cNvSpPr>
              <a:spLocks noChangeAspect="1" noChangeShapeType="1"/>
            </p:cNvSpPr>
            <p:nvPr/>
          </p:nvSpPr>
          <p:spPr bwMode="auto">
            <a:xfrm flipH="1" flipV="1">
              <a:off x="8594726" y="3029904"/>
              <a:ext cx="11113"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78" name="Line 1826">
              <a:extLst>
                <a:ext uri="{FF2B5EF4-FFF2-40B4-BE49-F238E27FC236}">
                  <a16:creationId xmlns:a16="http://schemas.microsoft.com/office/drawing/2014/main" id="{F6725E90-C151-471A-B7DC-018373360CE5}"/>
                </a:ext>
              </a:extLst>
            </p:cNvPr>
            <p:cNvSpPr>
              <a:spLocks noChangeAspect="1" noChangeShapeType="1"/>
            </p:cNvSpPr>
            <p:nvPr/>
          </p:nvSpPr>
          <p:spPr bwMode="auto">
            <a:xfrm flipH="1" flipV="1">
              <a:off x="8594725" y="3025141"/>
              <a:ext cx="1588"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79" name="Line 1827">
              <a:extLst>
                <a:ext uri="{FF2B5EF4-FFF2-40B4-BE49-F238E27FC236}">
                  <a16:creationId xmlns:a16="http://schemas.microsoft.com/office/drawing/2014/main" id="{81235CDF-B66A-4EEA-BFF3-E2B89404C10B}"/>
                </a:ext>
              </a:extLst>
            </p:cNvPr>
            <p:cNvSpPr>
              <a:spLocks noChangeAspect="1" noChangeShapeType="1"/>
            </p:cNvSpPr>
            <p:nvPr/>
          </p:nvSpPr>
          <p:spPr bwMode="auto">
            <a:xfrm flipH="1" flipV="1">
              <a:off x="8586788" y="2983865"/>
              <a:ext cx="6350"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80" name="Line 1828">
              <a:extLst>
                <a:ext uri="{FF2B5EF4-FFF2-40B4-BE49-F238E27FC236}">
                  <a16:creationId xmlns:a16="http://schemas.microsoft.com/office/drawing/2014/main" id="{C6404ED9-E083-4961-B17D-897AAE72FAB5}"/>
                </a:ext>
              </a:extLst>
            </p:cNvPr>
            <p:cNvSpPr>
              <a:spLocks noChangeAspect="1" noChangeShapeType="1"/>
            </p:cNvSpPr>
            <p:nvPr/>
          </p:nvSpPr>
          <p:spPr bwMode="auto">
            <a:xfrm flipH="1" flipV="1">
              <a:off x="8582026" y="2952115"/>
              <a:ext cx="4763"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81" name="Line 1829">
              <a:extLst>
                <a:ext uri="{FF2B5EF4-FFF2-40B4-BE49-F238E27FC236}">
                  <a16:creationId xmlns:a16="http://schemas.microsoft.com/office/drawing/2014/main" id="{41FE97CF-23BB-4B6B-85F8-BBFA308CDD35}"/>
                </a:ext>
              </a:extLst>
            </p:cNvPr>
            <p:cNvSpPr>
              <a:spLocks noChangeAspect="1" noChangeShapeType="1"/>
            </p:cNvSpPr>
            <p:nvPr/>
          </p:nvSpPr>
          <p:spPr bwMode="auto">
            <a:xfrm flipH="1" flipV="1">
              <a:off x="8574088" y="2891790"/>
              <a:ext cx="4762"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82" name="Line 1830">
              <a:extLst>
                <a:ext uri="{FF2B5EF4-FFF2-40B4-BE49-F238E27FC236}">
                  <a16:creationId xmlns:a16="http://schemas.microsoft.com/office/drawing/2014/main" id="{20A901FD-4722-4D46-8C5B-48DBA4193B0F}"/>
                </a:ext>
              </a:extLst>
            </p:cNvPr>
            <p:cNvSpPr>
              <a:spLocks noChangeAspect="1" noChangeShapeType="1"/>
            </p:cNvSpPr>
            <p:nvPr/>
          </p:nvSpPr>
          <p:spPr bwMode="auto">
            <a:xfrm flipH="1" flipV="1">
              <a:off x="8572500" y="2882266"/>
              <a:ext cx="1588"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83" name="Line 1831">
              <a:extLst>
                <a:ext uri="{FF2B5EF4-FFF2-40B4-BE49-F238E27FC236}">
                  <a16:creationId xmlns:a16="http://schemas.microsoft.com/office/drawing/2014/main" id="{126FBF08-E9BF-43B7-A10F-FAA462E2C945}"/>
                </a:ext>
              </a:extLst>
            </p:cNvPr>
            <p:cNvSpPr>
              <a:spLocks noChangeAspect="1" noChangeShapeType="1"/>
            </p:cNvSpPr>
            <p:nvPr/>
          </p:nvSpPr>
          <p:spPr bwMode="auto">
            <a:xfrm flipH="1" flipV="1">
              <a:off x="8572500" y="2875915"/>
              <a:ext cx="1588"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84" name="Line 1832">
              <a:extLst>
                <a:ext uri="{FF2B5EF4-FFF2-40B4-BE49-F238E27FC236}">
                  <a16:creationId xmlns:a16="http://schemas.microsoft.com/office/drawing/2014/main" id="{6DCA7074-CDFD-4C7C-A762-F99D4D160D20}"/>
                </a:ext>
              </a:extLst>
            </p:cNvPr>
            <p:cNvSpPr>
              <a:spLocks noChangeAspect="1" noChangeShapeType="1"/>
            </p:cNvSpPr>
            <p:nvPr/>
          </p:nvSpPr>
          <p:spPr bwMode="auto">
            <a:xfrm flipH="1" flipV="1">
              <a:off x="8567739" y="2845753"/>
              <a:ext cx="3175"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85" name="Line 1833">
              <a:extLst>
                <a:ext uri="{FF2B5EF4-FFF2-40B4-BE49-F238E27FC236}">
                  <a16:creationId xmlns:a16="http://schemas.microsoft.com/office/drawing/2014/main" id="{DFEA228C-C7E1-4DF6-97EB-3B338321CB48}"/>
                </a:ext>
              </a:extLst>
            </p:cNvPr>
            <p:cNvSpPr>
              <a:spLocks noChangeAspect="1" noChangeShapeType="1"/>
            </p:cNvSpPr>
            <p:nvPr/>
          </p:nvSpPr>
          <p:spPr bwMode="auto">
            <a:xfrm flipH="1" flipV="1">
              <a:off x="8564564" y="2801303"/>
              <a:ext cx="3175"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86" name="Line 1834">
              <a:extLst>
                <a:ext uri="{FF2B5EF4-FFF2-40B4-BE49-F238E27FC236}">
                  <a16:creationId xmlns:a16="http://schemas.microsoft.com/office/drawing/2014/main" id="{22874D50-9712-4768-9BDC-0B28A310FD5E}"/>
                </a:ext>
              </a:extLst>
            </p:cNvPr>
            <p:cNvSpPr>
              <a:spLocks noChangeAspect="1" noChangeShapeType="1"/>
            </p:cNvSpPr>
            <p:nvPr/>
          </p:nvSpPr>
          <p:spPr bwMode="auto">
            <a:xfrm flipH="1" flipV="1">
              <a:off x="8561389" y="2755265"/>
              <a:ext cx="3175"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87" name="Line 1835">
              <a:extLst>
                <a:ext uri="{FF2B5EF4-FFF2-40B4-BE49-F238E27FC236}">
                  <a16:creationId xmlns:a16="http://schemas.microsoft.com/office/drawing/2014/main" id="{ACC44A02-7E74-4922-8667-5A57D41DA678}"/>
                </a:ext>
              </a:extLst>
            </p:cNvPr>
            <p:cNvSpPr>
              <a:spLocks noChangeAspect="1" noChangeShapeType="1"/>
            </p:cNvSpPr>
            <p:nvPr/>
          </p:nvSpPr>
          <p:spPr bwMode="auto">
            <a:xfrm flipH="1" flipV="1">
              <a:off x="8561389" y="2726691"/>
              <a:ext cx="1587"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88" name="Line 1836">
              <a:extLst>
                <a:ext uri="{FF2B5EF4-FFF2-40B4-BE49-F238E27FC236}">
                  <a16:creationId xmlns:a16="http://schemas.microsoft.com/office/drawing/2014/main" id="{310CC7E7-2A9D-4D62-8941-BD545F95E3C7}"/>
                </a:ext>
              </a:extLst>
            </p:cNvPr>
            <p:cNvSpPr>
              <a:spLocks noChangeAspect="1" noChangeShapeType="1"/>
            </p:cNvSpPr>
            <p:nvPr/>
          </p:nvSpPr>
          <p:spPr bwMode="auto">
            <a:xfrm flipH="1" flipV="1">
              <a:off x="8559800" y="2710815"/>
              <a:ext cx="1588"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89" name="Line 1837">
              <a:extLst>
                <a:ext uri="{FF2B5EF4-FFF2-40B4-BE49-F238E27FC236}">
                  <a16:creationId xmlns:a16="http://schemas.microsoft.com/office/drawing/2014/main" id="{8F7DB4B0-8851-46D9-8119-CECE6D854483}"/>
                </a:ext>
              </a:extLst>
            </p:cNvPr>
            <p:cNvSpPr>
              <a:spLocks noChangeAspect="1" noChangeShapeType="1"/>
            </p:cNvSpPr>
            <p:nvPr/>
          </p:nvSpPr>
          <p:spPr bwMode="auto">
            <a:xfrm flipV="1">
              <a:off x="8559800" y="2664779"/>
              <a:ext cx="1588"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90" name="Line 1838">
              <a:extLst>
                <a:ext uri="{FF2B5EF4-FFF2-40B4-BE49-F238E27FC236}">
                  <a16:creationId xmlns:a16="http://schemas.microsoft.com/office/drawing/2014/main" id="{AD732610-2D57-481E-8219-6C3AB1FA9409}"/>
                </a:ext>
              </a:extLst>
            </p:cNvPr>
            <p:cNvSpPr>
              <a:spLocks noChangeAspect="1" noChangeShapeType="1"/>
            </p:cNvSpPr>
            <p:nvPr/>
          </p:nvSpPr>
          <p:spPr bwMode="auto">
            <a:xfrm flipV="1">
              <a:off x="8561389" y="2652078"/>
              <a:ext cx="1587"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91" name="Line 1839">
              <a:extLst>
                <a:ext uri="{FF2B5EF4-FFF2-40B4-BE49-F238E27FC236}">
                  <a16:creationId xmlns:a16="http://schemas.microsoft.com/office/drawing/2014/main" id="{8352A1E2-3AC6-4D35-AA6C-C4D465309ACB}"/>
                </a:ext>
              </a:extLst>
            </p:cNvPr>
            <p:cNvSpPr>
              <a:spLocks noChangeAspect="1" noChangeShapeType="1"/>
            </p:cNvSpPr>
            <p:nvPr/>
          </p:nvSpPr>
          <p:spPr bwMode="auto">
            <a:xfrm flipV="1">
              <a:off x="8561389" y="2618740"/>
              <a:ext cx="1587"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92" name="Line 1840">
              <a:extLst>
                <a:ext uri="{FF2B5EF4-FFF2-40B4-BE49-F238E27FC236}">
                  <a16:creationId xmlns:a16="http://schemas.microsoft.com/office/drawing/2014/main" id="{C7EC1524-341A-4338-9B51-5D70090A7039}"/>
                </a:ext>
              </a:extLst>
            </p:cNvPr>
            <p:cNvSpPr>
              <a:spLocks noChangeAspect="1" noChangeShapeType="1"/>
            </p:cNvSpPr>
            <p:nvPr/>
          </p:nvSpPr>
          <p:spPr bwMode="auto">
            <a:xfrm flipV="1">
              <a:off x="8562976" y="2575878"/>
              <a:ext cx="3175" cy="428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93" name="Line 1841">
              <a:extLst>
                <a:ext uri="{FF2B5EF4-FFF2-40B4-BE49-F238E27FC236}">
                  <a16:creationId xmlns:a16="http://schemas.microsoft.com/office/drawing/2014/main" id="{6B654418-603A-4800-A8A4-8DD174EAC5C9}"/>
                </a:ext>
              </a:extLst>
            </p:cNvPr>
            <p:cNvSpPr>
              <a:spLocks noChangeAspect="1" noChangeShapeType="1"/>
            </p:cNvSpPr>
            <p:nvPr/>
          </p:nvSpPr>
          <p:spPr bwMode="auto">
            <a:xfrm flipV="1">
              <a:off x="8567739" y="2526666"/>
              <a:ext cx="1587"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94" name="Line 1842">
              <a:extLst>
                <a:ext uri="{FF2B5EF4-FFF2-40B4-BE49-F238E27FC236}">
                  <a16:creationId xmlns:a16="http://schemas.microsoft.com/office/drawing/2014/main" id="{6EC096F4-B69B-495D-AA79-46E5C7C39568}"/>
                </a:ext>
              </a:extLst>
            </p:cNvPr>
            <p:cNvSpPr>
              <a:spLocks noChangeAspect="1" noChangeShapeType="1"/>
            </p:cNvSpPr>
            <p:nvPr/>
          </p:nvSpPr>
          <p:spPr bwMode="auto">
            <a:xfrm flipV="1">
              <a:off x="8569326" y="2502853"/>
              <a:ext cx="3175" cy="238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95" name="Line 1843">
              <a:extLst>
                <a:ext uri="{FF2B5EF4-FFF2-40B4-BE49-F238E27FC236}">
                  <a16:creationId xmlns:a16="http://schemas.microsoft.com/office/drawing/2014/main" id="{C88F5356-1FB5-4F64-9852-1B5723044CBD}"/>
                </a:ext>
              </a:extLst>
            </p:cNvPr>
            <p:cNvSpPr>
              <a:spLocks noChangeAspect="1" noChangeShapeType="1"/>
            </p:cNvSpPr>
            <p:nvPr/>
          </p:nvSpPr>
          <p:spPr bwMode="auto">
            <a:xfrm flipV="1">
              <a:off x="8572500" y="2502853"/>
              <a:ext cx="1588"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96" name="Line 1844">
              <a:extLst>
                <a:ext uri="{FF2B5EF4-FFF2-40B4-BE49-F238E27FC236}">
                  <a16:creationId xmlns:a16="http://schemas.microsoft.com/office/drawing/2014/main" id="{CDC2CBEF-79BA-46EA-A7FF-89EF764DEE2D}"/>
                </a:ext>
              </a:extLst>
            </p:cNvPr>
            <p:cNvSpPr>
              <a:spLocks noChangeAspect="1" noChangeShapeType="1"/>
            </p:cNvSpPr>
            <p:nvPr/>
          </p:nvSpPr>
          <p:spPr bwMode="auto">
            <a:xfrm flipV="1">
              <a:off x="8575675" y="2480628"/>
              <a:ext cx="1588"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97" name="Line 1845">
              <a:extLst>
                <a:ext uri="{FF2B5EF4-FFF2-40B4-BE49-F238E27FC236}">
                  <a16:creationId xmlns:a16="http://schemas.microsoft.com/office/drawing/2014/main" id="{8B2DFF55-CF31-4019-A019-DBB48E1D9210}"/>
                </a:ext>
              </a:extLst>
            </p:cNvPr>
            <p:cNvSpPr>
              <a:spLocks noChangeAspect="1" noChangeShapeType="1"/>
            </p:cNvSpPr>
            <p:nvPr/>
          </p:nvSpPr>
          <p:spPr bwMode="auto">
            <a:xfrm flipV="1">
              <a:off x="8575675" y="2434590"/>
              <a:ext cx="6350" cy="460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98" name="Line 1846">
              <a:extLst>
                <a:ext uri="{FF2B5EF4-FFF2-40B4-BE49-F238E27FC236}">
                  <a16:creationId xmlns:a16="http://schemas.microsoft.com/office/drawing/2014/main" id="{5A1869BC-02BC-479A-BD1E-7F5162D21690}"/>
                </a:ext>
              </a:extLst>
            </p:cNvPr>
            <p:cNvSpPr>
              <a:spLocks noChangeAspect="1" noChangeShapeType="1"/>
            </p:cNvSpPr>
            <p:nvPr/>
          </p:nvSpPr>
          <p:spPr bwMode="auto">
            <a:xfrm flipV="1">
              <a:off x="8582025" y="2428240"/>
              <a:ext cx="1588"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399" name="Line 1847">
              <a:extLst>
                <a:ext uri="{FF2B5EF4-FFF2-40B4-BE49-F238E27FC236}">
                  <a16:creationId xmlns:a16="http://schemas.microsoft.com/office/drawing/2014/main" id="{356FEA3C-1591-402B-9959-EAC74BC405DD}"/>
                </a:ext>
              </a:extLst>
            </p:cNvPr>
            <p:cNvSpPr>
              <a:spLocks noChangeAspect="1" noChangeShapeType="1"/>
            </p:cNvSpPr>
            <p:nvPr/>
          </p:nvSpPr>
          <p:spPr bwMode="auto">
            <a:xfrm flipV="1">
              <a:off x="8585200" y="2388553"/>
              <a:ext cx="6350" cy="238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00" name="Line 1848">
              <a:extLst>
                <a:ext uri="{FF2B5EF4-FFF2-40B4-BE49-F238E27FC236}">
                  <a16:creationId xmlns:a16="http://schemas.microsoft.com/office/drawing/2014/main" id="{E18BD963-1155-418D-B34A-EF0577BE8651}"/>
                </a:ext>
              </a:extLst>
            </p:cNvPr>
            <p:cNvSpPr>
              <a:spLocks noChangeAspect="1" noChangeShapeType="1"/>
            </p:cNvSpPr>
            <p:nvPr/>
          </p:nvSpPr>
          <p:spPr bwMode="auto">
            <a:xfrm flipV="1">
              <a:off x="8591550" y="2355215"/>
              <a:ext cx="6350" cy="333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01" name="Line 1849">
              <a:extLst>
                <a:ext uri="{FF2B5EF4-FFF2-40B4-BE49-F238E27FC236}">
                  <a16:creationId xmlns:a16="http://schemas.microsoft.com/office/drawing/2014/main" id="{3A8C93D2-585E-4347-8A15-C197DCD07F35}"/>
                </a:ext>
              </a:extLst>
            </p:cNvPr>
            <p:cNvSpPr>
              <a:spLocks noChangeAspect="1" noChangeShapeType="1"/>
            </p:cNvSpPr>
            <p:nvPr/>
          </p:nvSpPr>
          <p:spPr bwMode="auto">
            <a:xfrm flipV="1">
              <a:off x="8602664" y="2296478"/>
              <a:ext cx="9525"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02" name="Line 1850">
              <a:extLst>
                <a:ext uri="{FF2B5EF4-FFF2-40B4-BE49-F238E27FC236}">
                  <a16:creationId xmlns:a16="http://schemas.microsoft.com/office/drawing/2014/main" id="{F8E52899-4E9B-40C1-955D-5F1F54C3457A}"/>
                </a:ext>
              </a:extLst>
            </p:cNvPr>
            <p:cNvSpPr>
              <a:spLocks noChangeAspect="1" noChangeShapeType="1"/>
            </p:cNvSpPr>
            <p:nvPr/>
          </p:nvSpPr>
          <p:spPr bwMode="auto">
            <a:xfrm flipV="1">
              <a:off x="8612188" y="2283778"/>
              <a:ext cx="4762"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03" name="Line 1851">
              <a:extLst>
                <a:ext uri="{FF2B5EF4-FFF2-40B4-BE49-F238E27FC236}">
                  <a16:creationId xmlns:a16="http://schemas.microsoft.com/office/drawing/2014/main" id="{8F475F6B-56FD-44D6-BE30-ABE6242FA86A}"/>
                </a:ext>
              </a:extLst>
            </p:cNvPr>
            <p:cNvSpPr>
              <a:spLocks noChangeAspect="1" noChangeShapeType="1"/>
            </p:cNvSpPr>
            <p:nvPr/>
          </p:nvSpPr>
          <p:spPr bwMode="auto">
            <a:xfrm flipV="1">
              <a:off x="8621713" y="2250441"/>
              <a:ext cx="4762"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04" name="Line 1852">
              <a:extLst>
                <a:ext uri="{FF2B5EF4-FFF2-40B4-BE49-F238E27FC236}">
                  <a16:creationId xmlns:a16="http://schemas.microsoft.com/office/drawing/2014/main" id="{4FC19EA0-C40D-40D1-AA87-759773838EA5}"/>
                </a:ext>
              </a:extLst>
            </p:cNvPr>
            <p:cNvSpPr>
              <a:spLocks noChangeAspect="1" noChangeShapeType="1"/>
            </p:cNvSpPr>
            <p:nvPr/>
          </p:nvSpPr>
          <p:spPr bwMode="auto">
            <a:xfrm flipV="1">
              <a:off x="8626475" y="2213928"/>
              <a:ext cx="12700" cy="365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05" name="Line 1853">
              <a:extLst>
                <a:ext uri="{FF2B5EF4-FFF2-40B4-BE49-F238E27FC236}">
                  <a16:creationId xmlns:a16="http://schemas.microsoft.com/office/drawing/2014/main" id="{AC80A9EC-0683-48DF-9253-BF6B28E6EFEC}"/>
                </a:ext>
              </a:extLst>
            </p:cNvPr>
            <p:cNvSpPr>
              <a:spLocks noChangeAspect="1" noChangeShapeType="1"/>
            </p:cNvSpPr>
            <p:nvPr/>
          </p:nvSpPr>
          <p:spPr bwMode="auto">
            <a:xfrm flipV="1">
              <a:off x="8643939" y="2159953"/>
              <a:ext cx="14287"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06" name="Line 1854">
              <a:extLst>
                <a:ext uri="{FF2B5EF4-FFF2-40B4-BE49-F238E27FC236}">
                  <a16:creationId xmlns:a16="http://schemas.microsoft.com/office/drawing/2014/main" id="{B301CD32-B70E-459F-964C-58DA52DD1C60}"/>
                </a:ext>
              </a:extLst>
            </p:cNvPr>
            <p:cNvSpPr>
              <a:spLocks noChangeAspect="1" noChangeShapeType="1"/>
            </p:cNvSpPr>
            <p:nvPr/>
          </p:nvSpPr>
          <p:spPr bwMode="auto">
            <a:xfrm flipV="1">
              <a:off x="8658225" y="2144079"/>
              <a:ext cx="6350"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07" name="Line 1855">
              <a:extLst>
                <a:ext uri="{FF2B5EF4-FFF2-40B4-BE49-F238E27FC236}">
                  <a16:creationId xmlns:a16="http://schemas.microsoft.com/office/drawing/2014/main" id="{8224BB38-559A-4E2E-A404-375C27B66E49}"/>
                </a:ext>
              </a:extLst>
            </p:cNvPr>
            <p:cNvSpPr>
              <a:spLocks noChangeAspect="1" noChangeShapeType="1"/>
            </p:cNvSpPr>
            <p:nvPr/>
          </p:nvSpPr>
          <p:spPr bwMode="auto">
            <a:xfrm flipV="1">
              <a:off x="8670925" y="2115504"/>
              <a:ext cx="6350"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08" name="Line 1856">
              <a:extLst>
                <a:ext uri="{FF2B5EF4-FFF2-40B4-BE49-F238E27FC236}">
                  <a16:creationId xmlns:a16="http://schemas.microsoft.com/office/drawing/2014/main" id="{D3531A86-632D-4E7F-AEA3-E12B15AAD0ED}"/>
                </a:ext>
              </a:extLst>
            </p:cNvPr>
            <p:cNvSpPr>
              <a:spLocks noChangeAspect="1" noChangeShapeType="1"/>
            </p:cNvSpPr>
            <p:nvPr/>
          </p:nvSpPr>
          <p:spPr bwMode="auto">
            <a:xfrm flipV="1">
              <a:off x="8677276" y="2078991"/>
              <a:ext cx="17463" cy="365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09" name="Line 1857">
              <a:extLst>
                <a:ext uri="{FF2B5EF4-FFF2-40B4-BE49-F238E27FC236}">
                  <a16:creationId xmlns:a16="http://schemas.microsoft.com/office/drawing/2014/main" id="{D74BC672-0E96-4B9B-A279-CCC9A8B1946A}"/>
                </a:ext>
              </a:extLst>
            </p:cNvPr>
            <p:cNvSpPr>
              <a:spLocks noChangeAspect="1" noChangeShapeType="1"/>
            </p:cNvSpPr>
            <p:nvPr/>
          </p:nvSpPr>
          <p:spPr bwMode="auto">
            <a:xfrm flipV="1">
              <a:off x="8701088" y="2042479"/>
              <a:ext cx="11112"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10" name="Line 1858">
              <a:extLst>
                <a:ext uri="{FF2B5EF4-FFF2-40B4-BE49-F238E27FC236}">
                  <a16:creationId xmlns:a16="http://schemas.microsoft.com/office/drawing/2014/main" id="{3F36BAE8-63A2-4339-9C50-D26BD9852BE7}"/>
                </a:ext>
              </a:extLst>
            </p:cNvPr>
            <p:cNvSpPr>
              <a:spLocks noChangeAspect="1" noChangeShapeType="1"/>
            </p:cNvSpPr>
            <p:nvPr/>
          </p:nvSpPr>
          <p:spPr bwMode="auto">
            <a:xfrm flipV="1">
              <a:off x="8712201" y="2023428"/>
              <a:ext cx="9525"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11" name="Line 1859">
              <a:extLst>
                <a:ext uri="{FF2B5EF4-FFF2-40B4-BE49-F238E27FC236}">
                  <a16:creationId xmlns:a16="http://schemas.microsoft.com/office/drawing/2014/main" id="{FA29C313-78C0-4AB7-AF40-8FD6A6B6D3EC}"/>
                </a:ext>
              </a:extLst>
            </p:cNvPr>
            <p:cNvSpPr>
              <a:spLocks noChangeAspect="1" noChangeShapeType="1"/>
            </p:cNvSpPr>
            <p:nvPr/>
          </p:nvSpPr>
          <p:spPr bwMode="auto">
            <a:xfrm flipV="1">
              <a:off x="8721726" y="2013904"/>
              <a:ext cx="4763"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12" name="Line 1860">
              <a:extLst>
                <a:ext uri="{FF2B5EF4-FFF2-40B4-BE49-F238E27FC236}">
                  <a16:creationId xmlns:a16="http://schemas.microsoft.com/office/drawing/2014/main" id="{0739D9D7-B137-435F-96D7-7BE65DE9106C}"/>
                </a:ext>
              </a:extLst>
            </p:cNvPr>
            <p:cNvSpPr>
              <a:spLocks noChangeAspect="1" noChangeShapeType="1"/>
            </p:cNvSpPr>
            <p:nvPr/>
          </p:nvSpPr>
          <p:spPr bwMode="auto">
            <a:xfrm flipV="1">
              <a:off x="8734425" y="1977391"/>
              <a:ext cx="14288" cy="238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13" name="Line 1861">
              <a:extLst>
                <a:ext uri="{FF2B5EF4-FFF2-40B4-BE49-F238E27FC236}">
                  <a16:creationId xmlns:a16="http://schemas.microsoft.com/office/drawing/2014/main" id="{D26A87C3-9160-4E7E-9852-4195E1B05D2A}"/>
                </a:ext>
              </a:extLst>
            </p:cNvPr>
            <p:cNvSpPr>
              <a:spLocks noChangeAspect="1" noChangeShapeType="1"/>
            </p:cNvSpPr>
            <p:nvPr/>
          </p:nvSpPr>
          <p:spPr bwMode="auto">
            <a:xfrm flipV="1">
              <a:off x="8748714" y="1961516"/>
              <a:ext cx="7937"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14" name="Line 1862">
              <a:extLst>
                <a:ext uri="{FF2B5EF4-FFF2-40B4-BE49-F238E27FC236}">
                  <a16:creationId xmlns:a16="http://schemas.microsoft.com/office/drawing/2014/main" id="{CE25B784-6C90-4B5A-BDD5-6C3B8DA656BA}"/>
                </a:ext>
              </a:extLst>
            </p:cNvPr>
            <p:cNvSpPr>
              <a:spLocks noChangeAspect="1" noChangeShapeType="1"/>
            </p:cNvSpPr>
            <p:nvPr/>
          </p:nvSpPr>
          <p:spPr bwMode="auto">
            <a:xfrm flipV="1">
              <a:off x="8756650" y="1951991"/>
              <a:ext cx="6350"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15" name="Line 1863">
              <a:extLst>
                <a:ext uri="{FF2B5EF4-FFF2-40B4-BE49-F238E27FC236}">
                  <a16:creationId xmlns:a16="http://schemas.microsoft.com/office/drawing/2014/main" id="{8E4B03BC-43EC-4427-811C-AD1F95BCAF85}"/>
                </a:ext>
              </a:extLst>
            </p:cNvPr>
            <p:cNvSpPr>
              <a:spLocks noChangeAspect="1" noChangeShapeType="1"/>
            </p:cNvSpPr>
            <p:nvPr/>
          </p:nvSpPr>
          <p:spPr bwMode="auto">
            <a:xfrm flipV="1">
              <a:off x="8770938" y="1931354"/>
              <a:ext cx="6350"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16" name="Line 1864">
              <a:extLst>
                <a:ext uri="{FF2B5EF4-FFF2-40B4-BE49-F238E27FC236}">
                  <a16:creationId xmlns:a16="http://schemas.microsoft.com/office/drawing/2014/main" id="{F29C2C5E-DE22-4C48-9256-7D8F84970EE9}"/>
                </a:ext>
              </a:extLst>
            </p:cNvPr>
            <p:cNvSpPr>
              <a:spLocks noChangeAspect="1" noChangeShapeType="1"/>
            </p:cNvSpPr>
            <p:nvPr/>
          </p:nvSpPr>
          <p:spPr bwMode="auto">
            <a:xfrm flipV="1">
              <a:off x="8777288" y="1894841"/>
              <a:ext cx="25400" cy="365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17" name="Line 1865">
              <a:extLst>
                <a:ext uri="{FF2B5EF4-FFF2-40B4-BE49-F238E27FC236}">
                  <a16:creationId xmlns:a16="http://schemas.microsoft.com/office/drawing/2014/main" id="{9ADF85C4-29DC-4F69-A67B-CF3207200B61}"/>
                </a:ext>
              </a:extLst>
            </p:cNvPr>
            <p:cNvSpPr>
              <a:spLocks noChangeAspect="1" noChangeShapeType="1"/>
            </p:cNvSpPr>
            <p:nvPr/>
          </p:nvSpPr>
          <p:spPr bwMode="auto">
            <a:xfrm flipV="1">
              <a:off x="8810626" y="1842454"/>
              <a:ext cx="36513" cy="412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18" name="Line 1866">
              <a:extLst>
                <a:ext uri="{FF2B5EF4-FFF2-40B4-BE49-F238E27FC236}">
                  <a16:creationId xmlns:a16="http://schemas.microsoft.com/office/drawing/2014/main" id="{30C1417A-22E2-420E-891B-B51DCED2AAA4}"/>
                </a:ext>
              </a:extLst>
            </p:cNvPr>
            <p:cNvSpPr>
              <a:spLocks noChangeAspect="1" noChangeShapeType="1"/>
            </p:cNvSpPr>
            <p:nvPr/>
          </p:nvSpPr>
          <p:spPr bwMode="auto">
            <a:xfrm flipV="1">
              <a:off x="8856663" y="1794828"/>
              <a:ext cx="38100"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19" name="Line 1867">
              <a:extLst>
                <a:ext uri="{FF2B5EF4-FFF2-40B4-BE49-F238E27FC236}">
                  <a16:creationId xmlns:a16="http://schemas.microsoft.com/office/drawing/2014/main" id="{C0300B6B-3E8E-4E89-93C9-77DD0B9BD990}"/>
                </a:ext>
              </a:extLst>
            </p:cNvPr>
            <p:cNvSpPr>
              <a:spLocks noChangeAspect="1" noChangeShapeType="1"/>
            </p:cNvSpPr>
            <p:nvPr/>
          </p:nvSpPr>
          <p:spPr bwMode="auto">
            <a:xfrm flipV="1">
              <a:off x="8905876" y="1756728"/>
              <a:ext cx="34925" cy="301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20" name="Line 1868">
              <a:extLst>
                <a:ext uri="{FF2B5EF4-FFF2-40B4-BE49-F238E27FC236}">
                  <a16:creationId xmlns:a16="http://schemas.microsoft.com/office/drawing/2014/main" id="{BB2910CA-DEA1-484E-976D-EA2F2FE16787}"/>
                </a:ext>
              </a:extLst>
            </p:cNvPr>
            <p:cNvSpPr>
              <a:spLocks noChangeAspect="1" noChangeShapeType="1"/>
            </p:cNvSpPr>
            <p:nvPr/>
          </p:nvSpPr>
          <p:spPr bwMode="auto">
            <a:xfrm flipV="1">
              <a:off x="8940800" y="1753554"/>
              <a:ext cx="6350"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21" name="Line 1869">
              <a:extLst>
                <a:ext uri="{FF2B5EF4-FFF2-40B4-BE49-F238E27FC236}">
                  <a16:creationId xmlns:a16="http://schemas.microsoft.com/office/drawing/2014/main" id="{BA815B1F-8CA9-4F84-8EDB-D42CA0D2A445}"/>
                </a:ext>
              </a:extLst>
            </p:cNvPr>
            <p:cNvSpPr>
              <a:spLocks noChangeAspect="1" noChangeShapeType="1"/>
            </p:cNvSpPr>
            <p:nvPr/>
          </p:nvSpPr>
          <p:spPr bwMode="auto">
            <a:xfrm flipV="1">
              <a:off x="8958263" y="1728153"/>
              <a:ext cx="30162"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22" name="Line 1870">
              <a:extLst>
                <a:ext uri="{FF2B5EF4-FFF2-40B4-BE49-F238E27FC236}">
                  <a16:creationId xmlns:a16="http://schemas.microsoft.com/office/drawing/2014/main" id="{8E83263A-5CE4-4913-820C-BBF108675E92}"/>
                </a:ext>
              </a:extLst>
            </p:cNvPr>
            <p:cNvSpPr>
              <a:spLocks noChangeAspect="1" noChangeShapeType="1"/>
            </p:cNvSpPr>
            <p:nvPr/>
          </p:nvSpPr>
          <p:spPr bwMode="auto">
            <a:xfrm flipV="1">
              <a:off x="8988425" y="1721803"/>
              <a:ext cx="14288"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23" name="Line 1871">
              <a:extLst>
                <a:ext uri="{FF2B5EF4-FFF2-40B4-BE49-F238E27FC236}">
                  <a16:creationId xmlns:a16="http://schemas.microsoft.com/office/drawing/2014/main" id="{7B22FC81-1FCC-4C18-AACC-849097A429F8}"/>
                </a:ext>
              </a:extLst>
            </p:cNvPr>
            <p:cNvSpPr>
              <a:spLocks noChangeAspect="1" noChangeShapeType="1"/>
            </p:cNvSpPr>
            <p:nvPr/>
          </p:nvSpPr>
          <p:spPr bwMode="auto">
            <a:xfrm flipV="1">
              <a:off x="9015413" y="1709104"/>
              <a:ext cx="19050"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24" name="Line 1872">
              <a:extLst>
                <a:ext uri="{FF2B5EF4-FFF2-40B4-BE49-F238E27FC236}">
                  <a16:creationId xmlns:a16="http://schemas.microsoft.com/office/drawing/2014/main" id="{C49F5559-C16F-4A7D-8A87-8058F92A3143}"/>
                </a:ext>
              </a:extLst>
            </p:cNvPr>
            <p:cNvSpPr>
              <a:spLocks noChangeAspect="1" noChangeShapeType="1"/>
            </p:cNvSpPr>
            <p:nvPr/>
          </p:nvSpPr>
          <p:spPr bwMode="auto">
            <a:xfrm flipV="1">
              <a:off x="9034463" y="1701165"/>
              <a:ext cx="25400"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25" name="Line 1873">
              <a:extLst>
                <a:ext uri="{FF2B5EF4-FFF2-40B4-BE49-F238E27FC236}">
                  <a16:creationId xmlns:a16="http://schemas.microsoft.com/office/drawing/2014/main" id="{A26A8FA1-64E9-46EF-B14D-524D241E7156}"/>
                </a:ext>
              </a:extLst>
            </p:cNvPr>
            <p:cNvSpPr>
              <a:spLocks noChangeAspect="1" noChangeShapeType="1"/>
            </p:cNvSpPr>
            <p:nvPr/>
          </p:nvSpPr>
          <p:spPr bwMode="auto">
            <a:xfrm flipV="1">
              <a:off x="9059864" y="1701165"/>
              <a:ext cx="3175"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26" name="Line 1874">
              <a:extLst>
                <a:ext uri="{FF2B5EF4-FFF2-40B4-BE49-F238E27FC236}">
                  <a16:creationId xmlns:a16="http://schemas.microsoft.com/office/drawing/2014/main" id="{2ED811C4-1982-42A9-A037-1B278765AC13}"/>
                </a:ext>
              </a:extLst>
            </p:cNvPr>
            <p:cNvSpPr>
              <a:spLocks noChangeAspect="1" noChangeShapeType="1"/>
            </p:cNvSpPr>
            <p:nvPr/>
          </p:nvSpPr>
          <p:spPr bwMode="auto">
            <a:xfrm flipV="1">
              <a:off x="9074150" y="1696404"/>
              <a:ext cx="6350"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27" name="Line 1875">
              <a:extLst>
                <a:ext uri="{FF2B5EF4-FFF2-40B4-BE49-F238E27FC236}">
                  <a16:creationId xmlns:a16="http://schemas.microsoft.com/office/drawing/2014/main" id="{6F60E233-1BD7-4BD6-896E-65EE4B5FFF7F}"/>
                </a:ext>
              </a:extLst>
            </p:cNvPr>
            <p:cNvSpPr>
              <a:spLocks noChangeAspect="1" noChangeShapeType="1"/>
            </p:cNvSpPr>
            <p:nvPr/>
          </p:nvSpPr>
          <p:spPr bwMode="auto">
            <a:xfrm flipV="1">
              <a:off x="9080500" y="1690053"/>
              <a:ext cx="44450"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28" name="Line 1876">
              <a:extLst>
                <a:ext uri="{FF2B5EF4-FFF2-40B4-BE49-F238E27FC236}">
                  <a16:creationId xmlns:a16="http://schemas.microsoft.com/office/drawing/2014/main" id="{E32FAD54-008E-4BA9-8385-DDF056493367}"/>
                </a:ext>
              </a:extLst>
            </p:cNvPr>
            <p:cNvSpPr>
              <a:spLocks noChangeAspect="1" noChangeShapeType="1"/>
            </p:cNvSpPr>
            <p:nvPr/>
          </p:nvSpPr>
          <p:spPr bwMode="auto">
            <a:xfrm>
              <a:off x="9136063" y="1690053"/>
              <a:ext cx="36512"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29" name="Line 1877">
              <a:extLst>
                <a:ext uri="{FF2B5EF4-FFF2-40B4-BE49-F238E27FC236}">
                  <a16:creationId xmlns:a16="http://schemas.microsoft.com/office/drawing/2014/main" id="{943BDB63-FB4C-4D6E-9795-01FABAC5B47F}"/>
                </a:ext>
              </a:extLst>
            </p:cNvPr>
            <p:cNvSpPr>
              <a:spLocks noChangeAspect="1" noChangeShapeType="1"/>
            </p:cNvSpPr>
            <p:nvPr/>
          </p:nvSpPr>
          <p:spPr bwMode="auto">
            <a:xfrm>
              <a:off x="9172575" y="1690054"/>
              <a:ext cx="142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30" name="Line 1878">
              <a:extLst>
                <a:ext uri="{FF2B5EF4-FFF2-40B4-BE49-F238E27FC236}">
                  <a16:creationId xmlns:a16="http://schemas.microsoft.com/office/drawing/2014/main" id="{815EE6C0-3458-4E66-93E3-A41C7BCB4627}"/>
                </a:ext>
              </a:extLst>
            </p:cNvPr>
            <p:cNvSpPr>
              <a:spLocks noChangeAspect="1" noChangeShapeType="1"/>
            </p:cNvSpPr>
            <p:nvPr/>
          </p:nvSpPr>
          <p:spPr bwMode="auto">
            <a:xfrm>
              <a:off x="9199563" y="1693229"/>
              <a:ext cx="17462"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31" name="Line 1879">
              <a:extLst>
                <a:ext uri="{FF2B5EF4-FFF2-40B4-BE49-F238E27FC236}">
                  <a16:creationId xmlns:a16="http://schemas.microsoft.com/office/drawing/2014/main" id="{183549C5-CFA5-47C7-989E-9769302E09FE}"/>
                </a:ext>
              </a:extLst>
            </p:cNvPr>
            <p:cNvSpPr>
              <a:spLocks noChangeAspect="1" noChangeShapeType="1"/>
            </p:cNvSpPr>
            <p:nvPr/>
          </p:nvSpPr>
          <p:spPr bwMode="auto">
            <a:xfrm>
              <a:off x="9217026" y="1696403"/>
              <a:ext cx="22225"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32" name="Line 1880">
              <a:extLst>
                <a:ext uri="{FF2B5EF4-FFF2-40B4-BE49-F238E27FC236}">
                  <a16:creationId xmlns:a16="http://schemas.microsoft.com/office/drawing/2014/main" id="{495F832D-CB5B-4375-9A11-E6BD858BC2BE}"/>
                </a:ext>
              </a:extLst>
            </p:cNvPr>
            <p:cNvSpPr>
              <a:spLocks noChangeAspect="1" noChangeShapeType="1"/>
            </p:cNvSpPr>
            <p:nvPr/>
          </p:nvSpPr>
          <p:spPr bwMode="auto">
            <a:xfrm>
              <a:off x="9239250" y="1701166"/>
              <a:ext cx="7938"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33" name="Line 1881">
              <a:extLst>
                <a:ext uri="{FF2B5EF4-FFF2-40B4-BE49-F238E27FC236}">
                  <a16:creationId xmlns:a16="http://schemas.microsoft.com/office/drawing/2014/main" id="{BB3479B9-B3A6-4C98-8ED0-092019B16345}"/>
                </a:ext>
              </a:extLst>
            </p:cNvPr>
            <p:cNvSpPr>
              <a:spLocks noChangeAspect="1" noChangeShapeType="1"/>
            </p:cNvSpPr>
            <p:nvPr/>
          </p:nvSpPr>
          <p:spPr bwMode="auto">
            <a:xfrm>
              <a:off x="9259888" y="1707515"/>
              <a:ext cx="4762"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34" name="Line 1882">
              <a:extLst>
                <a:ext uri="{FF2B5EF4-FFF2-40B4-BE49-F238E27FC236}">
                  <a16:creationId xmlns:a16="http://schemas.microsoft.com/office/drawing/2014/main" id="{76102D87-CD98-4E9F-9E05-64FE105C9253}"/>
                </a:ext>
              </a:extLst>
            </p:cNvPr>
            <p:cNvSpPr>
              <a:spLocks noChangeAspect="1" noChangeShapeType="1"/>
            </p:cNvSpPr>
            <p:nvPr/>
          </p:nvSpPr>
          <p:spPr bwMode="auto">
            <a:xfrm>
              <a:off x="9264651" y="1709104"/>
              <a:ext cx="42863"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35" name="Line 1883">
              <a:extLst>
                <a:ext uri="{FF2B5EF4-FFF2-40B4-BE49-F238E27FC236}">
                  <a16:creationId xmlns:a16="http://schemas.microsoft.com/office/drawing/2014/main" id="{4B3BD319-A1AA-4B66-B57C-EC884718D955}"/>
                </a:ext>
              </a:extLst>
            </p:cNvPr>
            <p:cNvSpPr>
              <a:spLocks noChangeAspect="1" noChangeShapeType="1"/>
            </p:cNvSpPr>
            <p:nvPr/>
          </p:nvSpPr>
          <p:spPr bwMode="auto">
            <a:xfrm>
              <a:off x="9318625" y="1728153"/>
              <a:ext cx="38100"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36" name="Line 1884">
              <a:extLst>
                <a:ext uri="{FF2B5EF4-FFF2-40B4-BE49-F238E27FC236}">
                  <a16:creationId xmlns:a16="http://schemas.microsoft.com/office/drawing/2014/main" id="{CC208ED0-46DF-4FE8-AB50-53777B98A133}"/>
                </a:ext>
              </a:extLst>
            </p:cNvPr>
            <p:cNvSpPr>
              <a:spLocks noChangeAspect="1" noChangeShapeType="1"/>
            </p:cNvSpPr>
            <p:nvPr/>
          </p:nvSpPr>
          <p:spPr bwMode="auto">
            <a:xfrm>
              <a:off x="9356725" y="1747204"/>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37" name="Line 1885">
              <a:extLst>
                <a:ext uri="{FF2B5EF4-FFF2-40B4-BE49-F238E27FC236}">
                  <a16:creationId xmlns:a16="http://schemas.microsoft.com/office/drawing/2014/main" id="{B2702E1B-E603-4489-BBFE-6FA3B591D1C8}"/>
                </a:ext>
              </a:extLst>
            </p:cNvPr>
            <p:cNvSpPr>
              <a:spLocks noChangeAspect="1" noChangeShapeType="1"/>
            </p:cNvSpPr>
            <p:nvPr/>
          </p:nvSpPr>
          <p:spPr bwMode="auto">
            <a:xfrm>
              <a:off x="9358313" y="1747203"/>
              <a:ext cx="6350"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38" name="Line 1886">
              <a:extLst>
                <a:ext uri="{FF2B5EF4-FFF2-40B4-BE49-F238E27FC236}">
                  <a16:creationId xmlns:a16="http://schemas.microsoft.com/office/drawing/2014/main" id="{6B3135FD-4D48-4163-BF79-C74FF848D2D8}"/>
                </a:ext>
              </a:extLst>
            </p:cNvPr>
            <p:cNvSpPr>
              <a:spLocks noChangeAspect="1" noChangeShapeType="1"/>
            </p:cNvSpPr>
            <p:nvPr/>
          </p:nvSpPr>
          <p:spPr bwMode="auto">
            <a:xfrm>
              <a:off x="9375775" y="1758315"/>
              <a:ext cx="26988"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39" name="Line 1887">
              <a:extLst>
                <a:ext uri="{FF2B5EF4-FFF2-40B4-BE49-F238E27FC236}">
                  <a16:creationId xmlns:a16="http://schemas.microsoft.com/office/drawing/2014/main" id="{DA44EE3F-2730-4B12-AC1A-3AC9B2C54AA8}"/>
                </a:ext>
              </a:extLst>
            </p:cNvPr>
            <p:cNvSpPr>
              <a:spLocks noChangeAspect="1" noChangeShapeType="1"/>
            </p:cNvSpPr>
            <p:nvPr/>
          </p:nvSpPr>
          <p:spPr bwMode="auto">
            <a:xfrm>
              <a:off x="9402763" y="1772604"/>
              <a:ext cx="17462"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40" name="Line 1888">
              <a:extLst>
                <a:ext uri="{FF2B5EF4-FFF2-40B4-BE49-F238E27FC236}">
                  <a16:creationId xmlns:a16="http://schemas.microsoft.com/office/drawing/2014/main" id="{CA2ED1E3-AF1D-4E71-8E92-347545906056}"/>
                </a:ext>
              </a:extLst>
            </p:cNvPr>
            <p:cNvSpPr>
              <a:spLocks noChangeAspect="1" noChangeShapeType="1"/>
            </p:cNvSpPr>
            <p:nvPr/>
          </p:nvSpPr>
          <p:spPr bwMode="auto">
            <a:xfrm>
              <a:off x="9431338" y="1794828"/>
              <a:ext cx="17462"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41" name="Line 1889">
              <a:extLst>
                <a:ext uri="{FF2B5EF4-FFF2-40B4-BE49-F238E27FC236}">
                  <a16:creationId xmlns:a16="http://schemas.microsoft.com/office/drawing/2014/main" id="{779E761B-576D-4D2F-8B8B-CA0D69024FA0}"/>
                </a:ext>
              </a:extLst>
            </p:cNvPr>
            <p:cNvSpPr>
              <a:spLocks noChangeAspect="1" noChangeShapeType="1"/>
            </p:cNvSpPr>
            <p:nvPr/>
          </p:nvSpPr>
          <p:spPr bwMode="auto">
            <a:xfrm>
              <a:off x="9448801" y="1807528"/>
              <a:ext cx="23813"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42" name="Line 1890">
              <a:extLst>
                <a:ext uri="{FF2B5EF4-FFF2-40B4-BE49-F238E27FC236}">
                  <a16:creationId xmlns:a16="http://schemas.microsoft.com/office/drawing/2014/main" id="{C0E7C59A-1611-4191-B226-F749CBE63856}"/>
                </a:ext>
              </a:extLst>
            </p:cNvPr>
            <p:cNvSpPr>
              <a:spLocks noChangeAspect="1" noChangeShapeType="1"/>
            </p:cNvSpPr>
            <p:nvPr/>
          </p:nvSpPr>
          <p:spPr bwMode="auto">
            <a:xfrm>
              <a:off x="9483726" y="1834516"/>
              <a:ext cx="4763"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43" name="Line 1891">
              <a:extLst>
                <a:ext uri="{FF2B5EF4-FFF2-40B4-BE49-F238E27FC236}">
                  <a16:creationId xmlns:a16="http://schemas.microsoft.com/office/drawing/2014/main" id="{8F961965-4E8E-4316-A137-AD52F286E52E}"/>
                </a:ext>
              </a:extLst>
            </p:cNvPr>
            <p:cNvSpPr>
              <a:spLocks noChangeAspect="1" noChangeShapeType="1"/>
            </p:cNvSpPr>
            <p:nvPr/>
          </p:nvSpPr>
          <p:spPr bwMode="auto">
            <a:xfrm>
              <a:off x="9488488" y="1839278"/>
              <a:ext cx="6350"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44" name="Line 1892">
              <a:extLst>
                <a:ext uri="{FF2B5EF4-FFF2-40B4-BE49-F238E27FC236}">
                  <a16:creationId xmlns:a16="http://schemas.microsoft.com/office/drawing/2014/main" id="{21EBC206-A5E7-4030-B096-09245A0ACF91}"/>
                </a:ext>
              </a:extLst>
            </p:cNvPr>
            <p:cNvSpPr>
              <a:spLocks noChangeAspect="1" noChangeShapeType="1"/>
            </p:cNvSpPr>
            <p:nvPr/>
          </p:nvSpPr>
          <p:spPr bwMode="auto">
            <a:xfrm>
              <a:off x="9494839" y="1844040"/>
              <a:ext cx="28575"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45" name="Line 1893">
              <a:extLst>
                <a:ext uri="{FF2B5EF4-FFF2-40B4-BE49-F238E27FC236}">
                  <a16:creationId xmlns:a16="http://schemas.microsoft.com/office/drawing/2014/main" id="{C9F0CB67-A570-468A-9237-5526037C2AE0}"/>
                </a:ext>
              </a:extLst>
            </p:cNvPr>
            <p:cNvSpPr>
              <a:spLocks noChangeAspect="1" noChangeShapeType="1"/>
            </p:cNvSpPr>
            <p:nvPr/>
          </p:nvSpPr>
          <p:spPr bwMode="auto">
            <a:xfrm>
              <a:off x="9532939" y="1878965"/>
              <a:ext cx="7937"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46" name="Line 1894">
              <a:extLst>
                <a:ext uri="{FF2B5EF4-FFF2-40B4-BE49-F238E27FC236}">
                  <a16:creationId xmlns:a16="http://schemas.microsoft.com/office/drawing/2014/main" id="{8E50629D-D0E8-4B8C-BB7E-450FEF10CAC0}"/>
                </a:ext>
              </a:extLst>
            </p:cNvPr>
            <p:cNvSpPr>
              <a:spLocks noChangeAspect="1" noChangeShapeType="1"/>
            </p:cNvSpPr>
            <p:nvPr/>
          </p:nvSpPr>
          <p:spPr bwMode="auto">
            <a:xfrm>
              <a:off x="9540875" y="1885315"/>
              <a:ext cx="15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47" name="Line 1895">
              <a:extLst>
                <a:ext uri="{FF2B5EF4-FFF2-40B4-BE49-F238E27FC236}">
                  <a16:creationId xmlns:a16="http://schemas.microsoft.com/office/drawing/2014/main" id="{E2811482-7FAB-4373-BE49-DD792D9A7311}"/>
                </a:ext>
              </a:extLst>
            </p:cNvPr>
            <p:cNvSpPr>
              <a:spLocks noChangeAspect="1" noChangeShapeType="1"/>
            </p:cNvSpPr>
            <p:nvPr/>
          </p:nvSpPr>
          <p:spPr bwMode="auto">
            <a:xfrm>
              <a:off x="9540876" y="1886903"/>
              <a:ext cx="30163" cy="301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48" name="Line 1896">
              <a:extLst>
                <a:ext uri="{FF2B5EF4-FFF2-40B4-BE49-F238E27FC236}">
                  <a16:creationId xmlns:a16="http://schemas.microsoft.com/office/drawing/2014/main" id="{6C95986C-351B-48FA-9A51-00800A823698}"/>
                </a:ext>
              </a:extLst>
            </p:cNvPr>
            <p:cNvSpPr>
              <a:spLocks noChangeAspect="1" noChangeShapeType="1"/>
            </p:cNvSpPr>
            <p:nvPr/>
          </p:nvSpPr>
          <p:spPr bwMode="auto">
            <a:xfrm>
              <a:off x="9580563" y="1926591"/>
              <a:ext cx="4762"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49" name="Line 1897">
              <a:extLst>
                <a:ext uri="{FF2B5EF4-FFF2-40B4-BE49-F238E27FC236}">
                  <a16:creationId xmlns:a16="http://schemas.microsoft.com/office/drawing/2014/main" id="{D2466119-7DBF-47C9-AF17-9DA20ED4E6EA}"/>
                </a:ext>
              </a:extLst>
            </p:cNvPr>
            <p:cNvSpPr>
              <a:spLocks noChangeAspect="1" noChangeShapeType="1"/>
            </p:cNvSpPr>
            <p:nvPr/>
          </p:nvSpPr>
          <p:spPr bwMode="auto">
            <a:xfrm>
              <a:off x="9585326" y="1931354"/>
              <a:ext cx="3175"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50" name="Line 1898">
              <a:extLst>
                <a:ext uri="{FF2B5EF4-FFF2-40B4-BE49-F238E27FC236}">
                  <a16:creationId xmlns:a16="http://schemas.microsoft.com/office/drawing/2014/main" id="{6856DA64-508F-4427-9ED5-430C1E8763BD}"/>
                </a:ext>
              </a:extLst>
            </p:cNvPr>
            <p:cNvSpPr>
              <a:spLocks noChangeAspect="1" noChangeShapeType="1"/>
            </p:cNvSpPr>
            <p:nvPr/>
          </p:nvSpPr>
          <p:spPr bwMode="auto">
            <a:xfrm>
              <a:off x="9588501" y="1932941"/>
              <a:ext cx="28575"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51" name="Line 1899">
              <a:extLst>
                <a:ext uri="{FF2B5EF4-FFF2-40B4-BE49-F238E27FC236}">
                  <a16:creationId xmlns:a16="http://schemas.microsoft.com/office/drawing/2014/main" id="{8E6BCC04-40A3-440E-8707-BF6894FD00EA}"/>
                </a:ext>
              </a:extLst>
            </p:cNvPr>
            <p:cNvSpPr>
              <a:spLocks noChangeAspect="1" noChangeShapeType="1"/>
            </p:cNvSpPr>
            <p:nvPr/>
          </p:nvSpPr>
          <p:spPr bwMode="auto">
            <a:xfrm>
              <a:off x="9626600" y="1978978"/>
              <a:ext cx="6350"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52" name="Line 1900">
              <a:extLst>
                <a:ext uri="{FF2B5EF4-FFF2-40B4-BE49-F238E27FC236}">
                  <a16:creationId xmlns:a16="http://schemas.microsoft.com/office/drawing/2014/main" id="{A46476ED-1F81-4541-A66A-1D769C40E241}"/>
                </a:ext>
              </a:extLst>
            </p:cNvPr>
            <p:cNvSpPr>
              <a:spLocks noChangeAspect="1" noChangeShapeType="1"/>
            </p:cNvSpPr>
            <p:nvPr/>
          </p:nvSpPr>
          <p:spPr bwMode="auto">
            <a:xfrm>
              <a:off x="9632950" y="1985328"/>
              <a:ext cx="26988" cy="365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53" name="Line 1901">
              <a:extLst>
                <a:ext uri="{FF2B5EF4-FFF2-40B4-BE49-F238E27FC236}">
                  <a16:creationId xmlns:a16="http://schemas.microsoft.com/office/drawing/2014/main" id="{E27AB8C3-8A7D-4CF2-87EA-B957A495B1D0}"/>
                </a:ext>
              </a:extLst>
            </p:cNvPr>
            <p:cNvSpPr>
              <a:spLocks noChangeAspect="1" noChangeShapeType="1"/>
            </p:cNvSpPr>
            <p:nvPr/>
          </p:nvSpPr>
          <p:spPr bwMode="auto">
            <a:xfrm>
              <a:off x="9669464" y="2032954"/>
              <a:ext cx="9525"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54" name="Line 1902">
              <a:extLst>
                <a:ext uri="{FF2B5EF4-FFF2-40B4-BE49-F238E27FC236}">
                  <a16:creationId xmlns:a16="http://schemas.microsoft.com/office/drawing/2014/main" id="{1E1A4D16-9A50-4482-A4E9-3C05F4F6EC34}"/>
                </a:ext>
              </a:extLst>
            </p:cNvPr>
            <p:cNvSpPr>
              <a:spLocks noChangeAspect="1" noChangeShapeType="1"/>
            </p:cNvSpPr>
            <p:nvPr/>
          </p:nvSpPr>
          <p:spPr bwMode="auto">
            <a:xfrm>
              <a:off x="9678989" y="2047241"/>
              <a:ext cx="14287"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55" name="Line 1903">
              <a:extLst>
                <a:ext uri="{FF2B5EF4-FFF2-40B4-BE49-F238E27FC236}">
                  <a16:creationId xmlns:a16="http://schemas.microsoft.com/office/drawing/2014/main" id="{08CBE646-19E6-4B81-92BD-81978095EC72}"/>
                </a:ext>
              </a:extLst>
            </p:cNvPr>
            <p:cNvSpPr>
              <a:spLocks noChangeAspect="1" noChangeShapeType="1"/>
            </p:cNvSpPr>
            <p:nvPr/>
          </p:nvSpPr>
          <p:spPr bwMode="auto">
            <a:xfrm>
              <a:off x="9693275" y="2069466"/>
              <a:ext cx="6350"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56" name="Line 1904">
              <a:extLst>
                <a:ext uri="{FF2B5EF4-FFF2-40B4-BE49-F238E27FC236}">
                  <a16:creationId xmlns:a16="http://schemas.microsoft.com/office/drawing/2014/main" id="{678AE1DB-881D-4011-893A-858E2467E91F}"/>
                </a:ext>
              </a:extLst>
            </p:cNvPr>
            <p:cNvSpPr>
              <a:spLocks noChangeAspect="1" noChangeShapeType="1"/>
            </p:cNvSpPr>
            <p:nvPr/>
          </p:nvSpPr>
          <p:spPr bwMode="auto">
            <a:xfrm>
              <a:off x="9707563" y="2091691"/>
              <a:ext cx="12700" cy="238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57" name="Line 1905">
              <a:extLst>
                <a:ext uri="{FF2B5EF4-FFF2-40B4-BE49-F238E27FC236}">
                  <a16:creationId xmlns:a16="http://schemas.microsoft.com/office/drawing/2014/main" id="{EF78F409-8151-45A1-AA05-C3E76E8B09A3}"/>
                </a:ext>
              </a:extLst>
            </p:cNvPr>
            <p:cNvSpPr>
              <a:spLocks noChangeAspect="1" noChangeShapeType="1"/>
            </p:cNvSpPr>
            <p:nvPr/>
          </p:nvSpPr>
          <p:spPr bwMode="auto">
            <a:xfrm>
              <a:off x="9720263" y="2115504"/>
              <a:ext cx="4762"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58" name="Line 1906">
              <a:extLst>
                <a:ext uri="{FF2B5EF4-FFF2-40B4-BE49-F238E27FC236}">
                  <a16:creationId xmlns:a16="http://schemas.microsoft.com/office/drawing/2014/main" id="{B1A07D2D-2181-4B1E-9460-7455AC4FB9F7}"/>
                </a:ext>
              </a:extLst>
            </p:cNvPr>
            <p:cNvSpPr>
              <a:spLocks noChangeAspect="1" noChangeShapeType="1"/>
            </p:cNvSpPr>
            <p:nvPr/>
          </p:nvSpPr>
          <p:spPr bwMode="auto">
            <a:xfrm>
              <a:off x="9725026" y="2123440"/>
              <a:ext cx="9525"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59" name="Line 1907">
              <a:extLst>
                <a:ext uri="{FF2B5EF4-FFF2-40B4-BE49-F238E27FC236}">
                  <a16:creationId xmlns:a16="http://schemas.microsoft.com/office/drawing/2014/main" id="{7DB81F6B-49CC-449C-B057-F186DFD15971}"/>
                </a:ext>
              </a:extLst>
            </p:cNvPr>
            <p:cNvSpPr>
              <a:spLocks noChangeAspect="1" noChangeShapeType="1"/>
            </p:cNvSpPr>
            <p:nvPr/>
          </p:nvSpPr>
          <p:spPr bwMode="auto">
            <a:xfrm>
              <a:off x="9740900" y="2155191"/>
              <a:ext cx="1588"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60" name="Line 1908">
              <a:extLst>
                <a:ext uri="{FF2B5EF4-FFF2-40B4-BE49-F238E27FC236}">
                  <a16:creationId xmlns:a16="http://schemas.microsoft.com/office/drawing/2014/main" id="{4A40CFCE-21CC-41E8-95C7-E8890D9E3C22}"/>
                </a:ext>
              </a:extLst>
            </p:cNvPr>
            <p:cNvSpPr>
              <a:spLocks noChangeAspect="1" noChangeShapeType="1"/>
            </p:cNvSpPr>
            <p:nvPr/>
          </p:nvSpPr>
          <p:spPr bwMode="auto">
            <a:xfrm>
              <a:off x="9742488" y="2159954"/>
              <a:ext cx="19050"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61" name="Line 1909">
              <a:extLst>
                <a:ext uri="{FF2B5EF4-FFF2-40B4-BE49-F238E27FC236}">
                  <a16:creationId xmlns:a16="http://schemas.microsoft.com/office/drawing/2014/main" id="{B967B771-BCC1-4C90-B2C2-E6DF40C3AE07}"/>
                </a:ext>
              </a:extLst>
            </p:cNvPr>
            <p:cNvSpPr>
              <a:spLocks noChangeAspect="1" noChangeShapeType="1"/>
            </p:cNvSpPr>
            <p:nvPr/>
          </p:nvSpPr>
          <p:spPr bwMode="auto">
            <a:xfrm>
              <a:off x="9761539" y="2205991"/>
              <a:ext cx="1587"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62" name="Line 1910">
              <a:extLst>
                <a:ext uri="{FF2B5EF4-FFF2-40B4-BE49-F238E27FC236}">
                  <a16:creationId xmlns:a16="http://schemas.microsoft.com/office/drawing/2014/main" id="{281B7D2E-F3CE-4944-99BC-CA626D3485B6}"/>
                </a:ext>
              </a:extLst>
            </p:cNvPr>
            <p:cNvSpPr>
              <a:spLocks noChangeAspect="1" noChangeShapeType="1"/>
            </p:cNvSpPr>
            <p:nvPr/>
          </p:nvSpPr>
          <p:spPr bwMode="auto">
            <a:xfrm>
              <a:off x="9767889" y="2223454"/>
              <a:ext cx="3175"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63" name="Line 1911">
              <a:extLst>
                <a:ext uri="{FF2B5EF4-FFF2-40B4-BE49-F238E27FC236}">
                  <a16:creationId xmlns:a16="http://schemas.microsoft.com/office/drawing/2014/main" id="{9ADA9EE6-9126-4FB1-BC5C-472B130D7438}"/>
                </a:ext>
              </a:extLst>
            </p:cNvPr>
            <p:cNvSpPr>
              <a:spLocks noChangeAspect="1" noChangeShapeType="1"/>
            </p:cNvSpPr>
            <p:nvPr/>
          </p:nvSpPr>
          <p:spPr bwMode="auto">
            <a:xfrm>
              <a:off x="9771064" y="2231390"/>
              <a:ext cx="7937"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64" name="Line 1912">
              <a:extLst>
                <a:ext uri="{FF2B5EF4-FFF2-40B4-BE49-F238E27FC236}">
                  <a16:creationId xmlns:a16="http://schemas.microsoft.com/office/drawing/2014/main" id="{46F72510-E70B-4A3B-B113-7ED6E2C43CD6}"/>
                </a:ext>
              </a:extLst>
            </p:cNvPr>
            <p:cNvSpPr>
              <a:spLocks noChangeAspect="1" noChangeShapeType="1"/>
            </p:cNvSpPr>
            <p:nvPr/>
          </p:nvSpPr>
          <p:spPr bwMode="auto">
            <a:xfrm>
              <a:off x="9779000" y="2250440"/>
              <a:ext cx="7938"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65" name="Line 1913">
              <a:extLst>
                <a:ext uri="{FF2B5EF4-FFF2-40B4-BE49-F238E27FC236}">
                  <a16:creationId xmlns:a16="http://schemas.microsoft.com/office/drawing/2014/main" id="{5D36F54F-88D1-48E8-BA34-40E3B9E8E972}"/>
                </a:ext>
              </a:extLst>
            </p:cNvPr>
            <p:cNvSpPr>
              <a:spLocks noChangeAspect="1" noChangeShapeType="1"/>
            </p:cNvSpPr>
            <p:nvPr/>
          </p:nvSpPr>
          <p:spPr bwMode="auto">
            <a:xfrm>
              <a:off x="9791700" y="2293304"/>
              <a:ext cx="1588"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66" name="Line 1914">
              <a:extLst>
                <a:ext uri="{FF2B5EF4-FFF2-40B4-BE49-F238E27FC236}">
                  <a16:creationId xmlns:a16="http://schemas.microsoft.com/office/drawing/2014/main" id="{F61F730C-0968-4413-ACDF-E4956A5B20EB}"/>
                </a:ext>
              </a:extLst>
            </p:cNvPr>
            <p:cNvSpPr>
              <a:spLocks noChangeAspect="1" noChangeShapeType="1"/>
            </p:cNvSpPr>
            <p:nvPr/>
          </p:nvSpPr>
          <p:spPr bwMode="auto">
            <a:xfrm>
              <a:off x="9793288" y="2296479"/>
              <a:ext cx="11112"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67" name="Line 1915">
              <a:extLst>
                <a:ext uri="{FF2B5EF4-FFF2-40B4-BE49-F238E27FC236}">
                  <a16:creationId xmlns:a16="http://schemas.microsoft.com/office/drawing/2014/main" id="{0BB325DC-59F6-4A2A-A262-C48582F53343}"/>
                </a:ext>
              </a:extLst>
            </p:cNvPr>
            <p:cNvSpPr>
              <a:spLocks noChangeAspect="1" noChangeShapeType="1"/>
            </p:cNvSpPr>
            <p:nvPr/>
          </p:nvSpPr>
          <p:spPr bwMode="auto">
            <a:xfrm>
              <a:off x="9804400" y="2342515"/>
              <a:ext cx="0"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68" name="Line 1916">
              <a:extLst>
                <a:ext uri="{FF2B5EF4-FFF2-40B4-BE49-F238E27FC236}">
                  <a16:creationId xmlns:a16="http://schemas.microsoft.com/office/drawing/2014/main" id="{6E222C73-86E1-4B2A-A34B-097ED2DD5465}"/>
                </a:ext>
              </a:extLst>
            </p:cNvPr>
            <p:cNvSpPr>
              <a:spLocks noChangeAspect="1" noChangeShapeType="1"/>
            </p:cNvSpPr>
            <p:nvPr/>
          </p:nvSpPr>
          <p:spPr bwMode="auto">
            <a:xfrm>
              <a:off x="9809163" y="2364741"/>
              <a:ext cx="4762" cy="238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69" name="Line 1917">
              <a:extLst>
                <a:ext uri="{FF2B5EF4-FFF2-40B4-BE49-F238E27FC236}">
                  <a16:creationId xmlns:a16="http://schemas.microsoft.com/office/drawing/2014/main" id="{0E2B38DB-A304-4244-A715-5EEB0F40B348}"/>
                </a:ext>
              </a:extLst>
            </p:cNvPr>
            <p:cNvSpPr>
              <a:spLocks noChangeAspect="1" noChangeShapeType="1"/>
            </p:cNvSpPr>
            <p:nvPr/>
          </p:nvSpPr>
          <p:spPr bwMode="auto">
            <a:xfrm>
              <a:off x="9813926" y="2388553"/>
              <a:ext cx="3175" cy="301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70" name="Line 1918">
              <a:extLst>
                <a:ext uri="{FF2B5EF4-FFF2-40B4-BE49-F238E27FC236}">
                  <a16:creationId xmlns:a16="http://schemas.microsoft.com/office/drawing/2014/main" id="{D420C341-3D99-48A4-B6F9-2CAB060095EE}"/>
                </a:ext>
              </a:extLst>
            </p:cNvPr>
            <p:cNvSpPr>
              <a:spLocks noChangeAspect="1" noChangeShapeType="1"/>
            </p:cNvSpPr>
            <p:nvPr/>
          </p:nvSpPr>
          <p:spPr bwMode="auto">
            <a:xfrm>
              <a:off x="9817100" y="2418716"/>
              <a:ext cx="1588"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71" name="Line 1919">
              <a:extLst>
                <a:ext uri="{FF2B5EF4-FFF2-40B4-BE49-F238E27FC236}">
                  <a16:creationId xmlns:a16="http://schemas.microsoft.com/office/drawing/2014/main" id="{F91FDFEC-FAF1-4E0C-A20A-134FCCC4F16B}"/>
                </a:ext>
              </a:extLst>
            </p:cNvPr>
            <p:cNvSpPr>
              <a:spLocks noChangeAspect="1" noChangeShapeType="1"/>
            </p:cNvSpPr>
            <p:nvPr/>
          </p:nvSpPr>
          <p:spPr bwMode="auto">
            <a:xfrm>
              <a:off x="9820276" y="2439354"/>
              <a:ext cx="4763" cy="412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72" name="Line 1920">
              <a:extLst>
                <a:ext uri="{FF2B5EF4-FFF2-40B4-BE49-F238E27FC236}">
                  <a16:creationId xmlns:a16="http://schemas.microsoft.com/office/drawing/2014/main" id="{CEAC56CD-D966-4BF6-99DD-9A5D4F537A84}"/>
                </a:ext>
              </a:extLst>
            </p:cNvPr>
            <p:cNvSpPr>
              <a:spLocks noChangeAspect="1" noChangeShapeType="1"/>
            </p:cNvSpPr>
            <p:nvPr/>
          </p:nvSpPr>
          <p:spPr bwMode="auto">
            <a:xfrm>
              <a:off x="9825039" y="2480628"/>
              <a:ext cx="1587"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73" name="Line 1921">
              <a:extLst>
                <a:ext uri="{FF2B5EF4-FFF2-40B4-BE49-F238E27FC236}">
                  <a16:creationId xmlns:a16="http://schemas.microsoft.com/office/drawing/2014/main" id="{658E8169-1B45-4050-AB5C-AA33DCE0DC15}"/>
                </a:ext>
              </a:extLst>
            </p:cNvPr>
            <p:cNvSpPr>
              <a:spLocks noChangeAspect="1" noChangeShapeType="1"/>
            </p:cNvSpPr>
            <p:nvPr/>
          </p:nvSpPr>
          <p:spPr bwMode="auto">
            <a:xfrm>
              <a:off x="9826625" y="2512379"/>
              <a:ext cx="1588"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74" name="Line 1922">
              <a:extLst>
                <a:ext uri="{FF2B5EF4-FFF2-40B4-BE49-F238E27FC236}">
                  <a16:creationId xmlns:a16="http://schemas.microsoft.com/office/drawing/2014/main" id="{4BD97224-97E1-4279-9EFD-D8FA041DCF13}"/>
                </a:ext>
              </a:extLst>
            </p:cNvPr>
            <p:cNvSpPr>
              <a:spLocks noChangeAspect="1" noChangeShapeType="1"/>
            </p:cNvSpPr>
            <p:nvPr/>
          </p:nvSpPr>
          <p:spPr bwMode="auto">
            <a:xfrm>
              <a:off x="9828214" y="2526665"/>
              <a:ext cx="1587" cy="460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75" name="Line 1923">
              <a:extLst>
                <a:ext uri="{FF2B5EF4-FFF2-40B4-BE49-F238E27FC236}">
                  <a16:creationId xmlns:a16="http://schemas.microsoft.com/office/drawing/2014/main" id="{25399E1B-8723-4187-8CB9-515FCE043011}"/>
                </a:ext>
              </a:extLst>
            </p:cNvPr>
            <p:cNvSpPr>
              <a:spLocks noChangeAspect="1" noChangeShapeType="1"/>
            </p:cNvSpPr>
            <p:nvPr/>
          </p:nvSpPr>
          <p:spPr bwMode="auto">
            <a:xfrm flipH="1">
              <a:off x="9828214" y="2572704"/>
              <a:ext cx="1587"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76" name="Line 1924">
              <a:extLst>
                <a:ext uri="{FF2B5EF4-FFF2-40B4-BE49-F238E27FC236}">
                  <a16:creationId xmlns:a16="http://schemas.microsoft.com/office/drawing/2014/main" id="{C071BA3D-FC04-41CC-9EA6-AC4F79755A7D}"/>
                </a:ext>
              </a:extLst>
            </p:cNvPr>
            <p:cNvSpPr>
              <a:spLocks noChangeAspect="1" noChangeShapeType="1"/>
            </p:cNvSpPr>
            <p:nvPr/>
          </p:nvSpPr>
          <p:spPr bwMode="auto">
            <a:xfrm flipH="1">
              <a:off x="9825039" y="2588578"/>
              <a:ext cx="1587" cy="301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77" name="Line 1925">
              <a:extLst>
                <a:ext uri="{FF2B5EF4-FFF2-40B4-BE49-F238E27FC236}">
                  <a16:creationId xmlns:a16="http://schemas.microsoft.com/office/drawing/2014/main" id="{98ED123C-38CC-4219-B9C1-57AD3D483AE5}"/>
                </a:ext>
              </a:extLst>
            </p:cNvPr>
            <p:cNvSpPr>
              <a:spLocks noChangeAspect="1" noChangeShapeType="1"/>
            </p:cNvSpPr>
            <p:nvPr/>
          </p:nvSpPr>
          <p:spPr bwMode="auto">
            <a:xfrm flipH="1">
              <a:off x="9821864" y="2618741"/>
              <a:ext cx="3175" cy="301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78" name="Line 1926">
              <a:extLst>
                <a:ext uri="{FF2B5EF4-FFF2-40B4-BE49-F238E27FC236}">
                  <a16:creationId xmlns:a16="http://schemas.microsoft.com/office/drawing/2014/main" id="{56171004-C809-4819-896F-4794767BAAA5}"/>
                </a:ext>
              </a:extLst>
            </p:cNvPr>
            <p:cNvSpPr>
              <a:spLocks noChangeAspect="1" noChangeShapeType="1"/>
            </p:cNvSpPr>
            <p:nvPr/>
          </p:nvSpPr>
          <p:spPr bwMode="auto">
            <a:xfrm flipH="1">
              <a:off x="9817101" y="2664778"/>
              <a:ext cx="4763"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79" name="Line 1927">
              <a:extLst>
                <a:ext uri="{FF2B5EF4-FFF2-40B4-BE49-F238E27FC236}">
                  <a16:creationId xmlns:a16="http://schemas.microsoft.com/office/drawing/2014/main" id="{C6A24450-D2BF-4488-BF7F-E971F460C560}"/>
                </a:ext>
              </a:extLst>
            </p:cNvPr>
            <p:cNvSpPr>
              <a:spLocks noChangeAspect="1" noChangeShapeType="1"/>
            </p:cNvSpPr>
            <p:nvPr/>
          </p:nvSpPr>
          <p:spPr bwMode="auto">
            <a:xfrm flipH="1">
              <a:off x="9815514" y="2696529"/>
              <a:ext cx="1587"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80" name="Line 1928">
              <a:extLst>
                <a:ext uri="{FF2B5EF4-FFF2-40B4-BE49-F238E27FC236}">
                  <a16:creationId xmlns:a16="http://schemas.microsoft.com/office/drawing/2014/main" id="{30A051A1-D7C7-4C33-99D0-4DD9CF3FBCEE}"/>
                </a:ext>
              </a:extLst>
            </p:cNvPr>
            <p:cNvSpPr>
              <a:spLocks noChangeAspect="1" noChangeShapeType="1"/>
            </p:cNvSpPr>
            <p:nvPr/>
          </p:nvSpPr>
          <p:spPr bwMode="auto">
            <a:xfrm flipH="1">
              <a:off x="9813925" y="2710815"/>
              <a:ext cx="1588"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81" name="Line 1929">
              <a:extLst>
                <a:ext uri="{FF2B5EF4-FFF2-40B4-BE49-F238E27FC236}">
                  <a16:creationId xmlns:a16="http://schemas.microsoft.com/office/drawing/2014/main" id="{891130FF-5E55-4883-B393-678F4EA014CA}"/>
                </a:ext>
              </a:extLst>
            </p:cNvPr>
            <p:cNvSpPr>
              <a:spLocks noChangeAspect="1" noChangeShapeType="1"/>
            </p:cNvSpPr>
            <p:nvPr/>
          </p:nvSpPr>
          <p:spPr bwMode="auto">
            <a:xfrm flipH="1">
              <a:off x="9807576" y="2737803"/>
              <a:ext cx="3175"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82" name="Line 1930">
              <a:extLst>
                <a:ext uri="{FF2B5EF4-FFF2-40B4-BE49-F238E27FC236}">
                  <a16:creationId xmlns:a16="http://schemas.microsoft.com/office/drawing/2014/main" id="{E25E4F26-606F-477F-93B5-40321A9C18B6}"/>
                </a:ext>
              </a:extLst>
            </p:cNvPr>
            <p:cNvSpPr>
              <a:spLocks noChangeAspect="1" noChangeShapeType="1"/>
            </p:cNvSpPr>
            <p:nvPr/>
          </p:nvSpPr>
          <p:spPr bwMode="auto">
            <a:xfrm flipH="1">
              <a:off x="9799639" y="2755266"/>
              <a:ext cx="7937" cy="412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83" name="Line 1931">
              <a:extLst>
                <a:ext uri="{FF2B5EF4-FFF2-40B4-BE49-F238E27FC236}">
                  <a16:creationId xmlns:a16="http://schemas.microsoft.com/office/drawing/2014/main" id="{4E77F50C-EA60-4C5E-8403-1190A6F6F347}"/>
                </a:ext>
              </a:extLst>
            </p:cNvPr>
            <p:cNvSpPr>
              <a:spLocks noChangeAspect="1" noChangeShapeType="1"/>
            </p:cNvSpPr>
            <p:nvPr/>
          </p:nvSpPr>
          <p:spPr bwMode="auto">
            <a:xfrm flipH="1">
              <a:off x="9786939" y="2810829"/>
              <a:ext cx="7937"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84" name="Line 1932">
              <a:extLst>
                <a:ext uri="{FF2B5EF4-FFF2-40B4-BE49-F238E27FC236}">
                  <a16:creationId xmlns:a16="http://schemas.microsoft.com/office/drawing/2014/main" id="{EEE2DB51-5491-412C-BCAA-7E8DD73045A0}"/>
                </a:ext>
              </a:extLst>
            </p:cNvPr>
            <p:cNvSpPr>
              <a:spLocks noChangeAspect="1" noChangeShapeType="1"/>
            </p:cNvSpPr>
            <p:nvPr/>
          </p:nvSpPr>
          <p:spPr bwMode="auto">
            <a:xfrm flipH="1">
              <a:off x="9779000" y="2845754"/>
              <a:ext cx="7938"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85" name="Line 1933">
              <a:extLst>
                <a:ext uri="{FF2B5EF4-FFF2-40B4-BE49-F238E27FC236}">
                  <a16:creationId xmlns:a16="http://schemas.microsoft.com/office/drawing/2014/main" id="{83A025D2-ECAA-4840-B6EA-3983F5033ECA}"/>
                </a:ext>
              </a:extLst>
            </p:cNvPr>
            <p:cNvSpPr>
              <a:spLocks noChangeAspect="1" noChangeShapeType="1"/>
            </p:cNvSpPr>
            <p:nvPr/>
          </p:nvSpPr>
          <p:spPr bwMode="auto">
            <a:xfrm flipH="1">
              <a:off x="9771063" y="2882266"/>
              <a:ext cx="4762"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86" name="Line 1934">
              <a:extLst>
                <a:ext uri="{FF2B5EF4-FFF2-40B4-BE49-F238E27FC236}">
                  <a16:creationId xmlns:a16="http://schemas.microsoft.com/office/drawing/2014/main" id="{CC2AED01-7B99-4BB4-B7AD-7C671325C656}"/>
                </a:ext>
              </a:extLst>
            </p:cNvPr>
            <p:cNvSpPr>
              <a:spLocks noChangeAspect="1" noChangeShapeType="1"/>
            </p:cNvSpPr>
            <p:nvPr/>
          </p:nvSpPr>
          <p:spPr bwMode="auto">
            <a:xfrm flipH="1">
              <a:off x="9771064" y="2891790"/>
              <a:ext cx="1587"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87" name="Line 1935">
              <a:extLst>
                <a:ext uri="{FF2B5EF4-FFF2-40B4-BE49-F238E27FC236}">
                  <a16:creationId xmlns:a16="http://schemas.microsoft.com/office/drawing/2014/main" id="{4FCAAC3F-F8FB-4113-BA7C-74A008A59A07}"/>
                </a:ext>
              </a:extLst>
            </p:cNvPr>
            <p:cNvSpPr>
              <a:spLocks noChangeAspect="1" noChangeShapeType="1"/>
            </p:cNvSpPr>
            <p:nvPr/>
          </p:nvSpPr>
          <p:spPr bwMode="auto">
            <a:xfrm flipH="1">
              <a:off x="9755189" y="2893378"/>
              <a:ext cx="15875" cy="428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88" name="Line 1936">
              <a:extLst>
                <a:ext uri="{FF2B5EF4-FFF2-40B4-BE49-F238E27FC236}">
                  <a16:creationId xmlns:a16="http://schemas.microsoft.com/office/drawing/2014/main" id="{D106BD7A-1A7A-4BD5-9639-7F3412264034}"/>
                </a:ext>
              </a:extLst>
            </p:cNvPr>
            <p:cNvSpPr>
              <a:spLocks noChangeAspect="1" noChangeShapeType="1"/>
            </p:cNvSpPr>
            <p:nvPr/>
          </p:nvSpPr>
          <p:spPr bwMode="auto">
            <a:xfrm flipH="1">
              <a:off x="9737725" y="2950529"/>
              <a:ext cx="12700" cy="333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89" name="Line 1937">
              <a:extLst>
                <a:ext uri="{FF2B5EF4-FFF2-40B4-BE49-F238E27FC236}">
                  <a16:creationId xmlns:a16="http://schemas.microsoft.com/office/drawing/2014/main" id="{7EA0124D-43D2-4E0A-BFC8-4DCFAC938434}"/>
                </a:ext>
              </a:extLst>
            </p:cNvPr>
            <p:cNvSpPr>
              <a:spLocks noChangeAspect="1" noChangeShapeType="1"/>
            </p:cNvSpPr>
            <p:nvPr/>
          </p:nvSpPr>
          <p:spPr bwMode="auto">
            <a:xfrm flipH="1">
              <a:off x="9728201" y="2983865"/>
              <a:ext cx="9525"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90" name="Line 1938">
              <a:extLst>
                <a:ext uri="{FF2B5EF4-FFF2-40B4-BE49-F238E27FC236}">
                  <a16:creationId xmlns:a16="http://schemas.microsoft.com/office/drawing/2014/main" id="{31D43C00-4298-45ED-A807-EE6050A397C4}"/>
                </a:ext>
              </a:extLst>
            </p:cNvPr>
            <p:cNvSpPr>
              <a:spLocks noChangeAspect="1" noChangeShapeType="1"/>
            </p:cNvSpPr>
            <p:nvPr/>
          </p:nvSpPr>
          <p:spPr bwMode="auto">
            <a:xfrm flipH="1">
              <a:off x="9717088" y="3017203"/>
              <a:ext cx="6350"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91" name="Line 1939">
              <a:extLst>
                <a:ext uri="{FF2B5EF4-FFF2-40B4-BE49-F238E27FC236}">
                  <a16:creationId xmlns:a16="http://schemas.microsoft.com/office/drawing/2014/main" id="{1365670D-E81A-4AB6-82D7-EB2E7770371D}"/>
                </a:ext>
              </a:extLst>
            </p:cNvPr>
            <p:cNvSpPr>
              <a:spLocks noChangeAspect="1" noChangeShapeType="1"/>
            </p:cNvSpPr>
            <p:nvPr/>
          </p:nvSpPr>
          <p:spPr bwMode="auto">
            <a:xfrm flipH="1">
              <a:off x="9696450" y="3029904"/>
              <a:ext cx="20638" cy="412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92" name="Line 1940">
              <a:extLst>
                <a:ext uri="{FF2B5EF4-FFF2-40B4-BE49-F238E27FC236}">
                  <a16:creationId xmlns:a16="http://schemas.microsoft.com/office/drawing/2014/main" id="{30E45829-C54A-4531-886F-59A7E780C646}"/>
                </a:ext>
              </a:extLst>
            </p:cNvPr>
            <p:cNvSpPr>
              <a:spLocks noChangeAspect="1" noChangeShapeType="1"/>
            </p:cNvSpPr>
            <p:nvPr/>
          </p:nvSpPr>
          <p:spPr bwMode="auto">
            <a:xfrm flipH="1">
              <a:off x="9678988" y="3082290"/>
              <a:ext cx="12700"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93" name="Line 1941">
              <a:extLst>
                <a:ext uri="{FF2B5EF4-FFF2-40B4-BE49-F238E27FC236}">
                  <a16:creationId xmlns:a16="http://schemas.microsoft.com/office/drawing/2014/main" id="{EAB8B088-6B2F-48DC-AAA3-4C0369C2381F}"/>
                </a:ext>
              </a:extLst>
            </p:cNvPr>
            <p:cNvSpPr>
              <a:spLocks noChangeAspect="1" noChangeShapeType="1"/>
            </p:cNvSpPr>
            <p:nvPr/>
          </p:nvSpPr>
          <p:spPr bwMode="auto">
            <a:xfrm flipH="1">
              <a:off x="9671050" y="3107690"/>
              <a:ext cx="7938"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94" name="Line 1942">
              <a:extLst>
                <a:ext uri="{FF2B5EF4-FFF2-40B4-BE49-F238E27FC236}">
                  <a16:creationId xmlns:a16="http://schemas.microsoft.com/office/drawing/2014/main" id="{13199894-ACCF-47AE-9F23-9A70D953EAD4}"/>
                </a:ext>
              </a:extLst>
            </p:cNvPr>
            <p:cNvSpPr>
              <a:spLocks noChangeAspect="1" noChangeShapeType="1"/>
            </p:cNvSpPr>
            <p:nvPr/>
          </p:nvSpPr>
          <p:spPr bwMode="auto">
            <a:xfrm flipH="1">
              <a:off x="9664700" y="3121978"/>
              <a:ext cx="6350"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95" name="Line 1943">
              <a:extLst>
                <a:ext uri="{FF2B5EF4-FFF2-40B4-BE49-F238E27FC236}">
                  <a16:creationId xmlns:a16="http://schemas.microsoft.com/office/drawing/2014/main" id="{0542CD4F-BAE1-4771-872F-23AD08028ABA}"/>
                </a:ext>
              </a:extLst>
            </p:cNvPr>
            <p:cNvSpPr>
              <a:spLocks noChangeAspect="1" noChangeShapeType="1"/>
            </p:cNvSpPr>
            <p:nvPr/>
          </p:nvSpPr>
          <p:spPr bwMode="auto">
            <a:xfrm flipH="1">
              <a:off x="9645650" y="3145791"/>
              <a:ext cx="12700"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96" name="Line 1944">
              <a:extLst>
                <a:ext uri="{FF2B5EF4-FFF2-40B4-BE49-F238E27FC236}">
                  <a16:creationId xmlns:a16="http://schemas.microsoft.com/office/drawing/2014/main" id="{9FF8A69A-F96B-4682-B00F-90F8655BB827}"/>
                </a:ext>
              </a:extLst>
            </p:cNvPr>
            <p:cNvSpPr>
              <a:spLocks noChangeAspect="1" noChangeShapeType="1"/>
            </p:cNvSpPr>
            <p:nvPr/>
          </p:nvSpPr>
          <p:spPr bwMode="auto">
            <a:xfrm flipH="1">
              <a:off x="9632950" y="3168015"/>
              <a:ext cx="12700"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97" name="Line 1945">
              <a:extLst>
                <a:ext uri="{FF2B5EF4-FFF2-40B4-BE49-F238E27FC236}">
                  <a16:creationId xmlns:a16="http://schemas.microsoft.com/office/drawing/2014/main" id="{67F12A73-1B5B-4451-831D-4A3F2258768A}"/>
                </a:ext>
              </a:extLst>
            </p:cNvPr>
            <p:cNvSpPr>
              <a:spLocks noChangeAspect="1" noChangeShapeType="1"/>
            </p:cNvSpPr>
            <p:nvPr/>
          </p:nvSpPr>
          <p:spPr bwMode="auto">
            <a:xfrm flipH="1">
              <a:off x="9629776" y="3188654"/>
              <a:ext cx="3175"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98" name="Line 1946">
              <a:extLst>
                <a:ext uri="{FF2B5EF4-FFF2-40B4-BE49-F238E27FC236}">
                  <a16:creationId xmlns:a16="http://schemas.microsoft.com/office/drawing/2014/main" id="{63DCF3DE-EADE-44B0-9342-F339F43B60BD}"/>
                </a:ext>
              </a:extLst>
            </p:cNvPr>
            <p:cNvSpPr>
              <a:spLocks noChangeAspect="1" noChangeShapeType="1"/>
            </p:cNvSpPr>
            <p:nvPr/>
          </p:nvSpPr>
          <p:spPr bwMode="auto">
            <a:xfrm flipH="1">
              <a:off x="9617076" y="3207703"/>
              <a:ext cx="4763"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499" name="Line 1947">
              <a:extLst>
                <a:ext uri="{FF2B5EF4-FFF2-40B4-BE49-F238E27FC236}">
                  <a16:creationId xmlns:a16="http://schemas.microsoft.com/office/drawing/2014/main" id="{45A2D702-3069-4A67-8285-68188C633236}"/>
                </a:ext>
              </a:extLst>
            </p:cNvPr>
            <p:cNvSpPr>
              <a:spLocks noChangeAspect="1" noChangeShapeType="1"/>
            </p:cNvSpPr>
            <p:nvPr/>
          </p:nvSpPr>
          <p:spPr bwMode="auto">
            <a:xfrm flipH="1">
              <a:off x="9591675" y="3214054"/>
              <a:ext cx="25400" cy="412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00" name="Line 1948">
              <a:extLst>
                <a:ext uri="{FF2B5EF4-FFF2-40B4-BE49-F238E27FC236}">
                  <a16:creationId xmlns:a16="http://schemas.microsoft.com/office/drawing/2014/main" id="{53E20FFA-B11C-4523-8CC0-6654D8CD43E7}"/>
                </a:ext>
              </a:extLst>
            </p:cNvPr>
            <p:cNvSpPr>
              <a:spLocks noChangeAspect="1" noChangeShapeType="1"/>
            </p:cNvSpPr>
            <p:nvPr/>
          </p:nvSpPr>
          <p:spPr bwMode="auto">
            <a:xfrm flipH="1">
              <a:off x="9556750" y="3266440"/>
              <a:ext cx="26988" cy="396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01" name="Line 1949">
              <a:extLst>
                <a:ext uri="{FF2B5EF4-FFF2-40B4-BE49-F238E27FC236}">
                  <a16:creationId xmlns:a16="http://schemas.microsoft.com/office/drawing/2014/main" id="{E6CD7543-AE9E-408C-8366-75384A95213E}"/>
                </a:ext>
              </a:extLst>
            </p:cNvPr>
            <p:cNvSpPr>
              <a:spLocks noChangeAspect="1" noChangeShapeType="1"/>
            </p:cNvSpPr>
            <p:nvPr/>
          </p:nvSpPr>
          <p:spPr bwMode="auto">
            <a:xfrm flipH="1">
              <a:off x="9551988" y="3306129"/>
              <a:ext cx="4762"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02" name="Line 1950">
              <a:extLst>
                <a:ext uri="{FF2B5EF4-FFF2-40B4-BE49-F238E27FC236}">
                  <a16:creationId xmlns:a16="http://schemas.microsoft.com/office/drawing/2014/main" id="{45F79DA3-0667-4B78-8ED0-DBB2D5BBD2FC}"/>
                </a:ext>
              </a:extLst>
            </p:cNvPr>
            <p:cNvSpPr>
              <a:spLocks noChangeAspect="1" noChangeShapeType="1"/>
            </p:cNvSpPr>
            <p:nvPr/>
          </p:nvSpPr>
          <p:spPr bwMode="auto">
            <a:xfrm flipH="1">
              <a:off x="9540875" y="3325179"/>
              <a:ext cx="1588"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03" name="Line 1951">
              <a:extLst>
                <a:ext uri="{FF2B5EF4-FFF2-40B4-BE49-F238E27FC236}">
                  <a16:creationId xmlns:a16="http://schemas.microsoft.com/office/drawing/2014/main" id="{A0F930B1-F26C-4E10-BBDC-388C26ADE7B8}"/>
                </a:ext>
              </a:extLst>
            </p:cNvPr>
            <p:cNvSpPr>
              <a:spLocks noChangeAspect="1" noChangeShapeType="1"/>
            </p:cNvSpPr>
            <p:nvPr/>
          </p:nvSpPr>
          <p:spPr bwMode="auto">
            <a:xfrm flipH="1">
              <a:off x="9523413" y="3328354"/>
              <a:ext cx="17462"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04" name="Line 1952">
              <a:extLst>
                <a:ext uri="{FF2B5EF4-FFF2-40B4-BE49-F238E27FC236}">
                  <a16:creationId xmlns:a16="http://schemas.microsoft.com/office/drawing/2014/main" id="{765943B0-02F0-4AEC-BCDE-D1B414CD1F3A}"/>
                </a:ext>
              </a:extLst>
            </p:cNvPr>
            <p:cNvSpPr>
              <a:spLocks noChangeAspect="1" noChangeShapeType="1"/>
            </p:cNvSpPr>
            <p:nvPr/>
          </p:nvSpPr>
          <p:spPr bwMode="auto">
            <a:xfrm flipH="1">
              <a:off x="9509125" y="3350578"/>
              <a:ext cx="14288"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05" name="Line 1953">
              <a:extLst>
                <a:ext uri="{FF2B5EF4-FFF2-40B4-BE49-F238E27FC236}">
                  <a16:creationId xmlns:a16="http://schemas.microsoft.com/office/drawing/2014/main" id="{C6C1EE90-B440-4DFE-91A2-6B60BD1457BA}"/>
                </a:ext>
              </a:extLst>
            </p:cNvPr>
            <p:cNvSpPr>
              <a:spLocks noChangeAspect="1" noChangeShapeType="1"/>
            </p:cNvSpPr>
            <p:nvPr/>
          </p:nvSpPr>
          <p:spPr bwMode="auto">
            <a:xfrm flipH="1">
              <a:off x="9494838" y="3379154"/>
              <a:ext cx="6350"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06" name="Line 1954">
              <a:extLst>
                <a:ext uri="{FF2B5EF4-FFF2-40B4-BE49-F238E27FC236}">
                  <a16:creationId xmlns:a16="http://schemas.microsoft.com/office/drawing/2014/main" id="{2DF7002E-237B-49D1-A8FE-881426E21516}"/>
                </a:ext>
              </a:extLst>
            </p:cNvPr>
            <p:cNvSpPr>
              <a:spLocks noChangeAspect="1" noChangeShapeType="1"/>
            </p:cNvSpPr>
            <p:nvPr/>
          </p:nvSpPr>
          <p:spPr bwMode="auto">
            <a:xfrm flipH="1">
              <a:off x="9488488" y="3388679"/>
              <a:ext cx="6350"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07" name="Line 1955">
              <a:extLst>
                <a:ext uri="{FF2B5EF4-FFF2-40B4-BE49-F238E27FC236}">
                  <a16:creationId xmlns:a16="http://schemas.microsoft.com/office/drawing/2014/main" id="{16629CCC-9582-4E87-92A0-A9F6741E315C}"/>
                </a:ext>
              </a:extLst>
            </p:cNvPr>
            <p:cNvSpPr>
              <a:spLocks noChangeAspect="1" noChangeShapeType="1"/>
            </p:cNvSpPr>
            <p:nvPr/>
          </p:nvSpPr>
          <p:spPr bwMode="auto">
            <a:xfrm flipH="1">
              <a:off x="9466264" y="3396615"/>
              <a:ext cx="22225"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08" name="Line 1956">
              <a:extLst>
                <a:ext uri="{FF2B5EF4-FFF2-40B4-BE49-F238E27FC236}">
                  <a16:creationId xmlns:a16="http://schemas.microsoft.com/office/drawing/2014/main" id="{9C5138C0-EB6B-4DEB-9542-5110E0911356}"/>
                </a:ext>
              </a:extLst>
            </p:cNvPr>
            <p:cNvSpPr>
              <a:spLocks noChangeAspect="1" noChangeShapeType="1"/>
            </p:cNvSpPr>
            <p:nvPr/>
          </p:nvSpPr>
          <p:spPr bwMode="auto">
            <a:xfrm flipH="1">
              <a:off x="9451975" y="3433129"/>
              <a:ext cx="6350"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09" name="Line 1957">
              <a:extLst>
                <a:ext uri="{FF2B5EF4-FFF2-40B4-BE49-F238E27FC236}">
                  <a16:creationId xmlns:a16="http://schemas.microsoft.com/office/drawing/2014/main" id="{74206D31-3FDA-4B6B-AF59-D6DB736E9586}"/>
                </a:ext>
              </a:extLst>
            </p:cNvPr>
            <p:cNvSpPr>
              <a:spLocks noChangeAspect="1" noChangeShapeType="1"/>
            </p:cNvSpPr>
            <p:nvPr/>
          </p:nvSpPr>
          <p:spPr bwMode="auto">
            <a:xfrm flipH="1">
              <a:off x="9448801" y="3442654"/>
              <a:ext cx="31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10" name="Line 1958">
              <a:extLst>
                <a:ext uri="{FF2B5EF4-FFF2-40B4-BE49-F238E27FC236}">
                  <a16:creationId xmlns:a16="http://schemas.microsoft.com/office/drawing/2014/main" id="{AAD3BBEF-B846-4462-A717-722290E9F5EF}"/>
                </a:ext>
              </a:extLst>
            </p:cNvPr>
            <p:cNvSpPr>
              <a:spLocks noChangeAspect="1" noChangeShapeType="1"/>
            </p:cNvSpPr>
            <p:nvPr/>
          </p:nvSpPr>
          <p:spPr bwMode="auto">
            <a:xfrm flipH="1">
              <a:off x="9423400" y="3445828"/>
              <a:ext cx="25400" cy="301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11" name="Line 1959">
              <a:extLst>
                <a:ext uri="{FF2B5EF4-FFF2-40B4-BE49-F238E27FC236}">
                  <a16:creationId xmlns:a16="http://schemas.microsoft.com/office/drawing/2014/main" id="{51105B63-9FDD-42FA-8B9A-C1BA00BB3AE3}"/>
                </a:ext>
              </a:extLst>
            </p:cNvPr>
            <p:cNvSpPr>
              <a:spLocks noChangeAspect="1" noChangeShapeType="1"/>
            </p:cNvSpPr>
            <p:nvPr/>
          </p:nvSpPr>
          <p:spPr bwMode="auto">
            <a:xfrm flipH="1">
              <a:off x="9413875" y="3487103"/>
              <a:ext cx="1588"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12" name="Line 1960">
              <a:extLst>
                <a:ext uri="{FF2B5EF4-FFF2-40B4-BE49-F238E27FC236}">
                  <a16:creationId xmlns:a16="http://schemas.microsoft.com/office/drawing/2014/main" id="{49D713CA-B272-4B4F-9742-4933699AC634}"/>
                </a:ext>
              </a:extLst>
            </p:cNvPr>
            <p:cNvSpPr>
              <a:spLocks noChangeAspect="1" noChangeShapeType="1"/>
            </p:cNvSpPr>
            <p:nvPr/>
          </p:nvSpPr>
          <p:spPr bwMode="auto">
            <a:xfrm flipH="1">
              <a:off x="9402763" y="3487104"/>
              <a:ext cx="11112"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13" name="Line 1961">
              <a:extLst>
                <a:ext uri="{FF2B5EF4-FFF2-40B4-BE49-F238E27FC236}">
                  <a16:creationId xmlns:a16="http://schemas.microsoft.com/office/drawing/2014/main" id="{665E71E1-B03C-498D-9140-0A6DECCD3B57}"/>
                </a:ext>
              </a:extLst>
            </p:cNvPr>
            <p:cNvSpPr>
              <a:spLocks noChangeAspect="1" noChangeShapeType="1"/>
            </p:cNvSpPr>
            <p:nvPr/>
          </p:nvSpPr>
          <p:spPr bwMode="auto">
            <a:xfrm flipH="1">
              <a:off x="9378951" y="3501391"/>
              <a:ext cx="23813"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14" name="Line 1962">
              <a:extLst>
                <a:ext uri="{FF2B5EF4-FFF2-40B4-BE49-F238E27FC236}">
                  <a16:creationId xmlns:a16="http://schemas.microsoft.com/office/drawing/2014/main" id="{1490AFD2-3D7B-40BD-9159-BC91F3996F84}"/>
                </a:ext>
              </a:extLst>
            </p:cNvPr>
            <p:cNvSpPr>
              <a:spLocks noChangeAspect="1" noChangeShapeType="1"/>
            </p:cNvSpPr>
            <p:nvPr/>
          </p:nvSpPr>
          <p:spPr bwMode="auto">
            <a:xfrm flipH="1">
              <a:off x="9356725" y="3541078"/>
              <a:ext cx="14288"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15" name="Line 1963">
              <a:extLst>
                <a:ext uri="{FF2B5EF4-FFF2-40B4-BE49-F238E27FC236}">
                  <a16:creationId xmlns:a16="http://schemas.microsoft.com/office/drawing/2014/main" id="{EF21569B-21AC-4CC6-BE84-226E03C0E9B4}"/>
                </a:ext>
              </a:extLst>
            </p:cNvPr>
            <p:cNvSpPr>
              <a:spLocks noChangeAspect="1" noChangeShapeType="1"/>
            </p:cNvSpPr>
            <p:nvPr/>
          </p:nvSpPr>
          <p:spPr bwMode="auto">
            <a:xfrm flipH="1">
              <a:off x="9337675" y="3558540"/>
              <a:ext cx="19050"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16" name="Line 1964">
              <a:extLst>
                <a:ext uri="{FF2B5EF4-FFF2-40B4-BE49-F238E27FC236}">
                  <a16:creationId xmlns:a16="http://schemas.microsoft.com/office/drawing/2014/main" id="{337C96E5-A47D-4A1C-B905-5BF05953E95A}"/>
                </a:ext>
              </a:extLst>
            </p:cNvPr>
            <p:cNvSpPr>
              <a:spLocks noChangeAspect="1" noChangeShapeType="1"/>
            </p:cNvSpPr>
            <p:nvPr/>
          </p:nvSpPr>
          <p:spPr bwMode="auto">
            <a:xfrm flipH="1">
              <a:off x="9334501" y="3579179"/>
              <a:ext cx="31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17" name="Line 1965">
              <a:extLst>
                <a:ext uri="{FF2B5EF4-FFF2-40B4-BE49-F238E27FC236}">
                  <a16:creationId xmlns:a16="http://schemas.microsoft.com/office/drawing/2014/main" id="{D0DD12BA-C94B-41DE-8C2E-2C9EB0DBCC45}"/>
                </a:ext>
              </a:extLst>
            </p:cNvPr>
            <p:cNvSpPr>
              <a:spLocks noChangeAspect="1" noChangeShapeType="1"/>
            </p:cNvSpPr>
            <p:nvPr/>
          </p:nvSpPr>
          <p:spPr bwMode="auto">
            <a:xfrm flipH="1">
              <a:off x="9310689" y="3595054"/>
              <a:ext cx="15875"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18" name="Line 1966">
              <a:extLst>
                <a:ext uri="{FF2B5EF4-FFF2-40B4-BE49-F238E27FC236}">
                  <a16:creationId xmlns:a16="http://schemas.microsoft.com/office/drawing/2014/main" id="{59A4AE39-22E2-4531-BE11-11F2A557FC34}"/>
                </a:ext>
              </a:extLst>
            </p:cNvPr>
            <p:cNvSpPr>
              <a:spLocks noChangeAspect="1" noChangeShapeType="1"/>
            </p:cNvSpPr>
            <p:nvPr/>
          </p:nvSpPr>
          <p:spPr bwMode="auto">
            <a:xfrm flipH="1">
              <a:off x="9304338" y="3617279"/>
              <a:ext cx="6350"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19" name="Line 1967">
              <a:extLst>
                <a:ext uri="{FF2B5EF4-FFF2-40B4-BE49-F238E27FC236}">
                  <a16:creationId xmlns:a16="http://schemas.microsoft.com/office/drawing/2014/main" id="{FAAE2701-5A89-4D66-9981-1BC862EFE331}"/>
                </a:ext>
              </a:extLst>
            </p:cNvPr>
            <p:cNvSpPr>
              <a:spLocks noChangeAspect="1" noChangeShapeType="1"/>
            </p:cNvSpPr>
            <p:nvPr/>
          </p:nvSpPr>
          <p:spPr bwMode="auto">
            <a:xfrm flipH="1">
              <a:off x="9294814" y="3625215"/>
              <a:ext cx="9525"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20" name="Line 1968">
              <a:extLst>
                <a:ext uri="{FF2B5EF4-FFF2-40B4-BE49-F238E27FC236}">
                  <a16:creationId xmlns:a16="http://schemas.microsoft.com/office/drawing/2014/main" id="{FAA4726B-E526-41F5-A3A3-CAFDE6D6F5A5}"/>
                </a:ext>
              </a:extLst>
            </p:cNvPr>
            <p:cNvSpPr>
              <a:spLocks noChangeAspect="1" noChangeShapeType="1"/>
            </p:cNvSpPr>
            <p:nvPr/>
          </p:nvSpPr>
          <p:spPr bwMode="auto">
            <a:xfrm flipH="1">
              <a:off x="9272589" y="3650615"/>
              <a:ext cx="14287"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21" name="Line 1969">
              <a:extLst>
                <a:ext uri="{FF2B5EF4-FFF2-40B4-BE49-F238E27FC236}">
                  <a16:creationId xmlns:a16="http://schemas.microsoft.com/office/drawing/2014/main" id="{DA86C79A-8C0B-4742-A7B8-F8EE1DB100E8}"/>
                </a:ext>
              </a:extLst>
            </p:cNvPr>
            <p:cNvSpPr>
              <a:spLocks noChangeAspect="1" noChangeShapeType="1"/>
            </p:cNvSpPr>
            <p:nvPr/>
          </p:nvSpPr>
          <p:spPr bwMode="auto">
            <a:xfrm flipH="1">
              <a:off x="9264650" y="3671253"/>
              <a:ext cx="7938"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22" name="Line 1970">
              <a:extLst>
                <a:ext uri="{FF2B5EF4-FFF2-40B4-BE49-F238E27FC236}">
                  <a16:creationId xmlns:a16="http://schemas.microsoft.com/office/drawing/2014/main" id="{0D57508A-E3CC-410A-8EB2-CB1FE53723C9}"/>
                </a:ext>
              </a:extLst>
            </p:cNvPr>
            <p:cNvSpPr>
              <a:spLocks noChangeAspect="1" noChangeShapeType="1"/>
            </p:cNvSpPr>
            <p:nvPr/>
          </p:nvSpPr>
          <p:spPr bwMode="auto">
            <a:xfrm flipH="1">
              <a:off x="9258300" y="3690303"/>
              <a:ext cx="6350"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23" name="Line 1971">
              <a:extLst>
                <a:ext uri="{FF2B5EF4-FFF2-40B4-BE49-F238E27FC236}">
                  <a16:creationId xmlns:a16="http://schemas.microsoft.com/office/drawing/2014/main" id="{A10A1746-6333-4534-A828-A75561439EB6}"/>
                </a:ext>
              </a:extLst>
            </p:cNvPr>
            <p:cNvSpPr>
              <a:spLocks noChangeAspect="1" noChangeShapeType="1"/>
            </p:cNvSpPr>
            <p:nvPr/>
          </p:nvSpPr>
          <p:spPr bwMode="auto">
            <a:xfrm flipH="1">
              <a:off x="9248776" y="3712528"/>
              <a:ext cx="3175"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24" name="Line 1972">
              <a:extLst>
                <a:ext uri="{FF2B5EF4-FFF2-40B4-BE49-F238E27FC236}">
                  <a16:creationId xmlns:a16="http://schemas.microsoft.com/office/drawing/2014/main" id="{30FDDED9-95FC-494B-8A8D-BA6B61E084E9}"/>
                </a:ext>
              </a:extLst>
            </p:cNvPr>
            <p:cNvSpPr>
              <a:spLocks noChangeAspect="1" noChangeShapeType="1"/>
            </p:cNvSpPr>
            <p:nvPr/>
          </p:nvSpPr>
          <p:spPr bwMode="auto">
            <a:xfrm flipH="1">
              <a:off x="9231313" y="3717290"/>
              <a:ext cx="17462" cy="460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25" name="Line 1973">
              <a:extLst>
                <a:ext uri="{FF2B5EF4-FFF2-40B4-BE49-F238E27FC236}">
                  <a16:creationId xmlns:a16="http://schemas.microsoft.com/office/drawing/2014/main" id="{4A445CF5-BCAE-4690-89F7-5C965E7298EF}"/>
                </a:ext>
              </a:extLst>
            </p:cNvPr>
            <p:cNvSpPr>
              <a:spLocks noChangeAspect="1" noChangeShapeType="1"/>
            </p:cNvSpPr>
            <p:nvPr/>
          </p:nvSpPr>
          <p:spPr bwMode="auto">
            <a:xfrm flipH="1">
              <a:off x="9231314" y="3763328"/>
              <a:ext cx="1587"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26" name="Line 1974">
              <a:extLst>
                <a:ext uri="{FF2B5EF4-FFF2-40B4-BE49-F238E27FC236}">
                  <a16:creationId xmlns:a16="http://schemas.microsoft.com/office/drawing/2014/main" id="{912E21E5-7861-4CC7-B07C-E75E2E2FB276}"/>
                </a:ext>
              </a:extLst>
            </p:cNvPr>
            <p:cNvSpPr>
              <a:spLocks noChangeAspect="1" noChangeShapeType="1"/>
            </p:cNvSpPr>
            <p:nvPr/>
          </p:nvSpPr>
          <p:spPr bwMode="auto">
            <a:xfrm flipH="1">
              <a:off x="9224964" y="3782379"/>
              <a:ext cx="3175" cy="269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27" name="Line 1975">
              <a:extLst>
                <a:ext uri="{FF2B5EF4-FFF2-40B4-BE49-F238E27FC236}">
                  <a16:creationId xmlns:a16="http://schemas.microsoft.com/office/drawing/2014/main" id="{E0A15FA6-9A58-4EA6-B74D-BB2543CAE988}"/>
                </a:ext>
              </a:extLst>
            </p:cNvPr>
            <p:cNvSpPr>
              <a:spLocks noChangeAspect="1" noChangeShapeType="1"/>
            </p:cNvSpPr>
            <p:nvPr/>
          </p:nvSpPr>
          <p:spPr bwMode="auto">
            <a:xfrm>
              <a:off x="9224964" y="3809365"/>
              <a:ext cx="1587"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28" name="Line 1976">
              <a:extLst>
                <a:ext uri="{FF2B5EF4-FFF2-40B4-BE49-F238E27FC236}">
                  <a16:creationId xmlns:a16="http://schemas.microsoft.com/office/drawing/2014/main" id="{61153ED0-54FA-4AAA-9954-F76731ACF711}"/>
                </a:ext>
              </a:extLst>
            </p:cNvPr>
            <p:cNvSpPr>
              <a:spLocks noChangeAspect="1" noChangeShapeType="1"/>
            </p:cNvSpPr>
            <p:nvPr/>
          </p:nvSpPr>
          <p:spPr bwMode="auto">
            <a:xfrm>
              <a:off x="9224963" y="3856991"/>
              <a:ext cx="6350" cy="428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29" name="Line 1977">
              <a:extLst>
                <a:ext uri="{FF2B5EF4-FFF2-40B4-BE49-F238E27FC236}">
                  <a16:creationId xmlns:a16="http://schemas.microsoft.com/office/drawing/2014/main" id="{84955A1F-ECC2-4A8F-A9AF-19DA0622450F}"/>
                </a:ext>
              </a:extLst>
            </p:cNvPr>
            <p:cNvSpPr>
              <a:spLocks noChangeAspect="1" noChangeShapeType="1"/>
            </p:cNvSpPr>
            <p:nvPr/>
          </p:nvSpPr>
          <p:spPr bwMode="auto">
            <a:xfrm>
              <a:off x="9231313" y="3899854"/>
              <a:ext cx="4762"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30" name="Line 1978">
              <a:extLst>
                <a:ext uri="{FF2B5EF4-FFF2-40B4-BE49-F238E27FC236}">
                  <a16:creationId xmlns:a16="http://schemas.microsoft.com/office/drawing/2014/main" id="{4695103E-4659-4B2B-B07E-F2EF37AF89A3}"/>
                </a:ext>
              </a:extLst>
            </p:cNvPr>
            <p:cNvSpPr>
              <a:spLocks noChangeAspect="1" noChangeShapeType="1"/>
            </p:cNvSpPr>
            <p:nvPr/>
          </p:nvSpPr>
          <p:spPr bwMode="auto">
            <a:xfrm>
              <a:off x="9240839" y="3930016"/>
              <a:ext cx="3175"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31" name="Line 1979">
              <a:extLst>
                <a:ext uri="{FF2B5EF4-FFF2-40B4-BE49-F238E27FC236}">
                  <a16:creationId xmlns:a16="http://schemas.microsoft.com/office/drawing/2014/main" id="{464E32FB-642B-4D83-9880-949A4E5D6F89}"/>
                </a:ext>
              </a:extLst>
            </p:cNvPr>
            <p:cNvSpPr>
              <a:spLocks noChangeAspect="1" noChangeShapeType="1"/>
            </p:cNvSpPr>
            <p:nvPr/>
          </p:nvSpPr>
          <p:spPr bwMode="auto">
            <a:xfrm>
              <a:off x="9244013" y="3945890"/>
              <a:ext cx="19050"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32" name="Line 1980">
              <a:extLst>
                <a:ext uri="{FF2B5EF4-FFF2-40B4-BE49-F238E27FC236}">
                  <a16:creationId xmlns:a16="http://schemas.microsoft.com/office/drawing/2014/main" id="{5FA7B460-2E43-477B-A8E1-6E4B4134B1E7}"/>
                </a:ext>
              </a:extLst>
            </p:cNvPr>
            <p:cNvSpPr>
              <a:spLocks noChangeAspect="1" noChangeShapeType="1"/>
            </p:cNvSpPr>
            <p:nvPr/>
          </p:nvSpPr>
          <p:spPr bwMode="auto">
            <a:xfrm>
              <a:off x="9267825" y="3996691"/>
              <a:ext cx="19050" cy="412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33" name="Line 1981">
              <a:extLst>
                <a:ext uri="{FF2B5EF4-FFF2-40B4-BE49-F238E27FC236}">
                  <a16:creationId xmlns:a16="http://schemas.microsoft.com/office/drawing/2014/main" id="{6D167398-F7CD-4AE1-8BB1-001299391B63}"/>
                </a:ext>
              </a:extLst>
            </p:cNvPr>
            <p:cNvSpPr>
              <a:spLocks noChangeAspect="1" noChangeShapeType="1"/>
            </p:cNvSpPr>
            <p:nvPr/>
          </p:nvSpPr>
          <p:spPr bwMode="auto">
            <a:xfrm>
              <a:off x="9286875" y="4037966"/>
              <a:ext cx="6350"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34" name="Line 1982">
              <a:extLst>
                <a:ext uri="{FF2B5EF4-FFF2-40B4-BE49-F238E27FC236}">
                  <a16:creationId xmlns:a16="http://schemas.microsoft.com/office/drawing/2014/main" id="{99F63A40-0987-4BC8-8763-703BBDC39DEE}"/>
                </a:ext>
              </a:extLst>
            </p:cNvPr>
            <p:cNvSpPr>
              <a:spLocks noChangeAspect="1" noChangeShapeType="1"/>
            </p:cNvSpPr>
            <p:nvPr/>
          </p:nvSpPr>
          <p:spPr bwMode="auto">
            <a:xfrm>
              <a:off x="9299576" y="4061778"/>
              <a:ext cx="11113"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35" name="Line 1983">
              <a:extLst>
                <a:ext uri="{FF2B5EF4-FFF2-40B4-BE49-F238E27FC236}">
                  <a16:creationId xmlns:a16="http://schemas.microsoft.com/office/drawing/2014/main" id="{2E66EB15-DB93-4BC6-9806-45CBEA996F89}"/>
                </a:ext>
              </a:extLst>
            </p:cNvPr>
            <p:cNvSpPr>
              <a:spLocks noChangeAspect="1" noChangeShapeType="1"/>
            </p:cNvSpPr>
            <p:nvPr/>
          </p:nvSpPr>
          <p:spPr bwMode="auto">
            <a:xfrm>
              <a:off x="9310689" y="4080829"/>
              <a:ext cx="1587"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36" name="Line 1984">
              <a:extLst>
                <a:ext uri="{FF2B5EF4-FFF2-40B4-BE49-F238E27FC236}">
                  <a16:creationId xmlns:a16="http://schemas.microsoft.com/office/drawing/2014/main" id="{1CAC7F34-8432-4219-A278-83577AE9A9B1}"/>
                </a:ext>
              </a:extLst>
            </p:cNvPr>
            <p:cNvSpPr>
              <a:spLocks noChangeAspect="1" noChangeShapeType="1"/>
            </p:cNvSpPr>
            <p:nvPr/>
          </p:nvSpPr>
          <p:spPr bwMode="auto">
            <a:xfrm>
              <a:off x="9312276" y="4084004"/>
              <a:ext cx="15875" cy="269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37" name="Line 1985">
              <a:extLst>
                <a:ext uri="{FF2B5EF4-FFF2-40B4-BE49-F238E27FC236}">
                  <a16:creationId xmlns:a16="http://schemas.microsoft.com/office/drawing/2014/main" id="{8821C4B0-3C4C-49A6-B912-A0E5593D21B1}"/>
                </a:ext>
              </a:extLst>
            </p:cNvPr>
            <p:cNvSpPr>
              <a:spLocks noChangeAspect="1" noChangeShapeType="1"/>
            </p:cNvSpPr>
            <p:nvPr/>
          </p:nvSpPr>
          <p:spPr bwMode="auto">
            <a:xfrm>
              <a:off x="9334501" y="4123691"/>
              <a:ext cx="3175"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38" name="Line 1986">
              <a:extLst>
                <a:ext uri="{FF2B5EF4-FFF2-40B4-BE49-F238E27FC236}">
                  <a16:creationId xmlns:a16="http://schemas.microsoft.com/office/drawing/2014/main" id="{B990E0A8-DD06-47BA-881F-B1F56757974A}"/>
                </a:ext>
              </a:extLst>
            </p:cNvPr>
            <p:cNvSpPr>
              <a:spLocks noChangeAspect="1" noChangeShapeType="1"/>
            </p:cNvSpPr>
            <p:nvPr/>
          </p:nvSpPr>
          <p:spPr bwMode="auto">
            <a:xfrm>
              <a:off x="9337675" y="4128454"/>
              <a:ext cx="19050"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39" name="Line 1987">
              <a:extLst>
                <a:ext uri="{FF2B5EF4-FFF2-40B4-BE49-F238E27FC236}">
                  <a16:creationId xmlns:a16="http://schemas.microsoft.com/office/drawing/2014/main" id="{C9BDC659-FACF-4F97-A6F3-DF5B64EB20D8}"/>
                </a:ext>
              </a:extLst>
            </p:cNvPr>
            <p:cNvSpPr>
              <a:spLocks noChangeAspect="1" noChangeShapeType="1"/>
            </p:cNvSpPr>
            <p:nvPr/>
          </p:nvSpPr>
          <p:spPr bwMode="auto">
            <a:xfrm>
              <a:off x="9356725" y="4157029"/>
              <a:ext cx="7938"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40" name="Line 1988">
              <a:extLst>
                <a:ext uri="{FF2B5EF4-FFF2-40B4-BE49-F238E27FC236}">
                  <a16:creationId xmlns:a16="http://schemas.microsoft.com/office/drawing/2014/main" id="{DA1ED3F8-F00F-43EB-B53E-5E8C55DE614E}"/>
                </a:ext>
              </a:extLst>
            </p:cNvPr>
            <p:cNvSpPr>
              <a:spLocks noChangeAspect="1" noChangeShapeType="1"/>
            </p:cNvSpPr>
            <p:nvPr/>
          </p:nvSpPr>
          <p:spPr bwMode="auto">
            <a:xfrm>
              <a:off x="9372600" y="4182428"/>
              <a:ext cx="25400"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41" name="Line 1989">
              <a:extLst>
                <a:ext uri="{FF2B5EF4-FFF2-40B4-BE49-F238E27FC236}">
                  <a16:creationId xmlns:a16="http://schemas.microsoft.com/office/drawing/2014/main" id="{264DCE4F-5300-4C6F-82A0-CA17234155D0}"/>
                </a:ext>
              </a:extLst>
            </p:cNvPr>
            <p:cNvSpPr>
              <a:spLocks noChangeAspect="1" noChangeShapeType="1"/>
            </p:cNvSpPr>
            <p:nvPr/>
          </p:nvSpPr>
          <p:spPr bwMode="auto">
            <a:xfrm>
              <a:off x="9398001" y="4220529"/>
              <a:ext cx="4763"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42" name="Line 1990">
              <a:extLst>
                <a:ext uri="{FF2B5EF4-FFF2-40B4-BE49-F238E27FC236}">
                  <a16:creationId xmlns:a16="http://schemas.microsoft.com/office/drawing/2014/main" id="{6CE8F3AE-18F1-479D-B177-6C81E48DA02D}"/>
                </a:ext>
              </a:extLst>
            </p:cNvPr>
            <p:cNvSpPr>
              <a:spLocks noChangeAspect="1" noChangeShapeType="1"/>
            </p:cNvSpPr>
            <p:nvPr/>
          </p:nvSpPr>
          <p:spPr bwMode="auto">
            <a:xfrm>
              <a:off x="9402764" y="4228465"/>
              <a:ext cx="1587"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43" name="Line 1991">
              <a:extLst>
                <a:ext uri="{FF2B5EF4-FFF2-40B4-BE49-F238E27FC236}">
                  <a16:creationId xmlns:a16="http://schemas.microsoft.com/office/drawing/2014/main" id="{C306D355-7879-4669-AE44-1A58D865AB23}"/>
                </a:ext>
              </a:extLst>
            </p:cNvPr>
            <p:cNvSpPr>
              <a:spLocks noChangeAspect="1" noChangeShapeType="1"/>
            </p:cNvSpPr>
            <p:nvPr/>
          </p:nvSpPr>
          <p:spPr bwMode="auto">
            <a:xfrm>
              <a:off x="9410701" y="4242753"/>
              <a:ext cx="15875" cy="238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44" name="Line 1992">
              <a:extLst>
                <a:ext uri="{FF2B5EF4-FFF2-40B4-BE49-F238E27FC236}">
                  <a16:creationId xmlns:a16="http://schemas.microsoft.com/office/drawing/2014/main" id="{C57D5AD7-980E-41CF-98E5-8CB4F0F250EC}"/>
                </a:ext>
              </a:extLst>
            </p:cNvPr>
            <p:cNvSpPr>
              <a:spLocks noChangeAspect="1" noChangeShapeType="1"/>
            </p:cNvSpPr>
            <p:nvPr/>
          </p:nvSpPr>
          <p:spPr bwMode="auto">
            <a:xfrm flipV="1">
              <a:off x="8480426" y="4047490"/>
              <a:ext cx="42863" cy="333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45" name="Line 1993">
              <a:extLst>
                <a:ext uri="{FF2B5EF4-FFF2-40B4-BE49-F238E27FC236}">
                  <a16:creationId xmlns:a16="http://schemas.microsoft.com/office/drawing/2014/main" id="{1A6C2630-7099-4810-877D-A3B8EA9053B5}"/>
                </a:ext>
              </a:extLst>
            </p:cNvPr>
            <p:cNvSpPr>
              <a:spLocks noChangeAspect="1" noChangeShapeType="1"/>
            </p:cNvSpPr>
            <p:nvPr/>
          </p:nvSpPr>
          <p:spPr bwMode="auto">
            <a:xfrm flipV="1">
              <a:off x="8532813" y="4037966"/>
              <a:ext cx="6350"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46" name="Line 1994">
              <a:extLst>
                <a:ext uri="{FF2B5EF4-FFF2-40B4-BE49-F238E27FC236}">
                  <a16:creationId xmlns:a16="http://schemas.microsoft.com/office/drawing/2014/main" id="{DC00CE7E-C661-4E7B-9FDA-8D83DAE519A0}"/>
                </a:ext>
              </a:extLst>
            </p:cNvPr>
            <p:cNvSpPr>
              <a:spLocks noChangeAspect="1" noChangeShapeType="1"/>
            </p:cNvSpPr>
            <p:nvPr/>
          </p:nvSpPr>
          <p:spPr bwMode="auto">
            <a:xfrm flipV="1">
              <a:off x="8539164" y="4010979"/>
              <a:ext cx="33337" cy="269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47" name="Line 1995">
              <a:extLst>
                <a:ext uri="{FF2B5EF4-FFF2-40B4-BE49-F238E27FC236}">
                  <a16:creationId xmlns:a16="http://schemas.microsoft.com/office/drawing/2014/main" id="{F6DA2588-4ABE-499C-9CB9-82ACC749D7FE}"/>
                </a:ext>
              </a:extLst>
            </p:cNvPr>
            <p:cNvSpPr>
              <a:spLocks noChangeAspect="1" noChangeShapeType="1"/>
            </p:cNvSpPr>
            <p:nvPr/>
          </p:nvSpPr>
          <p:spPr bwMode="auto">
            <a:xfrm flipV="1">
              <a:off x="8572501" y="4009390"/>
              <a:ext cx="3175"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48" name="Line 1996">
              <a:extLst>
                <a:ext uri="{FF2B5EF4-FFF2-40B4-BE49-F238E27FC236}">
                  <a16:creationId xmlns:a16="http://schemas.microsoft.com/office/drawing/2014/main" id="{A147C94F-3C1C-47CE-B15A-B6F34DEA57E2}"/>
                </a:ext>
              </a:extLst>
            </p:cNvPr>
            <p:cNvSpPr>
              <a:spLocks noChangeAspect="1" noChangeShapeType="1"/>
            </p:cNvSpPr>
            <p:nvPr/>
          </p:nvSpPr>
          <p:spPr bwMode="auto">
            <a:xfrm flipV="1">
              <a:off x="8585200" y="3991929"/>
              <a:ext cx="12700"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49" name="Line 1997">
              <a:extLst>
                <a:ext uri="{FF2B5EF4-FFF2-40B4-BE49-F238E27FC236}">
                  <a16:creationId xmlns:a16="http://schemas.microsoft.com/office/drawing/2014/main" id="{0F375132-31DA-4470-8B55-79D5A5B0A3FC}"/>
                </a:ext>
              </a:extLst>
            </p:cNvPr>
            <p:cNvSpPr>
              <a:spLocks noChangeAspect="1" noChangeShapeType="1"/>
            </p:cNvSpPr>
            <p:nvPr/>
          </p:nvSpPr>
          <p:spPr bwMode="auto">
            <a:xfrm flipV="1">
              <a:off x="8597900" y="3974466"/>
              <a:ext cx="20638"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50" name="Line 1998">
              <a:extLst>
                <a:ext uri="{FF2B5EF4-FFF2-40B4-BE49-F238E27FC236}">
                  <a16:creationId xmlns:a16="http://schemas.microsoft.com/office/drawing/2014/main" id="{2CFEE711-EBA5-4579-928D-833067585F8D}"/>
                </a:ext>
              </a:extLst>
            </p:cNvPr>
            <p:cNvSpPr>
              <a:spLocks noChangeAspect="1" noChangeShapeType="1"/>
            </p:cNvSpPr>
            <p:nvPr/>
          </p:nvSpPr>
          <p:spPr bwMode="auto">
            <a:xfrm flipV="1">
              <a:off x="8618539" y="3968115"/>
              <a:ext cx="9525"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51" name="Line 1999">
              <a:extLst>
                <a:ext uri="{FF2B5EF4-FFF2-40B4-BE49-F238E27FC236}">
                  <a16:creationId xmlns:a16="http://schemas.microsoft.com/office/drawing/2014/main" id="{113F773C-205C-46A0-8579-9F6A9AA42D25}"/>
                </a:ext>
              </a:extLst>
            </p:cNvPr>
            <p:cNvSpPr>
              <a:spLocks noChangeAspect="1" noChangeShapeType="1"/>
            </p:cNvSpPr>
            <p:nvPr/>
          </p:nvSpPr>
          <p:spPr bwMode="auto">
            <a:xfrm flipV="1">
              <a:off x="8639176" y="3945890"/>
              <a:ext cx="17463"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52" name="Line 2000">
              <a:extLst>
                <a:ext uri="{FF2B5EF4-FFF2-40B4-BE49-F238E27FC236}">
                  <a16:creationId xmlns:a16="http://schemas.microsoft.com/office/drawing/2014/main" id="{9ACFF4CF-7D75-443F-96F2-FC2525CB2AFB}"/>
                </a:ext>
              </a:extLst>
            </p:cNvPr>
            <p:cNvSpPr>
              <a:spLocks noChangeAspect="1" noChangeShapeType="1"/>
            </p:cNvSpPr>
            <p:nvPr/>
          </p:nvSpPr>
          <p:spPr bwMode="auto">
            <a:xfrm flipV="1">
              <a:off x="8656639" y="3937954"/>
              <a:ext cx="7937"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53" name="Line 2001">
              <a:extLst>
                <a:ext uri="{FF2B5EF4-FFF2-40B4-BE49-F238E27FC236}">
                  <a16:creationId xmlns:a16="http://schemas.microsoft.com/office/drawing/2014/main" id="{6B2FFBC7-1D63-4492-B1DB-3D91C3342B41}"/>
                </a:ext>
              </a:extLst>
            </p:cNvPr>
            <p:cNvSpPr>
              <a:spLocks noChangeAspect="1" noChangeShapeType="1"/>
            </p:cNvSpPr>
            <p:nvPr/>
          </p:nvSpPr>
          <p:spPr bwMode="auto">
            <a:xfrm flipV="1">
              <a:off x="8664575" y="3925253"/>
              <a:ext cx="14288"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54" name="Line 2002">
              <a:extLst>
                <a:ext uri="{FF2B5EF4-FFF2-40B4-BE49-F238E27FC236}">
                  <a16:creationId xmlns:a16="http://schemas.microsoft.com/office/drawing/2014/main" id="{B183D73E-7828-4C65-B378-EF00191E1E44}"/>
                </a:ext>
              </a:extLst>
            </p:cNvPr>
            <p:cNvSpPr>
              <a:spLocks noChangeAspect="1" noChangeShapeType="1"/>
            </p:cNvSpPr>
            <p:nvPr/>
          </p:nvSpPr>
          <p:spPr bwMode="auto">
            <a:xfrm flipV="1">
              <a:off x="8688389" y="3899853"/>
              <a:ext cx="20637"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55" name="Line 2003">
              <a:extLst>
                <a:ext uri="{FF2B5EF4-FFF2-40B4-BE49-F238E27FC236}">
                  <a16:creationId xmlns:a16="http://schemas.microsoft.com/office/drawing/2014/main" id="{2373630B-48E7-4A65-8E33-8F5BE8A422AE}"/>
                </a:ext>
              </a:extLst>
            </p:cNvPr>
            <p:cNvSpPr>
              <a:spLocks noChangeAspect="1" noChangeShapeType="1"/>
            </p:cNvSpPr>
            <p:nvPr/>
          </p:nvSpPr>
          <p:spPr bwMode="auto">
            <a:xfrm flipV="1">
              <a:off x="8709026" y="3896679"/>
              <a:ext cx="31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56" name="Line 2004">
              <a:extLst>
                <a:ext uri="{FF2B5EF4-FFF2-40B4-BE49-F238E27FC236}">
                  <a16:creationId xmlns:a16="http://schemas.microsoft.com/office/drawing/2014/main" id="{BCCDEF51-3A60-4AE0-9F8B-0A348D692B92}"/>
                </a:ext>
              </a:extLst>
            </p:cNvPr>
            <p:cNvSpPr>
              <a:spLocks noChangeAspect="1" noChangeShapeType="1"/>
            </p:cNvSpPr>
            <p:nvPr/>
          </p:nvSpPr>
          <p:spPr bwMode="auto">
            <a:xfrm flipV="1">
              <a:off x="8712201" y="3880804"/>
              <a:ext cx="17463"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57" name="Line 2005">
              <a:extLst>
                <a:ext uri="{FF2B5EF4-FFF2-40B4-BE49-F238E27FC236}">
                  <a16:creationId xmlns:a16="http://schemas.microsoft.com/office/drawing/2014/main" id="{9513ED54-1CB7-4591-9D99-9A95A6F61E09}"/>
                </a:ext>
              </a:extLst>
            </p:cNvPr>
            <p:cNvSpPr>
              <a:spLocks noChangeAspect="1" noChangeShapeType="1"/>
            </p:cNvSpPr>
            <p:nvPr/>
          </p:nvSpPr>
          <p:spPr bwMode="auto">
            <a:xfrm flipV="1">
              <a:off x="8739189" y="3853816"/>
              <a:ext cx="15875"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58" name="Line 2006">
              <a:extLst>
                <a:ext uri="{FF2B5EF4-FFF2-40B4-BE49-F238E27FC236}">
                  <a16:creationId xmlns:a16="http://schemas.microsoft.com/office/drawing/2014/main" id="{E015B07F-648E-4162-90FD-BAE8CDC5D655}"/>
                </a:ext>
              </a:extLst>
            </p:cNvPr>
            <p:cNvSpPr>
              <a:spLocks noChangeAspect="1" noChangeShapeType="1"/>
            </p:cNvSpPr>
            <p:nvPr/>
          </p:nvSpPr>
          <p:spPr bwMode="auto">
            <a:xfrm flipV="1">
              <a:off x="8755064" y="3850641"/>
              <a:ext cx="1587"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59" name="Line 2007">
              <a:extLst>
                <a:ext uri="{FF2B5EF4-FFF2-40B4-BE49-F238E27FC236}">
                  <a16:creationId xmlns:a16="http://schemas.microsoft.com/office/drawing/2014/main" id="{A6332021-051E-4744-A79C-8D708809ABB0}"/>
                </a:ext>
              </a:extLst>
            </p:cNvPr>
            <p:cNvSpPr>
              <a:spLocks noChangeAspect="1" noChangeShapeType="1"/>
            </p:cNvSpPr>
            <p:nvPr/>
          </p:nvSpPr>
          <p:spPr bwMode="auto">
            <a:xfrm flipV="1">
              <a:off x="8756650" y="3830004"/>
              <a:ext cx="19050"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60" name="Line 2008">
              <a:extLst>
                <a:ext uri="{FF2B5EF4-FFF2-40B4-BE49-F238E27FC236}">
                  <a16:creationId xmlns:a16="http://schemas.microsoft.com/office/drawing/2014/main" id="{394DC1CC-2239-4044-A9EB-C3FE2953E1DD}"/>
                </a:ext>
              </a:extLst>
            </p:cNvPr>
            <p:cNvSpPr>
              <a:spLocks noChangeAspect="1" noChangeShapeType="1"/>
            </p:cNvSpPr>
            <p:nvPr/>
          </p:nvSpPr>
          <p:spPr bwMode="auto">
            <a:xfrm flipV="1">
              <a:off x="8783639" y="3809366"/>
              <a:ext cx="7937"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61" name="Line 2009">
              <a:extLst>
                <a:ext uri="{FF2B5EF4-FFF2-40B4-BE49-F238E27FC236}">
                  <a16:creationId xmlns:a16="http://schemas.microsoft.com/office/drawing/2014/main" id="{47F06100-B08B-477E-A545-92F5529B5040}"/>
                </a:ext>
              </a:extLst>
            </p:cNvPr>
            <p:cNvSpPr>
              <a:spLocks noChangeAspect="1" noChangeShapeType="1"/>
            </p:cNvSpPr>
            <p:nvPr/>
          </p:nvSpPr>
          <p:spPr bwMode="auto">
            <a:xfrm flipV="1">
              <a:off x="8791576" y="3785553"/>
              <a:ext cx="11113" cy="238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62" name="Line 2010">
              <a:extLst>
                <a:ext uri="{FF2B5EF4-FFF2-40B4-BE49-F238E27FC236}">
                  <a16:creationId xmlns:a16="http://schemas.microsoft.com/office/drawing/2014/main" id="{B3F07836-71DF-47D2-91B7-7095FECE4C77}"/>
                </a:ext>
              </a:extLst>
            </p:cNvPr>
            <p:cNvSpPr>
              <a:spLocks noChangeAspect="1" noChangeShapeType="1"/>
            </p:cNvSpPr>
            <p:nvPr/>
          </p:nvSpPr>
          <p:spPr bwMode="auto">
            <a:xfrm flipV="1">
              <a:off x="8802689" y="3769679"/>
              <a:ext cx="7937"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63" name="Line 2011">
              <a:extLst>
                <a:ext uri="{FF2B5EF4-FFF2-40B4-BE49-F238E27FC236}">
                  <a16:creationId xmlns:a16="http://schemas.microsoft.com/office/drawing/2014/main" id="{C60714AD-75B8-4510-B5D9-CF0CE30D69B4}"/>
                </a:ext>
              </a:extLst>
            </p:cNvPr>
            <p:cNvSpPr>
              <a:spLocks noChangeAspect="1" noChangeShapeType="1"/>
            </p:cNvSpPr>
            <p:nvPr/>
          </p:nvSpPr>
          <p:spPr bwMode="auto">
            <a:xfrm flipV="1">
              <a:off x="8816976" y="3717290"/>
              <a:ext cx="9525" cy="396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64" name="Line 2012">
              <a:extLst>
                <a:ext uri="{FF2B5EF4-FFF2-40B4-BE49-F238E27FC236}">
                  <a16:creationId xmlns:a16="http://schemas.microsoft.com/office/drawing/2014/main" id="{68D2F4E2-3D07-4A2A-B727-3198A561E147}"/>
                </a:ext>
              </a:extLst>
            </p:cNvPr>
            <p:cNvSpPr>
              <a:spLocks noChangeAspect="1" noChangeShapeType="1"/>
            </p:cNvSpPr>
            <p:nvPr/>
          </p:nvSpPr>
          <p:spPr bwMode="auto">
            <a:xfrm flipH="1" flipV="1">
              <a:off x="8826500" y="3698240"/>
              <a:ext cx="1588"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65" name="Line 2013">
              <a:extLst>
                <a:ext uri="{FF2B5EF4-FFF2-40B4-BE49-F238E27FC236}">
                  <a16:creationId xmlns:a16="http://schemas.microsoft.com/office/drawing/2014/main" id="{97B19C16-BEBC-46CF-B9A3-0A7B3B846F79}"/>
                </a:ext>
              </a:extLst>
            </p:cNvPr>
            <p:cNvSpPr>
              <a:spLocks noChangeAspect="1" noChangeShapeType="1"/>
            </p:cNvSpPr>
            <p:nvPr/>
          </p:nvSpPr>
          <p:spPr bwMode="auto">
            <a:xfrm flipH="1" flipV="1">
              <a:off x="8824914" y="3671253"/>
              <a:ext cx="1587"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66" name="Line 2014">
              <a:extLst>
                <a:ext uri="{FF2B5EF4-FFF2-40B4-BE49-F238E27FC236}">
                  <a16:creationId xmlns:a16="http://schemas.microsoft.com/office/drawing/2014/main" id="{1F8CF418-67A5-4851-BFE6-301AD7EB3941}"/>
                </a:ext>
              </a:extLst>
            </p:cNvPr>
            <p:cNvSpPr>
              <a:spLocks noChangeAspect="1" noChangeShapeType="1"/>
            </p:cNvSpPr>
            <p:nvPr/>
          </p:nvSpPr>
          <p:spPr bwMode="auto">
            <a:xfrm flipH="1" flipV="1">
              <a:off x="8815389" y="3625215"/>
              <a:ext cx="9525" cy="460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67" name="Line 2015">
              <a:extLst>
                <a:ext uri="{FF2B5EF4-FFF2-40B4-BE49-F238E27FC236}">
                  <a16:creationId xmlns:a16="http://schemas.microsoft.com/office/drawing/2014/main" id="{B76FF774-E92C-46DE-833B-0EBC8F752E6D}"/>
                </a:ext>
              </a:extLst>
            </p:cNvPr>
            <p:cNvSpPr>
              <a:spLocks noChangeAspect="1" noChangeShapeType="1"/>
            </p:cNvSpPr>
            <p:nvPr/>
          </p:nvSpPr>
          <p:spPr bwMode="auto">
            <a:xfrm flipH="1" flipV="1">
              <a:off x="8815389" y="3623629"/>
              <a:ext cx="1587"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68" name="Line 2016">
              <a:extLst>
                <a:ext uri="{FF2B5EF4-FFF2-40B4-BE49-F238E27FC236}">
                  <a16:creationId xmlns:a16="http://schemas.microsoft.com/office/drawing/2014/main" id="{8A2EAF89-D12B-4081-821A-6FCD899C9ACD}"/>
                </a:ext>
              </a:extLst>
            </p:cNvPr>
            <p:cNvSpPr>
              <a:spLocks noChangeAspect="1" noChangeShapeType="1"/>
            </p:cNvSpPr>
            <p:nvPr/>
          </p:nvSpPr>
          <p:spPr bwMode="auto">
            <a:xfrm flipH="1" flipV="1">
              <a:off x="8802689" y="3585528"/>
              <a:ext cx="7937"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69" name="Line 2017">
              <a:extLst>
                <a:ext uri="{FF2B5EF4-FFF2-40B4-BE49-F238E27FC236}">
                  <a16:creationId xmlns:a16="http://schemas.microsoft.com/office/drawing/2014/main" id="{86AB82FF-41E9-4756-82AB-75A5FEDE55F4}"/>
                </a:ext>
              </a:extLst>
            </p:cNvPr>
            <p:cNvSpPr>
              <a:spLocks noChangeAspect="1" noChangeShapeType="1"/>
            </p:cNvSpPr>
            <p:nvPr/>
          </p:nvSpPr>
          <p:spPr bwMode="auto">
            <a:xfrm flipH="1" flipV="1">
              <a:off x="8802688" y="3579178"/>
              <a:ext cx="0"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70" name="Line 2018">
              <a:extLst>
                <a:ext uri="{FF2B5EF4-FFF2-40B4-BE49-F238E27FC236}">
                  <a16:creationId xmlns:a16="http://schemas.microsoft.com/office/drawing/2014/main" id="{30F216E8-5A2B-43E6-9BC1-BFBD4CC1C175}"/>
                </a:ext>
              </a:extLst>
            </p:cNvPr>
            <p:cNvSpPr>
              <a:spLocks noChangeAspect="1" noChangeShapeType="1"/>
            </p:cNvSpPr>
            <p:nvPr/>
          </p:nvSpPr>
          <p:spPr bwMode="auto">
            <a:xfrm flipH="1" flipV="1">
              <a:off x="8793164" y="3553778"/>
              <a:ext cx="9525"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71" name="Line 2019">
              <a:extLst>
                <a:ext uri="{FF2B5EF4-FFF2-40B4-BE49-F238E27FC236}">
                  <a16:creationId xmlns:a16="http://schemas.microsoft.com/office/drawing/2014/main" id="{D5C8BA03-A6A2-44C0-BE95-07577C2CB71C}"/>
                </a:ext>
              </a:extLst>
            </p:cNvPr>
            <p:cNvSpPr>
              <a:spLocks noChangeAspect="1" noChangeShapeType="1"/>
            </p:cNvSpPr>
            <p:nvPr/>
          </p:nvSpPr>
          <p:spPr bwMode="auto">
            <a:xfrm flipH="1" flipV="1">
              <a:off x="8785226" y="3533140"/>
              <a:ext cx="3175"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72" name="Line 2020">
              <a:extLst>
                <a:ext uri="{FF2B5EF4-FFF2-40B4-BE49-F238E27FC236}">
                  <a16:creationId xmlns:a16="http://schemas.microsoft.com/office/drawing/2014/main" id="{C4054B70-D9B9-4AF7-9A73-3FA17F1CE920}"/>
                </a:ext>
              </a:extLst>
            </p:cNvPr>
            <p:cNvSpPr>
              <a:spLocks noChangeAspect="1" noChangeShapeType="1"/>
            </p:cNvSpPr>
            <p:nvPr/>
          </p:nvSpPr>
          <p:spPr bwMode="auto">
            <a:xfrm flipH="1" flipV="1">
              <a:off x="8767763" y="3487104"/>
              <a:ext cx="17462"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73" name="Line 2021">
              <a:extLst>
                <a:ext uri="{FF2B5EF4-FFF2-40B4-BE49-F238E27FC236}">
                  <a16:creationId xmlns:a16="http://schemas.microsoft.com/office/drawing/2014/main" id="{55BF4267-2AAA-4CF7-A992-57499DBBA781}"/>
                </a:ext>
              </a:extLst>
            </p:cNvPr>
            <p:cNvSpPr>
              <a:spLocks noChangeAspect="1" noChangeShapeType="1"/>
            </p:cNvSpPr>
            <p:nvPr/>
          </p:nvSpPr>
          <p:spPr bwMode="auto">
            <a:xfrm flipH="1" flipV="1">
              <a:off x="8767764" y="3485515"/>
              <a:ext cx="1587"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74" name="Line 2022">
              <a:extLst>
                <a:ext uri="{FF2B5EF4-FFF2-40B4-BE49-F238E27FC236}">
                  <a16:creationId xmlns:a16="http://schemas.microsoft.com/office/drawing/2014/main" id="{5C3FD0C6-E3C4-4CD9-BE03-2BAC225EE0BB}"/>
                </a:ext>
              </a:extLst>
            </p:cNvPr>
            <p:cNvSpPr>
              <a:spLocks noChangeAspect="1" noChangeShapeType="1"/>
            </p:cNvSpPr>
            <p:nvPr/>
          </p:nvSpPr>
          <p:spPr bwMode="auto">
            <a:xfrm flipH="1" flipV="1">
              <a:off x="8756650" y="3460116"/>
              <a:ext cx="6350"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75" name="Line 2023">
              <a:extLst>
                <a:ext uri="{FF2B5EF4-FFF2-40B4-BE49-F238E27FC236}">
                  <a16:creationId xmlns:a16="http://schemas.microsoft.com/office/drawing/2014/main" id="{B5B8C964-DA18-4391-B5B5-5EF07FBD6D00}"/>
                </a:ext>
              </a:extLst>
            </p:cNvPr>
            <p:cNvSpPr>
              <a:spLocks noChangeAspect="1" noChangeShapeType="1"/>
            </p:cNvSpPr>
            <p:nvPr/>
          </p:nvSpPr>
          <p:spPr bwMode="auto">
            <a:xfrm flipH="1" flipV="1">
              <a:off x="8750300" y="3442653"/>
              <a:ext cx="6350"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76" name="Line 2024">
              <a:extLst>
                <a:ext uri="{FF2B5EF4-FFF2-40B4-BE49-F238E27FC236}">
                  <a16:creationId xmlns:a16="http://schemas.microsoft.com/office/drawing/2014/main" id="{7DA5782C-1D31-4A0F-9E32-D08EBF1D8482}"/>
                </a:ext>
              </a:extLst>
            </p:cNvPr>
            <p:cNvSpPr>
              <a:spLocks noChangeAspect="1" noChangeShapeType="1"/>
            </p:cNvSpPr>
            <p:nvPr/>
          </p:nvSpPr>
          <p:spPr bwMode="auto">
            <a:xfrm flipH="1" flipV="1">
              <a:off x="8740776" y="3417253"/>
              <a:ext cx="9525"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77" name="Line 2025">
              <a:extLst>
                <a:ext uri="{FF2B5EF4-FFF2-40B4-BE49-F238E27FC236}">
                  <a16:creationId xmlns:a16="http://schemas.microsoft.com/office/drawing/2014/main" id="{4B5F6110-31E5-4B36-91EE-3140A6382E88}"/>
                </a:ext>
              </a:extLst>
            </p:cNvPr>
            <p:cNvSpPr>
              <a:spLocks noChangeAspect="1" noChangeShapeType="1"/>
            </p:cNvSpPr>
            <p:nvPr/>
          </p:nvSpPr>
          <p:spPr bwMode="auto">
            <a:xfrm flipH="1" flipV="1">
              <a:off x="8732839" y="3396615"/>
              <a:ext cx="3175"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78" name="Line 2026">
              <a:extLst>
                <a:ext uri="{FF2B5EF4-FFF2-40B4-BE49-F238E27FC236}">
                  <a16:creationId xmlns:a16="http://schemas.microsoft.com/office/drawing/2014/main" id="{00466C5D-764D-4B71-97F5-3A16A559B6B1}"/>
                </a:ext>
              </a:extLst>
            </p:cNvPr>
            <p:cNvSpPr>
              <a:spLocks noChangeAspect="1" noChangeShapeType="1"/>
            </p:cNvSpPr>
            <p:nvPr/>
          </p:nvSpPr>
          <p:spPr bwMode="auto">
            <a:xfrm flipH="1" flipV="1">
              <a:off x="8715376" y="3350579"/>
              <a:ext cx="17463"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79" name="Line 2027">
              <a:extLst>
                <a:ext uri="{FF2B5EF4-FFF2-40B4-BE49-F238E27FC236}">
                  <a16:creationId xmlns:a16="http://schemas.microsoft.com/office/drawing/2014/main" id="{AB33E322-D45D-42F9-80AD-59413E9CA982}"/>
                </a:ext>
              </a:extLst>
            </p:cNvPr>
            <p:cNvSpPr>
              <a:spLocks noChangeAspect="1" noChangeShapeType="1"/>
            </p:cNvSpPr>
            <p:nvPr/>
          </p:nvSpPr>
          <p:spPr bwMode="auto">
            <a:xfrm flipH="1" flipV="1">
              <a:off x="8715375" y="3348990"/>
              <a:ext cx="15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80" name="Line 2028">
              <a:extLst>
                <a:ext uri="{FF2B5EF4-FFF2-40B4-BE49-F238E27FC236}">
                  <a16:creationId xmlns:a16="http://schemas.microsoft.com/office/drawing/2014/main" id="{63028BF3-A52D-41DB-81D8-98678BF52016}"/>
                </a:ext>
              </a:extLst>
            </p:cNvPr>
            <p:cNvSpPr>
              <a:spLocks noChangeAspect="1" noChangeShapeType="1"/>
            </p:cNvSpPr>
            <p:nvPr/>
          </p:nvSpPr>
          <p:spPr bwMode="auto">
            <a:xfrm flipH="1" flipV="1">
              <a:off x="8699501" y="3306129"/>
              <a:ext cx="11113"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81" name="Line 2029">
              <a:extLst>
                <a:ext uri="{FF2B5EF4-FFF2-40B4-BE49-F238E27FC236}">
                  <a16:creationId xmlns:a16="http://schemas.microsoft.com/office/drawing/2014/main" id="{9A63F1FC-C9F0-427A-B5C8-243F7D0D8509}"/>
                </a:ext>
              </a:extLst>
            </p:cNvPr>
            <p:cNvSpPr>
              <a:spLocks noChangeAspect="1" noChangeShapeType="1"/>
            </p:cNvSpPr>
            <p:nvPr/>
          </p:nvSpPr>
          <p:spPr bwMode="auto">
            <a:xfrm flipH="1" flipV="1">
              <a:off x="8691564" y="3279140"/>
              <a:ext cx="7937"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82" name="Line 2030">
              <a:extLst>
                <a:ext uri="{FF2B5EF4-FFF2-40B4-BE49-F238E27FC236}">
                  <a16:creationId xmlns:a16="http://schemas.microsoft.com/office/drawing/2014/main" id="{7C6F4028-1E4B-443E-938F-F72EFC359B7A}"/>
                </a:ext>
              </a:extLst>
            </p:cNvPr>
            <p:cNvSpPr>
              <a:spLocks noChangeAspect="1" noChangeShapeType="1"/>
            </p:cNvSpPr>
            <p:nvPr/>
          </p:nvSpPr>
          <p:spPr bwMode="auto">
            <a:xfrm flipH="1" flipV="1">
              <a:off x="8683625" y="3260090"/>
              <a:ext cx="1588"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83" name="Line 2031">
              <a:extLst>
                <a:ext uri="{FF2B5EF4-FFF2-40B4-BE49-F238E27FC236}">
                  <a16:creationId xmlns:a16="http://schemas.microsoft.com/office/drawing/2014/main" id="{6C245C5E-1468-49BB-A620-794AB1FA7843}"/>
                </a:ext>
              </a:extLst>
            </p:cNvPr>
            <p:cNvSpPr>
              <a:spLocks noChangeAspect="1" noChangeShapeType="1"/>
            </p:cNvSpPr>
            <p:nvPr/>
          </p:nvSpPr>
          <p:spPr bwMode="auto">
            <a:xfrm flipH="1" flipV="1">
              <a:off x="8667751" y="3214054"/>
              <a:ext cx="15875"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84" name="Line 2032">
              <a:extLst>
                <a:ext uri="{FF2B5EF4-FFF2-40B4-BE49-F238E27FC236}">
                  <a16:creationId xmlns:a16="http://schemas.microsoft.com/office/drawing/2014/main" id="{180380CB-3099-4D8C-A4C4-1C97399CFEC6}"/>
                </a:ext>
              </a:extLst>
            </p:cNvPr>
            <p:cNvSpPr>
              <a:spLocks noChangeAspect="1" noChangeShapeType="1"/>
            </p:cNvSpPr>
            <p:nvPr/>
          </p:nvSpPr>
          <p:spPr bwMode="auto">
            <a:xfrm flipH="1" flipV="1">
              <a:off x="8666164" y="3209291"/>
              <a:ext cx="1587"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85" name="Line 2033">
              <a:extLst>
                <a:ext uri="{FF2B5EF4-FFF2-40B4-BE49-F238E27FC236}">
                  <a16:creationId xmlns:a16="http://schemas.microsoft.com/office/drawing/2014/main" id="{EE53A608-8FCE-406C-9131-B13A3FE8F262}"/>
                </a:ext>
              </a:extLst>
            </p:cNvPr>
            <p:cNvSpPr>
              <a:spLocks noChangeAspect="1" noChangeShapeType="1"/>
            </p:cNvSpPr>
            <p:nvPr/>
          </p:nvSpPr>
          <p:spPr bwMode="auto">
            <a:xfrm flipH="1" flipV="1">
              <a:off x="8655050" y="3168016"/>
              <a:ext cx="7938"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86" name="Line 2034">
              <a:extLst>
                <a:ext uri="{FF2B5EF4-FFF2-40B4-BE49-F238E27FC236}">
                  <a16:creationId xmlns:a16="http://schemas.microsoft.com/office/drawing/2014/main" id="{3DD0A993-79F6-449D-8E15-59B083D0162F}"/>
                </a:ext>
              </a:extLst>
            </p:cNvPr>
            <p:cNvSpPr>
              <a:spLocks noChangeAspect="1" noChangeShapeType="1"/>
            </p:cNvSpPr>
            <p:nvPr/>
          </p:nvSpPr>
          <p:spPr bwMode="auto">
            <a:xfrm flipH="1" flipV="1">
              <a:off x="8647114" y="3139441"/>
              <a:ext cx="7937"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87" name="Line 2035">
              <a:extLst>
                <a:ext uri="{FF2B5EF4-FFF2-40B4-BE49-F238E27FC236}">
                  <a16:creationId xmlns:a16="http://schemas.microsoft.com/office/drawing/2014/main" id="{2155DCD8-ECCD-43C3-ACAD-62DDD93FBD31}"/>
                </a:ext>
              </a:extLst>
            </p:cNvPr>
            <p:cNvSpPr>
              <a:spLocks noChangeAspect="1" noChangeShapeType="1"/>
            </p:cNvSpPr>
            <p:nvPr/>
          </p:nvSpPr>
          <p:spPr bwMode="auto">
            <a:xfrm flipH="1" flipV="1">
              <a:off x="8640764" y="3121979"/>
              <a:ext cx="1587"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88" name="Line 2036">
              <a:extLst>
                <a:ext uri="{FF2B5EF4-FFF2-40B4-BE49-F238E27FC236}">
                  <a16:creationId xmlns:a16="http://schemas.microsoft.com/office/drawing/2014/main" id="{525FE303-92E3-4A86-A6B5-1BB5A1D56D80}"/>
                </a:ext>
              </a:extLst>
            </p:cNvPr>
            <p:cNvSpPr>
              <a:spLocks noChangeAspect="1" noChangeShapeType="1"/>
            </p:cNvSpPr>
            <p:nvPr/>
          </p:nvSpPr>
          <p:spPr bwMode="auto">
            <a:xfrm flipH="1" flipV="1">
              <a:off x="8629651" y="3075940"/>
              <a:ext cx="11113" cy="460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89" name="Line 2037">
              <a:extLst>
                <a:ext uri="{FF2B5EF4-FFF2-40B4-BE49-F238E27FC236}">
                  <a16:creationId xmlns:a16="http://schemas.microsoft.com/office/drawing/2014/main" id="{77E897F6-DE39-45FB-9D45-BD11881BAAF5}"/>
                </a:ext>
              </a:extLst>
            </p:cNvPr>
            <p:cNvSpPr>
              <a:spLocks noChangeAspect="1" noChangeShapeType="1"/>
            </p:cNvSpPr>
            <p:nvPr/>
          </p:nvSpPr>
          <p:spPr bwMode="auto">
            <a:xfrm flipH="1" flipV="1">
              <a:off x="8628064" y="3068004"/>
              <a:ext cx="1587"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90" name="Line 2038">
              <a:extLst>
                <a:ext uri="{FF2B5EF4-FFF2-40B4-BE49-F238E27FC236}">
                  <a16:creationId xmlns:a16="http://schemas.microsoft.com/office/drawing/2014/main" id="{59E48325-A2D5-4F7C-A58F-0B96CDAD6A18}"/>
                </a:ext>
              </a:extLst>
            </p:cNvPr>
            <p:cNvSpPr>
              <a:spLocks noChangeAspect="1" noChangeShapeType="1"/>
            </p:cNvSpPr>
            <p:nvPr/>
          </p:nvSpPr>
          <p:spPr bwMode="auto">
            <a:xfrm flipH="1" flipV="1">
              <a:off x="8620126" y="3029903"/>
              <a:ext cx="4763" cy="238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91" name="Line 2039">
              <a:extLst>
                <a:ext uri="{FF2B5EF4-FFF2-40B4-BE49-F238E27FC236}">
                  <a16:creationId xmlns:a16="http://schemas.microsoft.com/office/drawing/2014/main" id="{572ED6B4-20C7-4D6D-B725-2B864EC7FB5A}"/>
                </a:ext>
              </a:extLst>
            </p:cNvPr>
            <p:cNvSpPr>
              <a:spLocks noChangeAspect="1" noChangeShapeType="1"/>
            </p:cNvSpPr>
            <p:nvPr/>
          </p:nvSpPr>
          <p:spPr bwMode="auto">
            <a:xfrm flipH="1" flipV="1">
              <a:off x="8618539" y="3026729"/>
              <a:ext cx="1587"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92" name="Line 2040">
              <a:extLst>
                <a:ext uri="{FF2B5EF4-FFF2-40B4-BE49-F238E27FC236}">
                  <a16:creationId xmlns:a16="http://schemas.microsoft.com/office/drawing/2014/main" id="{FB789645-1F8D-4E49-B8D4-C87F4DA3EBB4}"/>
                </a:ext>
              </a:extLst>
            </p:cNvPr>
            <p:cNvSpPr>
              <a:spLocks noChangeAspect="1" noChangeShapeType="1"/>
            </p:cNvSpPr>
            <p:nvPr/>
          </p:nvSpPr>
          <p:spPr bwMode="auto">
            <a:xfrm flipH="1" flipV="1">
              <a:off x="8612188" y="2994978"/>
              <a:ext cx="6350"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93" name="Line 2041">
              <a:extLst>
                <a:ext uri="{FF2B5EF4-FFF2-40B4-BE49-F238E27FC236}">
                  <a16:creationId xmlns:a16="http://schemas.microsoft.com/office/drawing/2014/main" id="{384B160F-9974-4D6B-BEF2-DCCC199F63BE}"/>
                </a:ext>
              </a:extLst>
            </p:cNvPr>
            <p:cNvSpPr>
              <a:spLocks noChangeAspect="1" noChangeShapeType="1"/>
            </p:cNvSpPr>
            <p:nvPr/>
          </p:nvSpPr>
          <p:spPr bwMode="auto">
            <a:xfrm flipH="1" flipV="1">
              <a:off x="8602663" y="2937828"/>
              <a:ext cx="6350" cy="428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94" name="Line 2042">
              <a:extLst>
                <a:ext uri="{FF2B5EF4-FFF2-40B4-BE49-F238E27FC236}">
                  <a16:creationId xmlns:a16="http://schemas.microsoft.com/office/drawing/2014/main" id="{9D44924D-6697-4D08-943A-F765E8AFF27A}"/>
                </a:ext>
              </a:extLst>
            </p:cNvPr>
            <p:cNvSpPr>
              <a:spLocks noChangeAspect="1" noChangeShapeType="1"/>
            </p:cNvSpPr>
            <p:nvPr/>
          </p:nvSpPr>
          <p:spPr bwMode="auto">
            <a:xfrm flipH="1" flipV="1">
              <a:off x="8599489" y="2920366"/>
              <a:ext cx="3175"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95" name="Line 2043">
              <a:extLst>
                <a:ext uri="{FF2B5EF4-FFF2-40B4-BE49-F238E27FC236}">
                  <a16:creationId xmlns:a16="http://schemas.microsoft.com/office/drawing/2014/main" id="{B96507BD-5E97-4448-A594-9191D37B45F3}"/>
                </a:ext>
              </a:extLst>
            </p:cNvPr>
            <p:cNvSpPr>
              <a:spLocks noChangeAspect="1" noChangeShapeType="1"/>
            </p:cNvSpPr>
            <p:nvPr/>
          </p:nvSpPr>
          <p:spPr bwMode="auto">
            <a:xfrm flipH="1" flipV="1">
              <a:off x="8594725" y="2891790"/>
              <a:ext cx="1588"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96" name="Line 2044">
              <a:extLst>
                <a:ext uri="{FF2B5EF4-FFF2-40B4-BE49-F238E27FC236}">
                  <a16:creationId xmlns:a16="http://schemas.microsoft.com/office/drawing/2014/main" id="{4D2C7400-5E3D-4707-8E45-DC2263C27C8C}"/>
                </a:ext>
              </a:extLst>
            </p:cNvPr>
            <p:cNvSpPr>
              <a:spLocks noChangeAspect="1" noChangeShapeType="1"/>
            </p:cNvSpPr>
            <p:nvPr/>
          </p:nvSpPr>
          <p:spPr bwMode="auto">
            <a:xfrm flipH="1" flipV="1">
              <a:off x="8589963" y="2845754"/>
              <a:ext cx="4762"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97" name="Line 2045">
              <a:extLst>
                <a:ext uri="{FF2B5EF4-FFF2-40B4-BE49-F238E27FC236}">
                  <a16:creationId xmlns:a16="http://schemas.microsoft.com/office/drawing/2014/main" id="{8B5160B1-CB7E-4956-82C8-A2C034D7DEEC}"/>
                </a:ext>
              </a:extLst>
            </p:cNvPr>
            <p:cNvSpPr>
              <a:spLocks noChangeAspect="1" noChangeShapeType="1"/>
            </p:cNvSpPr>
            <p:nvPr/>
          </p:nvSpPr>
          <p:spPr bwMode="auto">
            <a:xfrm flipH="1" flipV="1">
              <a:off x="8585201" y="2801303"/>
              <a:ext cx="3175" cy="301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98" name="Line 2046">
              <a:extLst>
                <a:ext uri="{FF2B5EF4-FFF2-40B4-BE49-F238E27FC236}">
                  <a16:creationId xmlns:a16="http://schemas.microsoft.com/office/drawing/2014/main" id="{789D1215-1FA5-4076-9A3F-5FEF56102F2B}"/>
                </a:ext>
              </a:extLst>
            </p:cNvPr>
            <p:cNvSpPr>
              <a:spLocks noChangeAspect="1" noChangeShapeType="1"/>
            </p:cNvSpPr>
            <p:nvPr/>
          </p:nvSpPr>
          <p:spPr bwMode="auto">
            <a:xfrm flipH="1" flipV="1">
              <a:off x="8583614" y="2772729"/>
              <a:ext cx="1587"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599" name="Line 2047">
              <a:extLst>
                <a:ext uri="{FF2B5EF4-FFF2-40B4-BE49-F238E27FC236}">
                  <a16:creationId xmlns:a16="http://schemas.microsoft.com/office/drawing/2014/main" id="{42E25C90-53E5-492C-ACC1-600B8893FAC2}"/>
                </a:ext>
              </a:extLst>
            </p:cNvPr>
            <p:cNvSpPr>
              <a:spLocks noChangeAspect="1" noChangeShapeType="1"/>
            </p:cNvSpPr>
            <p:nvPr/>
          </p:nvSpPr>
          <p:spPr bwMode="auto">
            <a:xfrm flipV="1">
              <a:off x="8583614" y="2755265"/>
              <a:ext cx="1587"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00" name="Line 2048">
              <a:extLst>
                <a:ext uri="{FF2B5EF4-FFF2-40B4-BE49-F238E27FC236}">
                  <a16:creationId xmlns:a16="http://schemas.microsoft.com/office/drawing/2014/main" id="{91C19BE2-2954-4B69-9E7B-957C269F3311}"/>
                </a:ext>
              </a:extLst>
            </p:cNvPr>
            <p:cNvSpPr>
              <a:spLocks noChangeAspect="1" noChangeShapeType="1"/>
            </p:cNvSpPr>
            <p:nvPr/>
          </p:nvSpPr>
          <p:spPr bwMode="auto">
            <a:xfrm flipH="1" flipV="1">
              <a:off x="8582025" y="2710815"/>
              <a:ext cx="1588"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01" name="Line 2049">
              <a:extLst>
                <a:ext uri="{FF2B5EF4-FFF2-40B4-BE49-F238E27FC236}">
                  <a16:creationId xmlns:a16="http://schemas.microsoft.com/office/drawing/2014/main" id="{BAB8D879-37DB-4C77-9D5A-6A4F7081FDAC}"/>
                </a:ext>
              </a:extLst>
            </p:cNvPr>
            <p:cNvSpPr>
              <a:spLocks noChangeAspect="1" noChangeShapeType="1"/>
            </p:cNvSpPr>
            <p:nvPr/>
          </p:nvSpPr>
          <p:spPr bwMode="auto">
            <a:xfrm flipV="1">
              <a:off x="8582025" y="2696529"/>
              <a:ext cx="1588"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02" name="Line 2050">
              <a:extLst>
                <a:ext uri="{FF2B5EF4-FFF2-40B4-BE49-F238E27FC236}">
                  <a16:creationId xmlns:a16="http://schemas.microsoft.com/office/drawing/2014/main" id="{3CD4EB76-EC97-4D86-8D56-D7E5C8884123}"/>
                </a:ext>
              </a:extLst>
            </p:cNvPr>
            <p:cNvSpPr>
              <a:spLocks noChangeAspect="1" noChangeShapeType="1"/>
            </p:cNvSpPr>
            <p:nvPr/>
          </p:nvSpPr>
          <p:spPr bwMode="auto">
            <a:xfrm flipV="1">
              <a:off x="8582025" y="2664778"/>
              <a:ext cx="1588"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03" name="Line 2051">
              <a:extLst>
                <a:ext uri="{FF2B5EF4-FFF2-40B4-BE49-F238E27FC236}">
                  <a16:creationId xmlns:a16="http://schemas.microsoft.com/office/drawing/2014/main" id="{A3413793-700D-4B9B-B9F0-53AFD3CBF1A0}"/>
                </a:ext>
              </a:extLst>
            </p:cNvPr>
            <p:cNvSpPr>
              <a:spLocks noChangeAspect="1" noChangeShapeType="1"/>
            </p:cNvSpPr>
            <p:nvPr/>
          </p:nvSpPr>
          <p:spPr bwMode="auto">
            <a:xfrm flipV="1">
              <a:off x="8582025" y="2620328"/>
              <a:ext cx="1588"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04" name="Line 2052">
              <a:extLst>
                <a:ext uri="{FF2B5EF4-FFF2-40B4-BE49-F238E27FC236}">
                  <a16:creationId xmlns:a16="http://schemas.microsoft.com/office/drawing/2014/main" id="{9AC50AAC-C082-472F-82DE-92A0046DB653}"/>
                </a:ext>
              </a:extLst>
            </p:cNvPr>
            <p:cNvSpPr>
              <a:spLocks noChangeAspect="1" noChangeShapeType="1"/>
            </p:cNvSpPr>
            <p:nvPr/>
          </p:nvSpPr>
          <p:spPr bwMode="auto">
            <a:xfrm flipV="1">
              <a:off x="8583614" y="2572704"/>
              <a:ext cx="1587" cy="333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05" name="Line 2053">
              <a:extLst>
                <a:ext uri="{FF2B5EF4-FFF2-40B4-BE49-F238E27FC236}">
                  <a16:creationId xmlns:a16="http://schemas.microsoft.com/office/drawing/2014/main" id="{28F372B4-8F2D-47EF-83AD-70B92E3C03D6}"/>
                </a:ext>
              </a:extLst>
            </p:cNvPr>
            <p:cNvSpPr>
              <a:spLocks noChangeAspect="1" noChangeShapeType="1"/>
            </p:cNvSpPr>
            <p:nvPr/>
          </p:nvSpPr>
          <p:spPr bwMode="auto">
            <a:xfrm flipV="1">
              <a:off x="8585200" y="2547303"/>
              <a:ext cx="1588"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06" name="Line 2054">
              <a:extLst>
                <a:ext uri="{FF2B5EF4-FFF2-40B4-BE49-F238E27FC236}">
                  <a16:creationId xmlns:a16="http://schemas.microsoft.com/office/drawing/2014/main" id="{31F0A6B1-CE2E-4AA6-BCE9-DB7815A8313C}"/>
                </a:ext>
              </a:extLst>
            </p:cNvPr>
            <p:cNvSpPr>
              <a:spLocks noChangeAspect="1" noChangeShapeType="1"/>
            </p:cNvSpPr>
            <p:nvPr/>
          </p:nvSpPr>
          <p:spPr bwMode="auto">
            <a:xfrm flipV="1">
              <a:off x="8589964" y="2526666"/>
              <a:ext cx="1587"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07" name="Line 2055">
              <a:extLst>
                <a:ext uri="{FF2B5EF4-FFF2-40B4-BE49-F238E27FC236}">
                  <a16:creationId xmlns:a16="http://schemas.microsoft.com/office/drawing/2014/main" id="{636A9E2C-F3DD-4CAB-825F-90B12CB02E6B}"/>
                </a:ext>
              </a:extLst>
            </p:cNvPr>
            <p:cNvSpPr>
              <a:spLocks noChangeAspect="1" noChangeShapeType="1"/>
            </p:cNvSpPr>
            <p:nvPr/>
          </p:nvSpPr>
          <p:spPr bwMode="auto">
            <a:xfrm flipV="1">
              <a:off x="8589963" y="2480629"/>
              <a:ext cx="4762"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08" name="Line 2056">
              <a:extLst>
                <a:ext uri="{FF2B5EF4-FFF2-40B4-BE49-F238E27FC236}">
                  <a16:creationId xmlns:a16="http://schemas.microsoft.com/office/drawing/2014/main" id="{AE3F3F9C-8C75-460F-A333-DEB6C19DB4AB}"/>
                </a:ext>
              </a:extLst>
            </p:cNvPr>
            <p:cNvSpPr>
              <a:spLocks noChangeAspect="1" noChangeShapeType="1"/>
            </p:cNvSpPr>
            <p:nvPr/>
          </p:nvSpPr>
          <p:spPr bwMode="auto">
            <a:xfrm flipV="1">
              <a:off x="8594725" y="2472690"/>
              <a:ext cx="1588"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09" name="Line 2057">
              <a:extLst>
                <a:ext uri="{FF2B5EF4-FFF2-40B4-BE49-F238E27FC236}">
                  <a16:creationId xmlns:a16="http://schemas.microsoft.com/office/drawing/2014/main" id="{991F2B8F-C9B3-432B-A78D-494B4BF48F9F}"/>
                </a:ext>
              </a:extLst>
            </p:cNvPr>
            <p:cNvSpPr>
              <a:spLocks noChangeAspect="1" noChangeShapeType="1"/>
            </p:cNvSpPr>
            <p:nvPr/>
          </p:nvSpPr>
          <p:spPr bwMode="auto">
            <a:xfrm flipV="1">
              <a:off x="8599488" y="2434591"/>
              <a:ext cx="4762" cy="238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10" name="Line 2058">
              <a:extLst>
                <a:ext uri="{FF2B5EF4-FFF2-40B4-BE49-F238E27FC236}">
                  <a16:creationId xmlns:a16="http://schemas.microsoft.com/office/drawing/2014/main" id="{EED7E022-4DB1-40FD-A39C-729FABC94B8D}"/>
                </a:ext>
              </a:extLst>
            </p:cNvPr>
            <p:cNvSpPr>
              <a:spLocks noChangeAspect="1" noChangeShapeType="1"/>
            </p:cNvSpPr>
            <p:nvPr/>
          </p:nvSpPr>
          <p:spPr bwMode="auto">
            <a:xfrm flipV="1">
              <a:off x="8604250" y="2398078"/>
              <a:ext cx="6350" cy="365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11" name="Line 2059">
              <a:extLst>
                <a:ext uri="{FF2B5EF4-FFF2-40B4-BE49-F238E27FC236}">
                  <a16:creationId xmlns:a16="http://schemas.microsoft.com/office/drawing/2014/main" id="{1DCA4295-4BCD-466B-9866-B2C86859E893}"/>
                </a:ext>
              </a:extLst>
            </p:cNvPr>
            <p:cNvSpPr>
              <a:spLocks noChangeAspect="1" noChangeShapeType="1"/>
            </p:cNvSpPr>
            <p:nvPr/>
          </p:nvSpPr>
          <p:spPr bwMode="auto">
            <a:xfrm flipV="1">
              <a:off x="8612188" y="2361566"/>
              <a:ext cx="6350"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12" name="Line 2060">
              <a:extLst>
                <a:ext uri="{FF2B5EF4-FFF2-40B4-BE49-F238E27FC236}">
                  <a16:creationId xmlns:a16="http://schemas.microsoft.com/office/drawing/2014/main" id="{8EBF7A72-0BFB-4F06-9127-1393C221CDF5}"/>
                </a:ext>
              </a:extLst>
            </p:cNvPr>
            <p:cNvSpPr>
              <a:spLocks noChangeAspect="1" noChangeShapeType="1"/>
            </p:cNvSpPr>
            <p:nvPr/>
          </p:nvSpPr>
          <p:spPr bwMode="auto">
            <a:xfrm flipV="1">
              <a:off x="8618539" y="2342515"/>
              <a:ext cx="3175"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13" name="Line 2061">
              <a:extLst>
                <a:ext uri="{FF2B5EF4-FFF2-40B4-BE49-F238E27FC236}">
                  <a16:creationId xmlns:a16="http://schemas.microsoft.com/office/drawing/2014/main" id="{C469144A-2AA8-4771-8F84-A50710FE8771}"/>
                </a:ext>
              </a:extLst>
            </p:cNvPr>
            <p:cNvSpPr>
              <a:spLocks noChangeAspect="1" noChangeShapeType="1"/>
            </p:cNvSpPr>
            <p:nvPr/>
          </p:nvSpPr>
          <p:spPr bwMode="auto">
            <a:xfrm flipV="1">
              <a:off x="8621713" y="2326641"/>
              <a:ext cx="6350"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14" name="Line 2062">
              <a:extLst>
                <a:ext uri="{FF2B5EF4-FFF2-40B4-BE49-F238E27FC236}">
                  <a16:creationId xmlns:a16="http://schemas.microsoft.com/office/drawing/2014/main" id="{0ED517DB-9E59-4C0E-9320-2A4A028A530C}"/>
                </a:ext>
              </a:extLst>
            </p:cNvPr>
            <p:cNvSpPr>
              <a:spLocks noChangeAspect="1" noChangeShapeType="1"/>
            </p:cNvSpPr>
            <p:nvPr/>
          </p:nvSpPr>
          <p:spPr bwMode="auto">
            <a:xfrm flipV="1">
              <a:off x="8631239" y="2296479"/>
              <a:ext cx="3175"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15" name="Line 2063">
              <a:extLst>
                <a:ext uri="{FF2B5EF4-FFF2-40B4-BE49-F238E27FC236}">
                  <a16:creationId xmlns:a16="http://schemas.microsoft.com/office/drawing/2014/main" id="{C8A1596F-AC1B-4D55-A035-F31BEB71F5CD}"/>
                </a:ext>
              </a:extLst>
            </p:cNvPr>
            <p:cNvSpPr>
              <a:spLocks noChangeAspect="1" noChangeShapeType="1"/>
            </p:cNvSpPr>
            <p:nvPr/>
          </p:nvSpPr>
          <p:spPr bwMode="auto">
            <a:xfrm flipV="1">
              <a:off x="8634414" y="2255204"/>
              <a:ext cx="14287" cy="412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16" name="Line 2064">
              <a:extLst>
                <a:ext uri="{FF2B5EF4-FFF2-40B4-BE49-F238E27FC236}">
                  <a16:creationId xmlns:a16="http://schemas.microsoft.com/office/drawing/2014/main" id="{EEFED3C2-ECE4-4F9C-A505-5D47AC819976}"/>
                </a:ext>
              </a:extLst>
            </p:cNvPr>
            <p:cNvSpPr>
              <a:spLocks noChangeAspect="1" noChangeShapeType="1"/>
            </p:cNvSpPr>
            <p:nvPr/>
          </p:nvSpPr>
          <p:spPr bwMode="auto">
            <a:xfrm flipV="1">
              <a:off x="8653463" y="2207579"/>
              <a:ext cx="11112" cy="333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17" name="Line 2065">
              <a:extLst>
                <a:ext uri="{FF2B5EF4-FFF2-40B4-BE49-F238E27FC236}">
                  <a16:creationId xmlns:a16="http://schemas.microsoft.com/office/drawing/2014/main" id="{F5602402-1EC5-4960-A993-57B7C17D698D}"/>
                </a:ext>
              </a:extLst>
            </p:cNvPr>
            <p:cNvSpPr>
              <a:spLocks noChangeAspect="1" noChangeShapeType="1"/>
            </p:cNvSpPr>
            <p:nvPr/>
          </p:nvSpPr>
          <p:spPr bwMode="auto">
            <a:xfrm flipV="1">
              <a:off x="8664575" y="2205990"/>
              <a:ext cx="15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18" name="Line 2066">
              <a:extLst>
                <a:ext uri="{FF2B5EF4-FFF2-40B4-BE49-F238E27FC236}">
                  <a16:creationId xmlns:a16="http://schemas.microsoft.com/office/drawing/2014/main" id="{B064834F-9ABF-498D-8FC7-D803012AD41D}"/>
                </a:ext>
              </a:extLst>
            </p:cNvPr>
            <p:cNvSpPr>
              <a:spLocks noChangeAspect="1" noChangeShapeType="1"/>
            </p:cNvSpPr>
            <p:nvPr/>
          </p:nvSpPr>
          <p:spPr bwMode="auto">
            <a:xfrm flipV="1">
              <a:off x="8666164" y="2186940"/>
              <a:ext cx="7937"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19" name="Line 2067">
              <a:extLst>
                <a:ext uri="{FF2B5EF4-FFF2-40B4-BE49-F238E27FC236}">
                  <a16:creationId xmlns:a16="http://schemas.microsoft.com/office/drawing/2014/main" id="{E7E9C812-DFBD-490D-8A25-DC2D2BFEF2BC}"/>
                </a:ext>
              </a:extLst>
            </p:cNvPr>
            <p:cNvSpPr>
              <a:spLocks noChangeAspect="1" noChangeShapeType="1"/>
            </p:cNvSpPr>
            <p:nvPr/>
          </p:nvSpPr>
          <p:spPr bwMode="auto">
            <a:xfrm flipV="1">
              <a:off x="8678863" y="2159953"/>
              <a:ext cx="4762"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20" name="Line 2068">
              <a:extLst>
                <a:ext uri="{FF2B5EF4-FFF2-40B4-BE49-F238E27FC236}">
                  <a16:creationId xmlns:a16="http://schemas.microsoft.com/office/drawing/2014/main" id="{B67382E6-C6A4-431E-87D1-5B56C0FD27E8}"/>
                </a:ext>
              </a:extLst>
            </p:cNvPr>
            <p:cNvSpPr>
              <a:spLocks noChangeAspect="1" noChangeShapeType="1"/>
            </p:cNvSpPr>
            <p:nvPr/>
          </p:nvSpPr>
          <p:spPr bwMode="auto">
            <a:xfrm flipV="1">
              <a:off x="8683625" y="2120265"/>
              <a:ext cx="19050" cy="396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21" name="Line 2069">
              <a:extLst>
                <a:ext uri="{FF2B5EF4-FFF2-40B4-BE49-F238E27FC236}">
                  <a16:creationId xmlns:a16="http://schemas.microsoft.com/office/drawing/2014/main" id="{71054B15-5010-4C9E-918E-47863CA62F9C}"/>
                </a:ext>
              </a:extLst>
            </p:cNvPr>
            <p:cNvSpPr>
              <a:spLocks noChangeAspect="1" noChangeShapeType="1"/>
            </p:cNvSpPr>
            <p:nvPr/>
          </p:nvSpPr>
          <p:spPr bwMode="auto">
            <a:xfrm flipV="1">
              <a:off x="8707438" y="2099628"/>
              <a:ext cx="4762"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22" name="Line 2070">
              <a:extLst>
                <a:ext uri="{FF2B5EF4-FFF2-40B4-BE49-F238E27FC236}">
                  <a16:creationId xmlns:a16="http://schemas.microsoft.com/office/drawing/2014/main" id="{4E6D3C7F-710B-45C2-A72C-887328F9BB0B}"/>
                </a:ext>
              </a:extLst>
            </p:cNvPr>
            <p:cNvSpPr>
              <a:spLocks noChangeAspect="1" noChangeShapeType="1"/>
            </p:cNvSpPr>
            <p:nvPr/>
          </p:nvSpPr>
          <p:spPr bwMode="auto">
            <a:xfrm flipV="1">
              <a:off x="8712200" y="2069466"/>
              <a:ext cx="14288" cy="301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23" name="Line 2071">
              <a:extLst>
                <a:ext uri="{FF2B5EF4-FFF2-40B4-BE49-F238E27FC236}">
                  <a16:creationId xmlns:a16="http://schemas.microsoft.com/office/drawing/2014/main" id="{553A2801-9368-4282-8BB4-F855F787195F}"/>
                </a:ext>
              </a:extLst>
            </p:cNvPr>
            <p:cNvSpPr>
              <a:spLocks noChangeAspect="1" noChangeShapeType="1"/>
            </p:cNvSpPr>
            <p:nvPr/>
          </p:nvSpPr>
          <p:spPr bwMode="auto">
            <a:xfrm flipV="1">
              <a:off x="8726489" y="2055179"/>
              <a:ext cx="7937"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24" name="Line 2072">
              <a:extLst>
                <a:ext uri="{FF2B5EF4-FFF2-40B4-BE49-F238E27FC236}">
                  <a16:creationId xmlns:a16="http://schemas.microsoft.com/office/drawing/2014/main" id="{DA914E92-15AF-41F8-8A9D-0756CFDEAB08}"/>
                </a:ext>
              </a:extLst>
            </p:cNvPr>
            <p:cNvSpPr>
              <a:spLocks noChangeAspect="1" noChangeShapeType="1"/>
            </p:cNvSpPr>
            <p:nvPr/>
          </p:nvSpPr>
          <p:spPr bwMode="auto">
            <a:xfrm flipV="1">
              <a:off x="8740776" y="2023428"/>
              <a:ext cx="11113"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25" name="Line 2073">
              <a:extLst>
                <a:ext uri="{FF2B5EF4-FFF2-40B4-BE49-F238E27FC236}">
                  <a16:creationId xmlns:a16="http://schemas.microsoft.com/office/drawing/2014/main" id="{59D8C2E5-EF9B-4AF3-BA10-0F9D1D702224}"/>
                </a:ext>
              </a:extLst>
            </p:cNvPr>
            <p:cNvSpPr>
              <a:spLocks noChangeAspect="1" noChangeShapeType="1"/>
            </p:cNvSpPr>
            <p:nvPr/>
          </p:nvSpPr>
          <p:spPr bwMode="auto">
            <a:xfrm flipV="1">
              <a:off x="8751888" y="2015490"/>
              <a:ext cx="4762"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26" name="Line 2074">
              <a:extLst>
                <a:ext uri="{FF2B5EF4-FFF2-40B4-BE49-F238E27FC236}">
                  <a16:creationId xmlns:a16="http://schemas.microsoft.com/office/drawing/2014/main" id="{D9C10EEC-C0FF-4C92-8972-E6B4680D4096}"/>
                </a:ext>
              </a:extLst>
            </p:cNvPr>
            <p:cNvSpPr>
              <a:spLocks noChangeAspect="1" noChangeShapeType="1"/>
            </p:cNvSpPr>
            <p:nvPr/>
          </p:nvSpPr>
          <p:spPr bwMode="auto">
            <a:xfrm flipV="1">
              <a:off x="8756650" y="1994854"/>
              <a:ext cx="12700"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27" name="Line 2075">
              <a:extLst>
                <a:ext uri="{FF2B5EF4-FFF2-40B4-BE49-F238E27FC236}">
                  <a16:creationId xmlns:a16="http://schemas.microsoft.com/office/drawing/2014/main" id="{4FCEF78F-793D-458A-8D81-3A4E764207E0}"/>
                </a:ext>
              </a:extLst>
            </p:cNvPr>
            <p:cNvSpPr>
              <a:spLocks noChangeAspect="1" noChangeShapeType="1"/>
            </p:cNvSpPr>
            <p:nvPr/>
          </p:nvSpPr>
          <p:spPr bwMode="auto">
            <a:xfrm flipV="1">
              <a:off x="8777288" y="1977391"/>
              <a:ext cx="4762"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28" name="Line 2076">
              <a:extLst>
                <a:ext uri="{FF2B5EF4-FFF2-40B4-BE49-F238E27FC236}">
                  <a16:creationId xmlns:a16="http://schemas.microsoft.com/office/drawing/2014/main" id="{54A82D7F-03E6-4028-8D7D-5430F3C90FE9}"/>
                </a:ext>
              </a:extLst>
            </p:cNvPr>
            <p:cNvSpPr>
              <a:spLocks noChangeAspect="1" noChangeShapeType="1"/>
            </p:cNvSpPr>
            <p:nvPr/>
          </p:nvSpPr>
          <p:spPr bwMode="auto">
            <a:xfrm flipV="1">
              <a:off x="8782050" y="1944054"/>
              <a:ext cx="20638" cy="333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29" name="Line 2077">
              <a:extLst>
                <a:ext uri="{FF2B5EF4-FFF2-40B4-BE49-F238E27FC236}">
                  <a16:creationId xmlns:a16="http://schemas.microsoft.com/office/drawing/2014/main" id="{659ACBAC-69DD-4277-BEF6-F96C4B8C49E2}"/>
                </a:ext>
              </a:extLst>
            </p:cNvPr>
            <p:cNvSpPr>
              <a:spLocks noChangeAspect="1" noChangeShapeType="1"/>
            </p:cNvSpPr>
            <p:nvPr/>
          </p:nvSpPr>
          <p:spPr bwMode="auto">
            <a:xfrm flipV="1">
              <a:off x="8802689" y="1936115"/>
              <a:ext cx="7937"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30" name="Line 2078">
              <a:extLst>
                <a:ext uri="{FF2B5EF4-FFF2-40B4-BE49-F238E27FC236}">
                  <a16:creationId xmlns:a16="http://schemas.microsoft.com/office/drawing/2014/main" id="{21266151-6543-4707-8CE3-5F3F27E0CBBF}"/>
                </a:ext>
              </a:extLst>
            </p:cNvPr>
            <p:cNvSpPr>
              <a:spLocks noChangeAspect="1" noChangeShapeType="1"/>
            </p:cNvSpPr>
            <p:nvPr/>
          </p:nvSpPr>
          <p:spPr bwMode="auto">
            <a:xfrm flipV="1">
              <a:off x="8818563" y="1888491"/>
              <a:ext cx="30162" cy="365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31" name="Line 2079">
              <a:extLst>
                <a:ext uri="{FF2B5EF4-FFF2-40B4-BE49-F238E27FC236}">
                  <a16:creationId xmlns:a16="http://schemas.microsoft.com/office/drawing/2014/main" id="{B8C5AE5D-7E52-49A4-AE3A-5ED4DA07CE7B}"/>
                </a:ext>
              </a:extLst>
            </p:cNvPr>
            <p:cNvSpPr>
              <a:spLocks noChangeAspect="1" noChangeShapeType="1"/>
            </p:cNvSpPr>
            <p:nvPr/>
          </p:nvSpPr>
          <p:spPr bwMode="auto">
            <a:xfrm flipV="1">
              <a:off x="8848726" y="1885316"/>
              <a:ext cx="31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32" name="Line 2080">
              <a:extLst>
                <a:ext uri="{FF2B5EF4-FFF2-40B4-BE49-F238E27FC236}">
                  <a16:creationId xmlns:a16="http://schemas.microsoft.com/office/drawing/2014/main" id="{52E3C989-5830-425F-A518-754C7EA5A7CA}"/>
                </a:ext>
              </a:extLst>
            </p:cNvPr>
            <p:cNvSpPr>
              <a:spLocks noChangeAspect="1" noChangeShapeType="1"/>
            </p:cNvSpPr>
            <p:nvPr/>
          </p:nvSpPr>
          <p:spPr bwMode="auto">
            <a:xfrm flipV="1">
              <a:off x="8851901" y="1883729"/>
              <a:ext cx="3175"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33" name="Line 2081">
              <a:extLst>
                <a:ext uri="{FF2B5EF4-FFF2-40B4-BE49-F238E27FC236}">
                  <a16:creationId xmlns:a16="http://schemas.microsoft.com/office/drawing/2014/main" id="{D9655A1D-27A2-4C1D-9A79-DE16DBB3D9ED}"/>
                </a:ext>
              </a:extLst>
            </p:cNvPr>
            <p:cNvSpPr>
              <a:spLocks noChangeAspect="1" noChangeShapeType="1"/>
            </p:cNvSpPr>
            <p:nvPr/>
          </p:nvSpPr>
          <p:spPr bwMode="auto">
            <a:xfrm flipV="1">
              <a:off x="8864601" y="1842453"/>
              <a:ext cx="30163"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34" name="Line 2082">
              <a:extLst>
                <a:ext uri="{FF2B5EF4-FFF2-40B4-BE49-F238E27FC236}">
                  <a16:creationId xmlns:a16="http://schemas.microsoft.com/office/drawing/2014/main" id="{C4E5DB84-7167-4130-98B8-F09DD76C3298}"/>
                </a:ext>
              </a:extLst>
            </p:cNvPr>
            <p:cNvSpPr>
              <a:spLocks noChangeAspect="1" noChangeShapeType="1"/>
            </p:cNvSpPr>
            <p:nvPr/>
          </p:nvSpPr>
          <p:spPr bwMode="auto">
            <a:xfrm flipV="1">
              <a:off x="8894764" y="1839279"/>
              <a:ext cx="31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35" name="Line 2083">
              <a:extLst>
                <a:ext uri="{FF2B5EF4-FFF2-40B4-BE49-F238E27FC236}">
                  <a16:creationId xmlns:a16="http://schemas.microsoft.com/office/drawing/2014/main" id="{B75A1EBE-E7D4-4816-96A9-056CEC0C0228}"/>
                </a:ext>
              </a:extLst>
            </p:cNvPr>
            <p:cNvSpPr>
              <a:spLocks noChangeAspect="1" noChangeShapeType="1"/>
            </p:cNvSpPr>
            <p:nvPr/>
          </p:nvSpPr>
          <p:spPr bwMode="auto">
            <a:xfrm flipV="1">
              <a:off x="8897939" y="1836104"/>
              <a:ext cx="31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36" name="Line 2084">
              <a:extLst>
                <a:ext uri="{FF2B5EF4-FFF2-40B4-BE49-F238E27FC236}">
                  <a16:creationId xmlns:a16="http://schemas.microsoft.com/office/drawing/2014/main" id="{C54BB5CF-86C5-46B6-B7D9-BD1954494E32}"/>
                </a:ext>
              </a:extLst>
            </p:cNvPr>
            <p:cNvSpPr>
              <a:spLocks noChangeAspect="1" noChangeShapeType="1"/>
            </p:cNvSpPr>
            <p:nvPr/>
          </p:nvSpPr>
          <p:spPr bwMode="auto">
            <a:xfrm flipV="1">
              <a:off x="8912226" y="1804353"/>
              <a:ext cx="28575" cy="238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37" name="Line 2085">
              <a:extLst>
                <a:ext uri="{FF2B5EF4-FFF2-40B4-BE49-F238E27FC236}">
                  <a16:creationId xmlns:a16="http://schemas.microsoft.com/office/drawing/2014/main" id="{75CFE0EB-7AC6-4CF8-B61B-FEAE17D6C32C}"/>
                </a:ext>
              </a:extLst>
            </p:cNvPr>
            <p:cNvSpPr>
              <a:spLocks noChangeAspect="1" noChangeShapeType="1"/>
            </p:cNvSpPr>
            <p:nvPr/>
          </p:nvSpPr>
          <p:spPr bwMode="auto">
            <a:xfrm flipV="1">
              <a:off x="8940800" y="1796415"/>
              <a:ext cx="14288"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38" name="Line 2086">
              <a:extLst>
                <a:ext uri="{FF2B5EF4-FFF2-40B4-BE49-F238E27FC236}">
                  <a16:creationId xmlns:a16="http://schemas.microsoft.com/office/drawing/2014/main" id="{81C7F3E5-F60B-4BAE-92F4-1C9893B1F946}"/>
                </a:ext>
              </a:extLst>
            </p:cNvPr>
            <p:cNvSpPr>
              <a:spLocks noChangeAspect="1" noChangeShapeType="1"/>
            </p:cNvSpPr>
            <p:nvPr/>
          </p:nvSpPr>
          <p:spPr bwMode="auto">
            <a:xfrm flipV="1">
              <a:off x="8964613" y="1775779"/>
              <a:ext cx="23812"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39" name="Line 2087">
              <a:extLst>
                <a:ext uri="{FF2B5EF4-FFF2-40B4-BE49-F238E27FC236}">
                  <a16:creationId xmlns:a16="http://schemas.microsoft.com/office/drawing/2014/main" id="{F9F3275B-E161-40FD-B8CD-42FEABB5BC55}"/>
                </a:ext>
              </a:extLst>
            </p:cNvPr>
            <p:cNvSpPr>
              <a:spLocks noChangeAspect="1" noChangeShapeType="1"/>
            </p:cNvSpPr>
            <p:nvPr/>
          </p:nvSpPr>
          <p:spPr bwMode="auto">
            <a:xfrm flipV="1">
              <a:off x="8988426" y="1764666"/>
              <a:ext cx="22225" cy="111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40" name="Line 2088">
              <a:extLst>
                <a:ext uri="{FF2B5EF4-FFF2-40B4-BE49-F238E27FC236}">
                  <a16:creationId xmlns:a16="http://schemas.microsoft.com/office/drawing/2014/main" id="{40C3C92F-6214-4017-A2A7-B9571EAE707C}"/>
                </a:ext>
              </a:extLst>
            </p:cNvPr>
            <p:cNvSpPr>
              <a:spLocks noChangeAspect="1" noChangeShapeType="1"/>
            </p:cNvSpPr>
            <p:nvPr/>
          </p:nvSpPr>
          <p:spPr bwMode="auto">
            <a:xfrm flipV="1">
              <a:off x="9021763" y="1753553"/>
              <a:ext cx="12700"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41" name="Line 2089">
              <a:extLst>
                <a:ext uri="{FF2B5EF4-FFF2-40B4-BE49-F238E27FC236}">
                  <a16:creationId xmlns:a16="http://schemas.microsoft.com/office/drawing/2014/main" id="{68C223C6-D071-4B43-B921-6831DBBCAB1D}"/>
                </a:ext>
              </a:extLst>
            </p:cNvPr>
            <p:cNvSpPr>
              <a:spLocks noChangeAspect="1" noChangeShapeType="1"/>
            </p:cNvSpPr>
            <p:nvPr/>
          </p:nvSpPr>
          <p:spPr bwMode="auto">
            <a:xfrm flipV="1">
              <a:off x="9034464" y="1747203"/>
              <a:ext cx="20637"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42" name="Line 2090">
              <a:extLst>
                <a:ext uri="{FF2B5EF4-FFF2-40B4-BE49-F238E27FC236}">
                  <a16:creationId xmlns:a16="http://schemas.microsoft.com/office/drawing/2014/main" id="{1A1B884E-9E45-460C-A407-7102D50ACB29}"/>
                </a:ext>
              </a:extLst>
            </p:cNvPr>
            <p:cNvSpPr>
              <a:spLocks noChangeAspect="1" noChangeShapeType="1"/>
            </p:cNvSpPr>
            <p:nvPr/>
          </p:nvSpPr>
          <p:spPr bwMode="auto">
            <a:xfrm flipV="1">
              <a:off x="9055101" y="1744029"/>
              <a:ext cx="158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43" name="Line 2091">
              <a:extLst>
                <a:ext uri="{FF2B5EF4-FFF2-40B4-BE49-F238E27FC236}">
                  <a16:creationId xmlns:a16="http://schemas.microsoft.com/office/drawing/2014/main" id="{F3870A59-43FF-44B0-8EDE-E4B52E77C970}"/>
                </a:ext>
              </a:extLst>
            </p:cNvPr>
            <p:cNvSpPr>
              <a:spLocks noChangeAspect="1" noChangeShapeType="1"/>
            </p:cNvSpPr>
            <p:nvPr/>
          </p:nvSpPr>
          <p:spPr bwMode="auto">
            <a:xfrm flipV="1">
              <a:off x="9082088" y="1731329"/>
              <a:ext cx="44450"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44" name="Line 2092">
              <a:extLst>
                <a:ext uri="{FF2B5EF4-FFF2-40B4-BE49-F238E27FC236}">
                  <a16:creationId xmlns:a16="http://schemas.microsoft.com/office/drawing/2014/main" id="{04F03E73-62FC-4235-BE18-BDA2F268D3F7}"/>
                </a:ext>
              </a:extLst>
            </p:cNvPr>
            <p:cNvSpPr>
              <a:spLocks noChangeAspect="1" noChangeShapeType="1"/>
            </p:cNvSpPr>
            <p:nvPr/>
          </p:nvSpPr>
          <p:spPr bwMode="auto">
            <a:xfrm>
              <a:off x="9126538" y="1731329"/>
              <a:ext cx="4762"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45" name="Line 2093">
              <a:extLst>
                <a:ext uri="{FF2B5EF4-FFF2-40B4-BE49-F238E27FC236}">
                  <a16:creationId xmlns:a16="http://schemas.microsoft.com/office/drawing/2014/main" id="{33BB3BE2-EEA0-4190-A82E-1C2892C16460}"/>
                </a:ext>
              </a:extLst>
            </p:cNvPr>
            <p:cNvSpPr>
              <a:spLocks noChangeAspect="1" noChangeShapeType="1"/>
            </p:cNvSpPr>
            <p:nvPr/>
          </p:nvSpPr>
          <p:spPr bwMode="auto">
            <a:xfrm flipV="1">
              <a:off x="9144001" y="1729740"/>
              <a:ext cx="28575"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46" name="Line 2094">
              <a:extLst>
                <a:ext uri="{FF2B5EF4-FFF2-40B4-BE49-F238E27FC236}">
                  <a16:creationId xmlns:a16="http://schemas.microsoft.com/office/drawing/2014/main" id="{9F1AAF48-7810-4C1A-A487-6532491F9859}"/>
                </a:ext>
              </a:extLst>
            </p:cNvPr>
            <p:cNvSpPr>
              <a:spLocks noChangeAspect="1" noChangeShapeType="1"/>
            </p:cNvSpPr>
            <p:nvPr/>
          </p:nvSpPr>
          <p:spPr bwMode="auto">
            <a:xfrm>
              <a:off x="9172575" y="1729741"/>
              <a:ext cx="20638"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47" name="Line 2095">
              <a:extLst>
                <a:ext uri="{FF2B5EF4-FFF2-40B4-BE49-F238E27FC236}">
                  <a16:creationId xmlns:a16="http://schemas.microsoft.com/office/drawing/2014/main" id="{23BFD095-D966-42DB-96B4-9DE5650E5E7A}"/>
                </a:ext>
              </a:extLst>
            </p:cNvPr>
            <p:cNvSpPr>
              <a:spLocks noChangeAspect="1" noChangeShapeType="1"/>
            </p:cNvSpPr>
            <p:nvPr/>
          </p:nvSpPr>
          <p:spPr bwMode="auto">
            <a:xfrm>
              <a:off x="9205913" y="1734504"/>
              <a:ext cx="11112"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48" name="Line 2096">
              <a:extLst>
                <a:ext uri="{FF2B5EF4-FFF2-40B4-BE49-F238E27FC236}">
                  <a16:creationId xmlns:a16="http://schemas.microsoft.com/office/drawing/2014/main" id="{3D54419C-97C8-4E92-BC4B-98EC1D88822B}"/>
                </a:ext>
              </a:extLst>
            </p:cNvPr>
            <p:cNvSpPr>
              <a:spLocks noChangeAspect="1" noChangeShapeType="1"/>
            </p:cNvSpPr>
            <p:nvPr/>
          </p:nvSpPr>
          <p:spPr bwMode="auto">
            <a:xfrm>
              <a:off x="9217025" y="1736090"/>
              <a:ext cx="38100"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49" name="Line 2097">
              <a:extLst>
                <a:ext uri="{FF2B5EF4-FFF2-40B4-BE49-F238E27FC236}">
                  <a16:creationId xmlns:a16="http://schemas.microsoft.com/office/drawing/2014/main" id="{71F83723-9614-4671-8769-B0BE2716CBBD}"/>
                </a:ext>
              </a:extLst>
            </p:cNvPr>
            <p:cNvSpPr>
              <a:spLocks noChangeAspect="1" noChangeShapeType="1"/>
            </p:cNvSpPr>
            <p:nvPr/>
          </p:nvSpPr>
          <p:spPr bwMode="auto">
            <a:xfrm>
              <a:off x="9267826" y="1745615"/>
              <a:ext cx="4763"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50" name="Line 2098">
              <a:extLst>
                <a:ext uri="{FF2B5EF4-FFF2-40B4-BE49-F238E27FC236}">
                  <a16:creationId xmlns:a16="http://schemas.microsoft.com/office/drawing/2014/main" id="{1BBE4A5C-7B66-47C5-A3C0-1EE488AE1EBD}"/>
                </a:ext>
              </a:extLst>
            </p:cNvPr>
            <p:cNvSpPr>
              <a:spLocks noChangeAspect="1" noChangeShapeType="1"/>
            </p:cNvSpPr>
            <p:nvPr/>
          </p:nvSpPr>
          <p:spPr bwMode="auto">
            <a:xfrm>
              <a:off x="9272588" y="1747203"/>
              <a:ext cx="38100"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51" name="Line 2099">
              <a:extLst>
                <a:ext uri="{FF2B5EF4-FFF2-40B4-BE49-F238E27FC236}">
                  <a16:creationId xmlns:a16="http://schemas.microsoft.com/office/drawing/2014/main" id="{1FB64609-A3E3-43B3-89B9-C51F6D63C5A7}"/>
                </a:ext>
              </a:extLst>
            </p:cNvPr>
            <p:cNvSpPr>
              <a:spLocks noChangeAspect="1" noChangeShapeType="1"/>
            </p:cNvSpPr>
            <p:nvPr/>
          </p:nvSpPr>
          <p:spPr bwMode="auto">
            <a:xfrm>
              <a:off x="9310688" y="1759904"/>
              <a:ext cx="4762"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52" name="Line 2100">
              <a:extLst>
                <a:ext uri="{FF2B5EF4-FFF2-40B4-BE49-F238E27FC236}">
                  <a16:creationId xmlns:a16="http://schemas.microsoft.com/office/drawing/2014/main" id="{2DB28FD2-863F-443D-8D64-F9E82A1075C7}"/>
                </a:ext>
              </a:extLst>
            </p:cNvPr>
            <p:cNvSpPr>
              <a:spLocks noChangeAspect="1" noChangeShapeType="1"/>
            </p:cNvSpPr>
            <p:nvPr/>
          </p:nvSpPr>
          <p:spPr bwMode="auto">
            <a:xfrm>
              <a:off x="9326563" y="1766254"/>
              <a:ext cx="30162"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53" name="Line 2101">
              <a:extLst>
                <a:ext uri="{FF2B5EF4-FFF2-40B4-BE49-F238E27FC236}">
                  <a16:creationId xmlns:a16="http://schemas.microsoft.com/office/drawing/2014/main" id="{580FCD9D-D5A6-4998-B222-E684E2EC1653}"/>
                </a:ext>
              </a:extLst>
            </p:cNvPr>
            <p:cNvSpPr>
              <a:spLocks noChangeAspect="1" noChangeShapeType="1"/>
            </p:cNvSpPr>
            <p:nvPr/>
          </p:nvSpPr>
          <p:spPr bwMode="auto">
            <a:xfrm>
              <a:off x="9356726" y="1780541"/>
              <a:ext cx="15875"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54" name="Line 2102">
              <a:extLst>
                <a:ext uri="{FF2B5EF4-FFF2-40B4-BE49-F238E27FC236}">
                  <a16:creationId xmlns:a16="http://schemas.microsoft.com/office/drawing/2014/main" id="{A8BD7976-C433-48C4-8733-A98A2D9A66CB}"/>
                </a:ext>
              </a:extLst>
            </p:cNvPr>
            <p:cNvSpPr>
              <a:spLocks noChangeAspect="1" noChangeShapeType="1"/>
            </p:cNvSpPr>
            <p:nvPr/>
          </p:nvSpPr>
          <p:spPr bwMode="auto">
            <a:xfrm>
              <a:off x="9383713" y="1796416"/>
              <a:ext cx="19050"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55" name="Line 2103">
              <a:extLst>
                <a:ext uri="{FF2B5EF4-FFF2-40B4-BE49-F238E27FC236}">
                  <a16:creationId xmlns:a16="http://schemas.microsoft.com/office/drawing/2014/main" id="{C100636B-6350-4873-9FF9-6BB2DFFFD124}"/>
                </a:ext>
              </a:extLst>
            </p:cNvPr>
            <p:cNvSpPr>
              <a:spLocks noChangeAspect="1" noChangeShapeType="1"/>
            </p:cNvSpPr>
            <p:nvPr/>
          </p:nvSpPr>
          <p:spPr bwMode="auto">
            <a:xfrm>
              <a:off x="9402763" y="1805941"/>
              <a:ext cx="25400"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56" name="Line 2104">
              <a:extLst>
                <a:ext uri="{FF2B5EF4-FFF2-40B4-BE49-F238E27FC236}">
                  <a16:creationId xmlns:a16="http://schemas.microsoft.com/office/drawing/2014/main" id="{27F36921-1F81-4AD9-84DF-8776DD3DC0A3}"/>
                </a:ext>
              </a:extLst>
            </p:cNvPr>
            <p:cNvSpPr>
              <a:spLocks noChangeAspect="1" noChangeShapeType="1"/>
            </p:cNvSpPr>
            <p:nvPr/>
          </p:nvSpPr>
          <p:spPr bwMode="auto">
            <a:xfrm>
              <a:off x="9439276" y="1829753"/>
              <a:ext cx="9525"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57" name="Line 2105">
              <a:extLst>
                <a:ext uri="{FF2B5EF4-FFF2-40B4-BE49-F238E27FC236}">
                  <a16:creationId xmlns:a16="http://schemas.microsoft.com/office/drawing/2014/main" id="{C0EC25C2-F095-4BC8-8B6F-778FE0E8E6D0}"/>
                </a:ext>
              </a:extLst>
            </p:cNvPr>
            <p:cNvSpPr>
              <a:spLocks noChangeAspect="1" noChangeShapeType="1"/>
            </p:cNvSpPr>
            <p:nvPr/>
          </p:nvSpPr>
          <p:spPr bwMode="auto">
            <a:xfrm>
              <a:off x="9448801" y="1836104"/>
              <a:ext cx="31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58" name="Line 2106">
              <a:extLst>
                <a:ext uri="{FF2B5EF4-FFF2-40B4-BE49-F238E27FC236}">
                  <a16:creationId xmlns:a16="http://schemas.microsoft.com/office/drawing/2014/main" id="{2AC64784-FADF-4C8B-9F48-B70D613A44D9}"/>
                </a:ext>
              </a:extLst>
            </p:cNvPr>
            <p:cNvSpPr>
              <a:spLocks noChangeAspect="1" noChangeShapeType="1"/>
            </p:cNvSpPr>
            <p:nvPr/>
          </p:nvSpPr>
          <p:spPr bwMode="auto">
            <a:xfrm>
              <a:off x="9451976" y="1839279"/>
              <a:ext cx="28575"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59" name="Line 2107">
              <a:extLst>
                <a:ext uri="{FF2B5EF4-FFF2-40B4-BE49-F238E27FC236}">
                  <a16:creationId xmlns:a16="http://schemas.microsoft.com/office/drawing/2014/main" id="{13DABED8-840A-4C0A-B344-7EB00417B408}"/>
                </a:ext>
              </a:extLst>
            </p:cNvPr>
            <p:cNvSpPr>
              <a:spLocks noChangeAspect="1" noChangeShapeType="1"/>
            </p:cNvSpPr>
            <p:nvPr/>
          </p:nvSpPr>
          <p:spPr bwMode="auto">
            <a:xfrm>
              <a:off x="9491664" y="1871029"/>
              <a:ext cx="3175"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60" name="Line 2108">
              <a:extLst>
                <a:ext uri="{FF2B5EF4-FFF2-40B4-BE49-F238E27FC236}">
                  <a16:creationId xmlns:a16="http://schemas.microsoft.com/office/drawing/2014/main" id="{3452F3FD-0782-445A-9C4E-EA2517DE8B82}"/>
                </a:ext>
              </a:extLst>
            </p:cNvPr>
            <p:cNvSpPr>
              <a:spLocks noChangeAspect="1" noChangeShapeType="1"/>
            </p:cNvSpPr>
            <p:nvPr/>
          </p:nvSpPr>
          <p:spPr bwMode="auto">
            <a:xfrm>
              <a:off x="9494839" y="1872615"/>
              <a:ext cx="14287"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61" name="Line 2109">
              <a:extLst>
                <a:ext uri="{FF2B5EF4-FFF2-40B4-BE49-F238E27FC236}">
                  <a16:creationId xmlns:a16="http://schemas.microsoft.com/office/drawing/2014/main" id="{4A0CE2AB-7766-4DE6-A097-C5C8E7551E6C}"/>
                </a:ext>
              </a:extLst>
            </p:cNvPr>
            <p:cNvSpPr>
              <a:spLocks noChangeAspect="1" noChangeShapeType="1"/>
            </p:cNvSpPr>
            <p:nvPr/>
          </p:nvSpPr>
          <p:spPr bwMode="auto">
            <a:xfrm>
              <a:off x="9509126" y="1885315"/>
              <a:ext cx="23813" cy="206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62" name="Line 2110">
              <a:extLst>
                <a:ext uri="{FF2B5EF4-FFF2-40B4-BE49-F238E27FC236}">
                  <a16:creationId xmlns:a16="http://schemas.microsoft.com/office/drawing/2014/main" id="{E9DBAE04-66E2-4853-BA5C-A59E88B5D047}"/>
                </a:ext>
              </a:extLst>
            </p:cNvPr>
            <p:cNvSpPr>
              <a:spLocks noChangeAspect="1" noChangeShapeType="1"/>
            </p:cNvSpPr>
            <p:nvPr/>
          </p:nvSpPr>
          <p:spPr bwMode="auto">
            <a:xfrm>
              <a:off x="9542464" y="1915479"/>
              <a:ext cx="15875"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63" name="Line 2111">
              <a:extLst>
                <a:ext uri="{FF2B5EF4-FFF2-40B4-BE49-F238E27FC236}">
                  <a16:creationId xmlns:a16="http://schemas.microsoft.com/office/drawing/2014/main" id="{35BAB1A6-E319-463E-87C5-2B9B0B91FDA6}"/>
                </a:ext>
              </a:extLst>
            </p:cNvPr>
            <p:cNvSpPr>
              <a:spLocks noChangeAspect="1" noChangeShapeType="1"/>
            </p:cNvSpPr>
            <p:nvPr/>
          </p:nvSpPr>
          <p:spPr bwMode="auto">
            <a:xfrm>
              <a:off x="9558339" y="1931354"/>
              <a:ext cx="20637"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64" name="Line 2112">
              <a:extLst>
                <a:ext uri="{FF2B5EF4-FFF2-40B4-BE49-F238E27FC236}">
                  <a16:creationId xmlns:a16="http://schemas.microsoft.com/office/drawing/2014/main" id="{D756AEEE-D3FB-4902-BE3E-89E5D06ACC00}"/>
                </a:ext>
              </a:extLst>
            </p:cNvPr>
            <p:cNvSpPr>
              <a:spLocks noChangeAspect="1" noChangeShapeType="1"/>
            </p:cNvSpPr>
            <p:nvPr/>
          </p:nvSpPr>
          <p:spPr bwMode="auto">
            <a:xfrm>
              <a:off x="9588500" y="1961516"/>
              <a:ext cx="14288" cy="158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65" name="Line 2113">
              <a:extLst>
                <a:ext uri="{FF2B5EF4-FFF2-40B4-BE49-F238E27FC236}">
                  <a16:creationId xmlns:a16="http://schemas.microsoft.com/office/drawing/2014/main" id="{1EC902A0-4D1E-42C5-BBE1-D47E776F92F2}"/>
                </a:ext>
              </a:extLst>
            </p:cNvPr>
            <p:cNvSpPr>
              <a:spLocks noChangeAspect="1" noChangeShapeType="1"/>
            </p:cNvSpPr>
            <p:nvPr/>
          </p:nvSpPr>
          <p:spPr bwMode="auto">
            <a:xfrm>
              <a:off x="9602789" y="1977390"/>
              <a:ext cx="22225"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66" name="Line 2114">
              <a:extLst>
                <a:ext uri="{FF2B5EF4-FFF2-40B4-BE49-F238E27FC236}">
                  <a16:creationId xmlns:a16="http://schemas.microsoft.com/office/drawing/2014/main" id="{29357524-4686-40E8-BADB-19999C60A3F5}"/>
                </a:ext>
              </a:extLst>
            </p:cNvPr>
            <p:cNvSpPr>
              <a:spLocks noChangeAspect="1" noChangeShapeType="1"/>
            </p:cNvSpPr>
            <p:nvPr/>
          </p:nvSpPr>
          <p:spPr bwMode="auto">
            <a:xfrm>
              <a:off x="9634538" y="2015490"/>
              <a:ext cx="6350"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67" name="Line 2115">
              <a:extLst>
                <a:ext uri="{FF2B5EF4-FFF2-40B4-BE49-F238E27FC236}">
                  <a16:creationId xmlns:a16="http://schemas.microsoft.com/office/drawing/2014/main" id="{C57BC8DD-CC0D-4768-B728-C1F5D4B2D8C9}"/>
                </a:ext>
              </a:extLst>
            </p:cNvPr>
            <p:cNvSpPr>
              <a:spLocks noChangeAspect="1" noChangeShapeType="1"/>
            </p:cNvSpPr>
            <p:nvPr/>
          </p:nvSpPr>
          <p:spPr bwMode="auto">
            <a:xfrm>
              <a:off x="9640889" y="2023428"/>
              <a:ext cx="26987" cy="365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68" name="Line 2116">
              <a:extLst>
                <a:ext uri="{FF2B5EF4-FFF2-40B4-BE49-F238E27FC236}">
                  <a16:creationId xmlns:a16="http://schemas.microsoft.com/office/drawing/2014/main" id="{139F1BF0-1411-4D99-B87A-C5D6F0E8FBCB}"/>
                </a:ext>
              </a:extLst>
            </p:cNvPr>
            <p:cNvSpPr>
              <a:spLocks noChangeAspect="1" noChangeShapeType="1"/>
            </p:cNvSpPr>
            <p:nvPr/>
          </p:nvSpPr>
          <p:spPr bwMode="auto">
            <a:xfrm>
              <a:off x="9675814" y="2071053"/>
              <a:ext cx="3175"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69" name="Line 2117">
              <a:extLst>
                <a:ext uri="{FF2B5EF4-FFF2-40B4-BE49-F238E27FC236}">
                  <a16:creationId xmlns:a16="http://schemas.microsoft.com/office/drawing/2014/main" id="{F0C2E8F5-2027-4F58-AD0E-3B6CCBFF49BB}"/>
                </a:ext>
              </a:extLst>
            </p:cNvPr>
            <p:cNvSpPr>
              <a:spLocks noChangeAspect="1" noChangeShapeType="1"/>
            </p:cNvSpPr>
            <p:nvPr/>
          </p:nvSpPr>
          <p:spPr bwMode="auto">
            <a:xfrm>
              <a:off x="9678988" y="2077403"/>
              <a:ext cx="23812"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70" name="Line 2118">
              <a:extLst>
                <a:ext uri="{FF2B5EF4-FFF2-40B4-BE49-F238E27FC236}">
                  <a16:creationId xmlns:a16="http://schemas.microsoft.com/office/drawing/2014/main" id="{BF31F7BE-27AA-4894-B5F9-E6EF9022A097}"/>
                </a:ext>
              </a:extLst>
            </p:cNvPr>
            <p:cNvSpPr>
              <a:spLocks noChangeAspect="1" noChangeShapeType="1"/>
            </p:cNvSpPr>
            <p:nvPr/>
          </p:nvSpPr>
          <p:spPr bwMode="auto">
            <a:xfrm>
              <a:off x="9702800" y="2115503"/>
              <a:ext cx="1588"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71" name="Line 2119">
              <a:extLst>
                <a:ext uri="{FF2B5EF4-FFF2-40B4-BE49-F238E27FC236}">
                  <a16:creationId xmlns:a16="http://schemas.microsoft.com/office/drawing/2014/main" id="{12EF1F23-9020-4D80-9DD9-10ACB7AD5BA6}"/>
                </a:ext>
              </a:extLst>
            </p:cNvPr>
            <p:cNvSpPr>
              <a:spLocks noChangeAspect="1" noChangeShapeType="1"/>
            </p:cNvSpPr>
            <p:nvPr/>
          </p:nvSpPr>
          <p:spPr bwMode="auto">
            <a:xfrm>
              <a:off x="9712325" y="2132965"/>
              <a:ext cx="12700"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72" name="Line 2120">
              <a:extLst>
                <a:ext uri="{FF2B5EF4-FFF2-40B4-BE49-F238E27FC236}">
                  <a16:creationId xmlns:a16="http://schemas.microsoft.com/office/drawing/2014/main" id="{98E9D450-8AF6-4A5E-8ECC-67D62978DCBA}"/>
                </a:ext>
              </a:extLst>
            </p:cNvPr>
            <p:cNvSpPr>
              <a:spLocks noChangeAspect="1" noChangeShapeType="1"/>
            </p:cNvSpPr>
            <p:nvPr/>
          </p:nvSpPr>
          <p:spPr bwMode="auto">
            <a:xfrm>
              <a:off x="9725025" y="2158365"/>
              <a:ext cx="15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73" name="Line 2121">
              <a:extLst>
                <a:ext uri="{FF2B5EF4-FFF2-40B4-BE49-F238E27FC236}">
                  <a16:creationId xmlns:a16="http://schemas.microsoft.com/office/drawing/2014/main" id="{5C90D59B-6985-4CC5-BBCC-5F9D6185D646}"/>
                </a:ext>
              </a:extLst>
            </p:cNvPr>
            <p:cNvSpPr>
              <a:spLocks noChangeAspect="1" noChangeShapeType="1"/>
            </p:cNvSpPr>
            <p:nvPr/>
          </p:nvSpPr>
          <p:spPr bwMode="auto">
            <a:xfrm>
              <a:off x="9726613" y="2159953"/>
              <a:ext cx="11112" cy="238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74" name="Line 2122">
              <a:extLst>
                <a:ext uri="{FF2B5EF4-FFF2-40B4-BE49-F238E27FC236}">
                  <a16:creationId xmlns:a16="http://schemas.microsoft.com/office/drawing/2014/main" id="{BE27055D-C17C-4788-8676-EF064DB88E16}"/>
                </a:ext>
              </a:extLst>
            </p:cNvPr>
            <p:cNvSpPr>
              <a:spLocks noChangeAspect="1" noChangeShapeType="1"/>
            </p:cNvSpPr>
            <p:nvPr/>
          </p:nvSpPr>
          <p:spPr bwMode="auto">
            <a:xfrm>
              <a:off x="9742488" y="2196466"/>
              <a:ext cx="4762"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75" name="Line 2123">
              <a:extLst>
                <a:ext uri="{FF2B5EF4-FFF2-40B4-BE49-F238E27FC236}">
                  <a16:creationId xmlns:a16="http://schemas.microsoft.com/office/drawing/2014/main" id="{B66C2861-50B6-40B7-B2E0-4B24D3177FC4}"/>
                </a:ext>
              </a:extLst>
            </p:cNvPr>
            <p:cNvSpPr>
              <a:spLocks noChangeAspect="1" noChangeShapeType="1"/>
            </p:cNvSpPr>
            <p:nvPr/>
          </p:nvSpPr>
          <p:spPr bwMode="auto">
            <a:xfrm>
              <a:off x="9747251" y="2205990"/>
              <a:ext cx="17463"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76" name="Line 2124">
              <a:extLst>
                <a:ext uri="{FF2B5EF4-FFF2-40B4-BE49-F238E27FC236}">
                  <a16:creationId xmlns:a16="http://schemas.microsoft.com/office/drawing/2014/main" id="{75EE9AB3-6011-4694-B487-F2252058E268}"/>
                </a:ext>
              </a:extLst>
            </p:cNvPr>
            <p:cNvSpPr>
              <a:spLocks noChangeAspect="1" noChangeShapeType="1"/>
            </p:cNvSpPr>
            <p:nvPr/>
          </p:nvSpPr>
          <p:spPr bwMode="auto">
            <a:xfrm>
              <a:off x="9767889" y="2266315"/>
              <a:ext cx="3175"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77" name="Line 2125">
              <a:extLst>
                <a:ext uri="{FF2B5EF4-FFF2-40B4-BE49-F238E27FC236}">
                  <a16:creationId xmlns:a16="http://schemas.microsoft.com/office/drawing/2014/main" id="{8D78488C-BF94-44F0-80B5-C2CCD81F8080}"/>
                </a:ext>
              </a:extLst>
            </p:cNvPr>
            <p:cNvSpPr>
              <a:spLocks noChangeAspect="1" noChangeShapeType="1"/>
            </p:cNvSpPr>
            <p:nvPr/>
          </p:nvSpPr>
          <p:spPr bwMode="auto">
            <a:xfrm>
              <a:off x="9771064" y="2274254"/>
              <a:ext cx="7937"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78" name="Line 2126">
              <a:extLst>
                <a:ext uri="{FF2B5EF4-FFF2-40B4-BE49-F238E27FC236}">
                  <a16:creationId xmlns:a16="http://schemas.microsoft.com/office/drawing/2014/main" id="{D8ED4ED9-96F1-477F-8F7C-8C34F9E7733A}"/>
                </a:ext>
              </a:extLst>
            </p:cNvPr>
            <p:cNvSpPr>
              <a:spLocks noChangeAspect="1" noChangeShapeType="1"/>
            </p:cNvSpPr>
            <p:nvPr/>
          </p:nvSpPr>
          <p:spPr bwMode="auto">
            <a:xfrm>
              <a:off x="9779000" y="2296478"/>
              <a:ext cx="6350" cy="254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79" name="Line 2127">
              <a:extLst>
                <a:ext uri="{FF2B5EF4-FFF2-40B4-BE49-F238E27FC236}">
                  <a16:creationId xmlns:a16="http://schemas.microsoft.com/office/drawing/2014/main" id="{B70715C9-3C91-4E39-86BE-A661FFDF167C}"/>
                </a:ext>
              </a:extLst>
            </p:cNvPr>
            <p:cNvSpPr>
              <a:spLocks noChangeAspect="1" noChangeShapeType="1"/>
            </p:cNvSpPr>
            <p:nvPr/>
          </p:nvSpPr>
          <p:spPr bwMode="auto">
            <a:xfrm>
              <a:off x="9788526" y="2336165"/>
              <a:ext cx="3175"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80" name="Line 2128">
              <a:extLst>
                <a:ext uri="{FF2B5EF4-FFF2-40B4-BE49-F238E27FC236}">
                  <a16:creationId xmlns:a16="http://schemas.microsoft.com/office/drawing/2014/main" id="{CDE6912F-8CBF-4E2A-B6EF-224EE568E9CF}"/>
                </a:ext>
              </a:extLst>
            </p:cNvPr>
            <p:cNvSpPr>
              <a:spLocks noChangeAspect="1" noChangeShapeType="1"/>
            </p:cNvSpPr>
            <p:nvPr/>
          </p:nvSpPr>
          <p:spPr bwMode="auto">
            <a:xfrm>
              <a:off x="9791701" y="2342515"/>
              <a:ext cx="9525" cy="460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81" name="Line 2129">
              <a:extLst>
                <a:ext uri="{FF2B5EF4-FFF2-40B4-BE49-F238E27FC236}">
                  <a16:creationId xmlns:a16="http://schemas.microsoft.com/office/drawing/2014/main" id="{C11B99F9-C8FD-4080-9A34-2E36CF2F9E5D}"/>
                </a:ext>
              </a:extLst>
            </p:cNvPr>
            <p:cNvSpPr>
              <a:spLocks noChangeAspect="1" noChangeShapeType="1"/>
            </p:cNvSpPr>
            <p:nvPr/>
          </p:nvSpPr>
          <p:spPr bwMode="auto">
            <a:xfrm>
              <a:off x="9801225" y="2388553"/>
              <a:ext cx="1588"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82" name="Line 2130">
              <a:extLst>
                <a:ext uri="{FF2B5EF4-FFF2-40B4-BE49-F238E27FC236}">
                  <a16:creationId xmlns:a16="http://schemas.microsoft.com/office/drawing/2014/main" id="{D1387C75-F1DC-43E8-8273-3DBD20A89B9A}"/>
                </a:ext>
              </a:extLst>
            </p:cNvPr>
            <p:cNvSpPr>
              <a:spLocks noChangeAspect="1" noChangeShapeType="1"/>
            </p:cNvSpPr>
            <p:nvPr/>
          </p:nvSpPr>
          <p:spPr bwMode="auto">
            <a:xfrm>
              <a:off x="9804401" y="2410778"/>
              <a:ext cx="3175" cy="238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83" name="Line 2131">
              <a:extLst>
                <a:ext uri="{FF2B5EF4-FFF2-40B4-BE49-F238E27FC236}">
                  <a16:creationId xmlns:a16="http://schemas.microsoft.com/office/drawing/2014/main" id="{A4ADE2DA-2433-4F61-8E99-82A80F18BE8C}"/>
                </a:ext>
              </a:extLst>
            </p:cNvPr>
            <p:cNvSpPr>
              <a:spLocks noChangeAspect="1" noChangeShapeType="1"/>
            </p:cNvSpPr>
            <p:nvPr/>
          </p:nvSpPr>
          <p:spPr bwMode="auto">
            <a:xfrm>
              <a:off x="9807576" y="2434591"/>
              <a:ext cx="4763"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84" name="Line 2132">
              <a:extLst>
                <a:ext uri="{FF2B5EF4-FFF2-40B4-BE49-F238E27FC236}">
                  <a16:creationId xmlns:a16="http://schemas.microsoft.com/office/drawing/2014/main" id="{D7EFD8A6-1CB4-4EAE-A568-EF44D9F93E68}"/>
                </a:ext>
              </a:extLst>
            </p:cNvPr>
            <p:cNvSpPr>
              <a:spLocks noChangeAspect="1" noChangeShapeType="1"/>
            </p:cNvSpPr>
            <p:nvPr/>
          </p:nvSpPr>
          <p:spPr bwMode="auto">
            <a:xfrm>
              <a:off x="9813925" y="2485391"/>
              <a:ext cx="1588" cy="412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85" name="Line 2133">
              <a:extLst>
                <a:ext uri="{FF2B5EF4-FFF2-40B4-BE49-F238E27FC236}">
                  <a16:creationId xmlns:a16="http://schemas.microsoft.com/office/drawing/2014/main" id="{111CE0A1-8F37-4325-BCF2-41DF515AB27F}"/>
                </a:ext>
              </a:extLst>
            </p:cNvPr>
            <p:cNvSpPr>
              <a:spLocks noChangeAspect="1" noChangeShapeType="1"/>
            </p:cNvSpPr>
            <p:nvPr/>
          </p:nvSpPr>
          <p:spPr bwMode="auto">
            <a:xfrm>
              <a:off x="9815514" y="2526666"/>
              <a:ext cx="1587"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86" name="Line 2134">
              <a:extLst>
                <a:ext uri="{FF2B5EF4-FFF2-40B4-BE49-F238E27FC236}">
                  <a16:creationId xmlns:a16="http://schemas.microsoft.com/office/drawing/2014/main" id="{86C26B44-6160-41FA-9545-E42CB02699A3}"/>
                </a:ext>
              </a:extLst>
            </p:cNvPr>
            <p:cNvSpPr>
              <a:spLocks noChangeAspect="1" noChangeShapeType="1"/>
            </p:cNvSpPr>
            <p:nvPr/>
          </p:nvSpPr>
          <p:spPr bwMode="auto">
            <a:xfrm>
              <a:off x="9815514" y="2558415"/>
              <a:ext cx="1587"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87" name="Line 2135">
              <a:extLst>
                <a:ext uri="{FF2B5EF4-FFF2-40B4-BE49-F238E27FC236}">
                  <a16:creationId xmlns:a16="http://schemas.microsoft.com/office/drawing/2014/main" id="{05A9B974-F450-4D1A-9061-1CC2C7490AD6}"/>
                </a:ext>
              </a:extLst>
            </p:cNvPr>
            <p:cNvSpPr>
              <a:spLocks noChangeAspect="1" noChangeShapeType="1"/>
            </p:cNvSpPr>
            <p:nvPr/>
          </p:nvSpPr>
          <p:spPr bwMode="auto">
            <a:xfrm flipH="1">
              <a:off x="9813925" y="2572704"/>
              <a:ext cx="1588" cy="460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88" name="Line 2136">
              <a:extLst>
                <a:ext uri="{FF2B5EF4-FFF2-40B4-BE49-F238E27FC236}">
                  <a16:creationId xmlns:a16="http://schemas.microsoft.com/office/drawing/2014/main" id="{7C31C27C-776F-41BB-80D3-1D54F28C4C54}"/>
                </a:ext>
              </a:extLst>
            </p:cNvPr>
            <p:cNvSpPr>
              <a:spLocks noChangeAspect="1" noChangeShapeType="1"/>
            </p:cNvSpPr>
            <p:nvPr/>
          </p:nvSpPr>
          <p:spPr bwMode="auto">
            <a:xfrm>
              <a:off x="9813925" y="2618740"/>
              <a:ext cx="15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89" name="Line 2137">
              <a:extLst>
                <a:ext uri="{FF2B5EF4-FFF2-40B4-BE49-F238E27FC236}">
                  <a16:creationId xmlns:a16="http://schemas.microsoft.com/office/drawing/2014/main" id="{51B30EC0-54AC-4B5F-B62C-E9DFDF83BBC6}"/>
                </a:ext>
              </a:extLst>
            </p:cNvPr>
            <p:cNvSpPr>
              <a:spLocks noChangeAspect="1" noChangeShapeType="1"/>
            </p:cNvSpPr>
            <p:nvPr/>
          </p:nvSpPr>
          <p:spPr bwMode="auto">
            <a:xfrm flipH="1">
              <a:off x="9810751" y="2634616"/>
              <a:ext cx="3175" cy="301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90" name="Line 2138">
              <a:extLst>
                <a:ext uri="{FF2B5EF4-FFF2-40B4-BE49-F238E27FC236}">
                  <a16:creationId xmlns:a16="http://schemas.microsoft.com/office/drawing/2014/main" id="{5ED9ACE5-E24D-4C74-830A-C1F69F9B553C}"/>
                </a:ext>
              </a:extLst>
            </p:cNvPr>
            <p:cNvSpPr>
              <a:spLocks noChangeAspect="1" noChangeShapeType="1"/>
            </p:cNvSpPr>
            <p:nvPr/>
          </p:nvSpPr>
          <p:spPr bwMode="auto">
            <a:xfrm flipH="1">
              <a:off x="9805988" y="2664779"/>
              <a:ext cx="4762"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91" name="Line 2139">
              <a:extLst>
                <a:ext uri="{FF2B5EF4-FFF2-40B4-BE49-F238E27FC236}">
                  <a16:creationId xmlns:a16="http://schemas.microsoft.com/office/drawing/2014/main" id="{58CB1B53-2580-4C65-BC37-694099A866D1}"/>
                </a:ext>
              </a:extLst>
            </p:cNvPr>
            <p:cNvSpPr>
              <a:spLocks noChangeAspect="1" noChangeShapeType="1"/>
            </p:cNvSpPr>
            <p:nvPr/>
          </p:nvSpPr>
          <p:spPr bwMode="auto">
            <a:xfrm flipH="1">
              <a:off x="9804400" y="2709229"/>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92" name="Line 2140">
              <a:extLst>
                <a:ext uri="{FF2B5EF4-FFF2-40B4-BE49-F238E27FC236}">
                  <a16:creationId xmlns:a16="http://schemas.microsoft.com/office/drawing/2014/main" id="{240FEFF4-7C0E-4C54-B703-0C0A05BBDA6D}"/>
                </a:ext>
              </a:extLst>
            </p:cNvPr>
            <p:cNvSpPr>
              <a:spLocks noChangeAspect="1" noChangeShapeType="1"/>
            </p:cNvSpPr>
            <p:nvPr/>
          </p:nvSpPr>
          <p:spPr bwMode="auto">
            <a:xfrm flipH="1">
              <a:off x="9796464" y="2710815"/>
              <a:ext cx="7937"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93" name="Line 2141">
              <a:extLst>
                <a:ext uri="{FF2B5EF4-FFF2-40B4-BE49-F238E27FC236}">
                  <a16:creationId xmlns:a16="http://schemas.microsoft.com/office/drawing/2014/main" id="{37046FAB-298B-4365-B8BD-514F4145BE49}"/>
                </a:ext>
              </a:extLst>
            </p:cNvPr>
            <p:cNvSpPr>
              <a:spLocks noChangeAspect="1" noChangeShapeType="1"/>
            </p:cNvSpPr>
            <p:nvPr/>
          </p:nvSpPr>
          <p:spPr bwMode="auto">
            <a:xfrm flipH="1">
              <a:off x="9794875" y="2755265"/>
              <a:ext cx="1588"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94" name="Line 2142">
              <a:extLst>
                <a:ext uri="{FF2B5EF4-FFF2-40B4-BE49-F238E27FC236}">
                  <a16:creationId xmlns:a16="http://schemas.microsoft.com/office/drawing/2014/main" id="{D9D08B3A-06B4-41C2-9C6E-8B8D2A947DA4}"/>
                </a:ext>
              </a:extLst>
            </p:cNvPr>
            <p:cNvSpPr>
              <a:spLocks noChangeAspect="1" noChangeShapeType="1"/>
            </p:cNvSpPr>
            <p:nvPr/>
          </p:nvSpPr>
          <p:spPr bwMode="auto">
            <a:xfrm flipH="1">
              <a:off x="9786939" y="2782253"/>
              <a:ext cx="3175"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95" name="Line 2143">
              <a:extLst>
                <a:ext uri="{FF2B5EF4-FFF2-40B4-BE49-F238E27FC236}">
                  <a16:creationId xmlns:a16="http://schemas.microsoft.com/office/drawing/2014/main" id="{96FE03C4-B263-4BC8-A037-4485CD5ADAD0}"/>
                </a:ext>
              </a:extLst>
            </p:cNvPr>
            <p:cNvSpPr>
              <a:spLocks noChangeAspect="1" noChangeShapeType="1"/>
            </p:cNvSpPr>
            <p:nvPr/>
          </p:nvSpPr>
          <p:spPr bwMode="auto">
            <a:xfrm flipH="1">
              <a:off x="9775826" y="2801303"/>
              <a:ext cx="11113"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96" name="Line 2144">
              <a:extLst>
                <a:ext uri="{FF2B5EF4-FFF2-40B4-BE49-F238E27FC236}">
                  <a16:creationId xmlns:a16="http://schemas.microsoft.com/office/drawing/2014/main" id="{0F97889D-7A54-405E-B3D5-BC631DE9BCA0}"/>
                </a:ext>
              </a:extLst>
            </p:cNvPr>
            <p:cNvSpPr>
              <a:spLocks noChangeAspect="1" noChangeShapeType="1"/>
            </p:cNvSpPr>
            <p:nvPr/>
          </p:nvSpPr>
          <p:spPr bwMode="auto">
            <a:xfrm flipH="1">
              <a:off x="9771064" y="2855278"/>
              <a:ext cx="1587"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97" name="Line 2145">
              <a:extLst>
                <a:ext uri="{FF2B5EF4-FFF2-40B4-BE49-F238E27FC236}">
                  <a16:creationId xmlns:a16="http://schemas.microsoft.com/office/drawing/2014/main" id="{4D3A04E4-26E5-42AE-9B7C-6871B2499CBD}"/>
                </a:ext>
              </a:extLst>
            </p:cNvPr>
            <p:cNvSpPr>
              <a:spLocks noChangeAspect="1" noChangeShapeType="1"/>
            </p:cNvSpPr>
            <p:nvPr/>
          </p:nvSpPr>
          <p:spPr bwMode="auto">
            <a:xfrm flipH="1">
              <a:off x="9759951" y="2855278"/>
              <a:ext cx="11113" cy="365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98" name="Line 2146">
              <a:extLst>
                <a:ext uri="{FF2B5EF4-FFF2-40B4-BE49-F238E27FC236}">
                  <a16:creationId xmlns:a16="http://schemas.microsoft.com/office/drawing/2014/main" id="{BE4A385C-B8A5-479E-9E25-EEA78751C7DB}"/>
                </a:ext>
              </a:extLst>
            </p:cNvPr>
            <p:cNvSpPr>
              <a:spLocks noChangeAspect="1" noChangeShapeType="1"/>
            </p:cNvSpPr>
            <p:nvPr/>
          </p:nvSpPr>
          <p:spPr bwMode="auto">
            <a:xfrm flipH="1">
              <a:off x="9753600" y="2891791"/>
              <a:ext cx="6350"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699" name="Line 2147">
              <a:extLst>
                <a:ext uri="{FF2B5EF4-FFF2-40B4-BE49-F238E27FC236}">
                  <a16:creationId xmlns:a16="http://schemas.microsoft.com/office/drawing/2014/main" id="{8304149B-A274-44C6-BED4-10F7C336F72A}"/>
                </a:ext>
              </a:extLst>
            </p:cNvPr>
            <p:cNvSpPr>
              <a:spLocks noChangeAspect="1" noChangeShapeType="1"/>
            </p:cNvSpPr>
            <p:nvPr/>
          </p:nvSpPr>
          <p:spPr bwMode="auto">
            <a:xfrm flipH="1">
              <a:off x="9742488" y="2923540"/>
              <a:ext cx="6350"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00" name="Line 2148">
              <a:extLst>
                <a:ext uri="{FF2B5EF4-FFF2-40B4-BE49-F238E27FC236}">
                  <a16:creationId xmlns:a16="http://schemas.microsoft.com/office/drawing/2014/main" id="{893C3D45-1F8A-4FC6-935E-C742C4E98A81}"/>
                </a:ext>
              </a:extLst>
            </p:cNvPr>
            <p:cNvSpPr>
              <a:spLocks noChangeAspect="1" noChangeShapeType="1"/>
            </p:cNvSpPr>
            <p:nvPr/>
          </p:nvSpPr>
          <p:spPr bwMode="auto">
            <a:xfrm flipH="1">
              <a:off x="9726614" y="2937829"/>
              <a:ext cx="15875" cy="396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01" name="Line 2149">
              <a:extLst>
                <a:ext uri="{FF2B5EF4-FFF2-40B4-BE49-F238E27FC236}">
                  <a16:creationId xmlns:a16="http://schemas.microsoft.com/office/drawing/2014/main" id="{1B551B67-14C4-4EF4-A0CA-B8493C1A44AC}"/>
                </a:ext>
              </a:extLst>
            </p:cNvPr>
            <p:cNvSpPr>
              <a:spLocks noChangeAspect="1" noChangeShapeType="1"/>
            </p:cNvSpPr>
            <p:nvPr/>
          </p:nvSpPr>
          <p:spPr bwMode="auto">
            <a:xfrm flipH="1">
              <a:off x="9704388" y="2990215"/>
              <a:ext cx="17462" cy="396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02" name="Line 2150">
              <a:extLst>
                <a:ext uri="{FF2B5EF4-FFF2-40B4-BE49-F238E27FC236}">
                  <a16:creationId xmlns:a16="http://schemas.microsoft.com/office/drawing/2014/main" id="{E6E7A0FE-1E46-43BA-B28B-A8FA80455034}"/>
                </a:ext>
              </a:extLst>
            </p:cNvPr>
            <p:cNvSpPr>
              <a:spLocks noChangeAspect="1" noChangeShapeType="1"/>
            </p:cNvSpPr>
            <p:nvPr/>
          </p:nvSpPr>
          <p:spPr bwMode="auto">
            <a:xfrm flipH="1">
              <a:off x="9696450" y="3029904"/>
              <a:ext cx="7938"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03" name="Line 2151">
              <a:extLst>
                <a:ext uri="{FF2B5EF4-FFF2-40B4-BE49-F238E27FC236}">
                  <a16:creationId xmlns:a16="http://schemas.microsoft.com/office/drawing/2014/main" id="{DAA367D8-104E-4E35-AD00-BB644BF436E5}"/>
                </a:ext>
              </a:extLst>
            </p:cNvPr>
            <p:cNvSpPr>
              <a:spLocks noChangeAspect="1" noChangeShapeType="1"/>
            </p:cNvSpPr>
            <p:nvPr/>
          </p:nvSpPr>
          <p:spPr bwMode="auto">
            <a:xfrm flipH="1">
              <a:off x="9680576" y="3056890"/>
              <a:ext cx="9525"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04" name="Line 2152">
              <a:extLst>
                <a:ext uri="{FF2B5EF4-FFF2-40B4-BE49-F238E27FC236}">
                  <a16:creationId xmlns:a16="http://schemas.microsoft.com/office/drawing/2014/main" id="{7DB39AE5-E1DA-46C2-843E-BD667D6C343B}"/>
                </a:ext>
              </a:extLst>
            </p:cNvPr>
            <p:cNvSpPr>
              <a:spLocks noChangeAspect="1" noChangeShapeType="1"/>
            </p:cNvSpPr>
            <p:nvPr/>
          </p:nvSpPr>
          <p:spPr bwMode="auto">
            <a:xfrm flipH="1">
              <a:off x="9678989" y="3075941"/>
              <a:ext cx="1587"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05" name="Line 2153">
              <a:extLst>
                <a:ext uri="{FF2B5EF4-FFF2-40B4-BE49-F238E27FC236}">
                  <a16:creationId xmlns:a16="http://schemas.microsoft.com/office/drawing/2014/main" id="{3C6362C4-5DCB-4B55-AD4C-E4DE74F1A2A4}"/>
                </a:ext>
              </a:extLst>
            </p:cNvPr>
            <p:cNvSpPr>
              <a:spLocks noChangeAspect="1" noChangeShapeType="1"/>
            </p:cNvSpPr>
            <p:nvPr/>
          </p:nvSpPr>
          <p:spPr bwMode="auto">
            <a:xfrm flipH="1">
              <a:off x="9663114" y="3079116"/>
              <a:ext cx="15875"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06" name="Line 2154">
              <a:extLst>
                <a:ext uri="{FF2B5EF4-FFF2-40B4-BE49-F238E27FC236}">
                  <a16:creationId xmlns:a16="http://schemas.microsoft.com/office/drawing/2014/main" id="{BF27F0FE-A2F1-4E60-B6F6-B01970C764D6}"/>
                </a:ext>
              </a:extLst>
            </p:cNvPr>
            <p:cNvSpPr>
              <a:spLocks noChangeAspect="1" noChangeShapeType="1"/>
            </p:cNvSpPr>
            <p:nvPr/>
          </p:nvSpPr>
          <p:spPr bwMode="auto">
            <a:xfrm flipH="1">
              <a:off x="9656764" y="3120390"/>
              <a:ext cx="1587"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07" name="Line 2155">
              <a:extLst>
                <a:ext uri="{FF2B5EF4-FFF2-40B4-BE49-F238E27FC236}">
                  <a16:creationId xmlns:a16="http://schemas.microsoft.com/office/drawing/2014/main" id="{69862A95-447E-451E-A004-956CAB48EAF9}"/>
                </a:ext>
              </a:extLst>
            </p:cNvPr>
            <p:cNvSpPr>
              <a:spLocks noChangeAspect="1" noChangeShapeType="1"/>
            </p:cNvSpPr>
            <p:nvPr/>
          </p:nvSpPr>
          <p:spPr bwMode="auto">
            <a:xfrm flipH="1">
              <a:off x="9632951" y="3121979"/>
              <a:ext cx="23813" cy="396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08" name="Line 2156">
              <a:extLst>
                <a:ext uri="{FF2B5EF4-FFF2-40B4-BE49-F238E27FC236}">
                  <a16:creationId xmlns:a16="http://schemas.microsoft.com/office/drawing/2014/main" id="{2C5771D1-AEF4-4E5B-8C3B-481ABA03A814}"/>
                </a:ext>
              </a:extLst>
            </p:cNvPr>
            <p:cNvSpPr>
              <a:spLocks noChangeAspect="1" noChangeShapeType="1"/>
            </p:cNvSpPr>
            <p:nvPr/>
          </p:nvSpPr>
          <p:spPr bwMode="auto">
            <a:xfrm flipH="1">
              <a:off x="9629776" y="3161665"/>
              <a:ext cx="3175"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09" name="Line 2157">
              <a:extLst>
                <a:ext uri="{FF2B5EF4-FFF2-40B4-BE49-F238E27FC236}">
                  <a16:creationId xmlns:a16="http://schemas.microsoft.com/office/drawing/2014/main" id="{FA2FDA27-50C3-4356-8AD1-45D51918735B}"/>
                </a:ext>
              </a:extLst>
            </p:cNvPr>
            <p:cNvSpPr>
              <a:spLocks noChangeAspect="1" noChangeShapeType="1"/>
            </p:cNvSpPr>
            <p:nvPr/>
          </p:nvSpPr>
          <p:spPr bwMode="auto">
            <a:xfrm flipH="1">
              <a:off x="9628189" y="3168015"/>
              <a:ext cx="1587"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10" name="Line 2158">
              <a:extLst>
                <a:ext uri="{FF2B5EF4-FFF2-40B4-BE49-F238E27FC236}">
                  <a16:creationId xmlns:a16="http://schemas.microsoft.com/office/drawing/2014/main" id="{86B2AEE4-E5DF-4F20-BE48-6191EF165DE2}"/>
                </a:ext>
              </a:extLst>
            </p:cNvPr>
            <p:cNvSpPr>
              <a:spLocks noChangeAspect="1" noChangeShapeType="1"/>
            </p:cNvSpPr>
            <p:nvPr/>
          </p:nvSpPr>
          <p:spPr bwMode="auto">
            <a:xfrm flipH="1">
              <a:off x="9599614" y="3180715"/>
              <a:ext cx="20637" cy="333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11" name="Line 2159">
              <a:extLst>
                <a:ext uri="{FF2B5EF4-FFF2-40B4-BE49-F238E27FC236}">
                  <a16:creationId xmlns:a16="http://schemas.microsoft.com/office/drawing/2014/main" id="{8AC16DED-23FB-4F71-9441-3AE92DE24C5F}"/>
                </a:ext>
              </a:extLst>
            </p:cNvPr>
            <p:cNvSpPr>
              <a:spLocks noChangeAspect="1" noChangeShapeType="1"/>
            </p:cNvSpPr>
            <p:nvPr/>
          </p:nvSpPr>
          <p:spPr bwMode="auto">
            <a:xfrm flipH="1">
              <a:off x="9590089" y="3214054"/>
              <a:ext cx="9525"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12" name="Line 2160">
              <a:extLst>
                <a:ext uri="{FF2B5EF4-FFF2-40B4-BE49-F238E27FC236}">
                  <a16:creationId xmlns:a16="http://schemas.microsoft.com/office/drawing/2014/main" id="{11FF7781-1719-4202-AA7C-C086056DA0B8}"/>
                </a:ext>
              </a:extLst>
            </p:cNvPr>
            <p:cNvSpPr>
              <a:spLocks noChangeAspect="1" noChangeShapeType="1"/>
            </p:cNvSpPr>
            <p:nvPr/>
          </p:nvSpPr>
          <p:spPr bwMode="auto">
            <a:xfrm flipH="1">
              <a:off x="9569450" y="3241040"/>
              <a:ext cx="12700"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13" name="Line 2161">
              <a:extLst>
                <a:ext uri="{FF2B5EF4-FFF2-40B4-BE49-F238E27FC236}">
                  <a16:creationId xmlns:a16="http://schemas.microsoft.com/office/drawing/2014/main" id="{53FB4352-2705-4AE8-8274-5663AA724D30}"/>
                </a:ext>
              </a:extLst>
            </p:cNvPr>
            <p:cNvSpPr>
              <a:spLocks noChangeAspect="1" noChangeShapeType="1"/>
            </p:cNvSpPr>
            <p:nvPr/>
          </p:nvSpPr>
          <p:spPr bwMode="auto">
            <a:xfrm flipH="1">
              <a:off x="9550400" y="3260090"/>
              <a:ext cx="19050" cy="269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14" name="Line 2162">
              <a:extLst>
                <a:ext uri="{FF2B5EF4-FFF2-40B4-BE49-F238E27FC236}">
                  <a16:creationId xmlns:a16="http://schemas.microsoft.com/office/drawing/2014/main" id="{6F4C1A50-9BC5-4DEC-A472-D3EDBB42F4A5}"/>
                </a:ext>
              </a:extLst>
            </p:cNvPr>
            <p:cNvSpPr>
              <a:spLocks noChangeAspect="1" noChangeShapeType="1"/>
            </p:cNvSpPr>
            <p:nvPr/>
          </p:nvSpPr>
          <p:spPr bwMode="auto">
            <a:xfrm flipH="1">
              <a:off x="9540875" y="3298190"/>
              <a:ext cx="1588" cy="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15" name="Line 2163">
              <a:extLst>
                <a:ext uri="{FF2B5EF4-FFF2-40B4-BE49-F238E27FC236}">
                  <a16:creationId xmlns:a16="http://schemas.microsoft.com/office/drawing/2014/main" id="{084308CA-1EB5-4CD8-9011-BAF21F57E3FE}"/>
                </a:ext>
              </a:extLst>
            </p:cNvPr>
            <p:cNvSpPr>
              <a:spLocks noChangeAspect="1" noChangeShapeType="1"/>
            </p:cNvSpPr>
            <p:nvPr/>
          </p:nvSpPr>
          <p:spPr bwMode="auto">
            <a:xfrm flipH="1">
              <a:off x="9536113" y="3298190"/>
              <a:ext cx="4762"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16" name="Line 2164">
              <a:extLst>
                <a:ext uri="{FF2B5EF4-FFF2-40B4-BE49-F238E27FC236}">
                  <a16:creationId xmlns:a16="http://schemas.microsoft.com/office/drawing/2014/main" id="{AEB0D2B3-87AB-49F9-AA16-8FFF8E6C26BF}"/>
                </a:ext>
              </a:extLst>
            </p:cNvPr>
            <p:cNvSpPr>
              <a:spLocks noChangeAspect="1" noChangeShapeType="1"/>
            </p:cNvSpPr>
            <p:nvPr/>
          </p:nvSpPr>
          <p:spPr bwMode="auto">
            <a:xfrm flipH="1">
              <a:off x="9507539" y="3306129"/>
              <a:ext cx="28575"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17" name="Line 2165">
              <a:extLst>
                <a:ext uri="{FF2B5EF4-FFF2-40B4-BE49-F238E27FC236}">
                  <a16:creationId xmlns:a16="http://schemas.microsoft.com/office/drawing/2014/main" id="{E30E248B-244C-4C9B-BC2E-D6B29413AE27}"/>
                </a:ext>
              </a:extLst>
            </p:cNvPr>
            <p:cNvSpPr>
              <a:spLocks noChangeAspect="1" noChangeShapeType="1"/>
            </p:cNvSpPr>
            <p:nvPr/>
          </p:nvSpPr>
          <p:spPr bwMode="auto">
            <a:xfrm flipH="1">
              <a:off x="9494839" y="3352165"/>
              <a:ext cx="3175"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18" name="Line 2166">
              <a:extLst>
                <a:ext uri="{FF2B5EF4-FFF2-40B4-BE49-F238E27FC236}">
                  <a16:creationId xmlns:a16="http://schemas.microsoft.com/office/drawing/2014/main" id="{DA0150A8-AFE5-4048-A4CE-AE007F5912E4}"/>
                </a:ext>
              </a:extLst>
            </p:cNvPr>
            <p:cNvSpPr>
              <a:spLocks noChangeAspect="1" noChangeShapeType="1"/>
            </p:cNvSpPr>
            <p:nvPr/>
          </p:nvSpPr>
          <p:spPr bwMode="auto">
            <a:xfrm flipH="1">
              <a:off x="9463088" y="3358516"/>
              <a:ext cx="31750" cy="365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19" name="Line 2167">
              <a:extLst>
                <a:ext uri="{FF2B5EF4-FFF2-40B4-BE49-F238E27FC236}">
                  <a16:creationId xmlns:a16="http://schemas.microsoft.com/office/drawing/2014/main" id="{8340C6F2-0B17-475C-9F34-CF0ABCDD2F6A}"/>
                </a:ext>
              </a:extLst>
            </p:cNvPr>
            <p:cNvSpPr>
              <a:spLocks noChangeAspect="1" noChangeShapeType="1"/>
            </p:cNvSpPr>
            <p:nvPr/>
          </p:nvSpPr>
          <p:spPr bwMode="auto">
            <a:xfrm flipH="1">
              <a:off x="9448800" y="3406140"/>
              <a:ext cx="6350"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20" name="Line 2168">
              <a:extLst>
                <a:ext uri="{FF2B5EF4-FFF2-40B4-BE49-F238E27FC236}">
                  <a16:creationId xmlns:a16="http://schemas.microsoft.com/office/drawing/2014/main" id="{3ED5FAC8-B531-4600-B50D-676607137CBB}"/>
                </a:ext>
              </a:extLst>
            </p:cNvPr>
            <p:cNvSpPr>
              <a:spLocks noChangeAspect="1" noChangeShapeType="1"/>
            </p:cNvSpPr>
            <p:nvPr/>
          </p:nvSpPr>
          <p:spPr bwMode="auto">
            <a:xfrm flipH="1">
              <a:off x="9421814" y="3414079"/>
              <a:ext cx="26987" cy="285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21" name="Line 2169">
              <a:extLst>
                <a:ext uri="{FF2B5EF4-FFF2-40B4-BE49-F238E27FC236}">
                  <a16:creationId xmlns:a16="http://schemas.microsoft.com/office/drawing/2014/main" id="{BEAFAAAB-0C5F-42AE-BAF3-570CBE95A595}"/>
                </a:ext>
              </a:extLst>
            </p:cNvPr>
            <p:cNvSpPr>
              <a:spLocks noChangeAspect="1" noChangeShapeType="1"/>
            </p:cNvSpPr>
            <p:nvPr/>
          </p:nvSpPr>
          <p:spPr bwMode="auto">
            <a:xfrm flipH="1">
              <a:off x="9418639" y="3442654"/>
              <a:ext cx="3175"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22" name="Line 2170">
              <a:extLst>
                <a:ext uri="{FF2B5EF4-FFF2-40B4-BE49-F238E27FC236}">
                  <a16:creationId xmlns:a16="http://schemas.microsoft.com/office/drawing/2014/main" id="{B80CFC00-9AF4-4CED-B9C0-613476ED1F0F}"/>
                </a:ext>
              </a:extLst>
            </p:cNvPr>
            <p:cNvSpPr>
              <a:spLocks noChangeAspect="1" noChangeShapeType="1"/>
            </p:cNvSpPr>
            <p:nvPr/>
          </p:nvSpPr>
          <p:spPr bwMode="auto">
            <a:xfrm flipH="1">
              <a:off x="9402763" y="3456940"/>
              <a:ext cx="6350" cy="79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23" name="Line 2171">
              <a:extLst>
                <a:ext uri="{FF2B5EF4-FFF2-40B4-BE49-F238E27FC236}">
                  <a16:creationId xmlns:a16="http://schemas.microsoft.com/office/drawing/2014/main" id="{E4010F51-AA3E-412F-8A6C-F16A37B22DA4}"/>
                </a:ext>
              </a:extLst>
            </p:cNvPr>
            <p:cNvSpPr>
              <a:spLocks noChangeAspect="1" noChangeShapeType="1"/>
            </p:cNvSpPr>
            <p:nvPr/>
          </p:nvSpPr>
          <p:spPr bwMode="auto">
            <a:xfrm flipH="1">
              <a:off x="9380539" y="3464879"/>
              <a:ext cx="22225" cy="222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24" name="Line 2172">
              <a:extLst>
                <a:ext uri="{FF2B5EF4-FFF2-40B4-BE49-F238E27FC236}">
                  <a16:creationId xmlns:a16="http://schemas.microsoft.com/office/drawing/2014/main" id="{B033C660-5C85-4DB8-ACA7-7962FBBEA84A}"/>
                </a:ext>
              </a:extLst>
            </p:cNvPr>
            <p:cNvSpPr>
              <a:spLocks noChangeAspect="1" noChangeShapeType="1"/>
            </p:cNvSpPr>
            <p:nvPr/>
          </p:nvSpPr>
          <p:spPr bwMode="auto">
            <a:xfrm flipH="1">
              <a:off x="9372600" y="3487104"/>
              <a:ext cx="7938"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25" name="Line 2173">
              <a:extLst>
                <a:ext uri="{FF2B5EF4-FFF2-40B4-BE49-F238E27FC236}">
                  <a16:creationId xmlns:a16="http://schemas.microsoft.com/office/drawing/2014/main" id="{62A075F9-D430-4430-A4EB-43F0B6BA2961}"/>
                </a:ext>
              </a:extLst>
            </p:cNvPr>
            <p:cNvSpPr>
              <a:spLocks noChangeAspect="1" noChangeShapeType="1"/>
            </p:cNvSpPr>
            <p:nvPr/>
          </p:nvSpPr>
          <p:spPr bwMode="auto">
            <a:xfrm flipH="1">
              <a:off x="9356725" y="3506154"/>
              <a:ext cx="6350"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26" name="Line 2174">
              <a:extLst>
                <a:ext uri="{FF2B5EF4-FFF2-40B4-BE49-F238E27FC236}">
                  <a16:creationId xmlns:a16="http://schemas.microsoft.com/office/drawing/2014/main" id="{3019EB9A-A3F0-4D51-8C7F-B040FF6A29FE}"/>
                </a:ext>
              </a:extLst>
            </p:cNvPr>
            <p:cNvSpPr>
              <a:spLocks noChangeAspect="1" noChangeShapeType="1"/>
            </p:cNvSpPr>
            <p:nvPr/>
          </p:nvSpPr>
          <p:spPr bwMode="auto">
            <a:xfrm flipH="1">
              <a:off x="9336089" y="3514090"/>
              <a:ext cx="20637" cy="190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27" name="Line 2175">
              <a:extLst>
                <a:ext uri="{FF2B5EF4-FFF2-40B4-BE49-F238E27FC236}">
                  <a16:creationId xmlns:a16="http://schemas.microsoft.com/office/drawing/2014/main" id="{1BA50732-CD8F-496D-B3A4-F2BC006018CE}"/>
                </a:ext>
              </a:extLst>
            </p:cNvPr>
            <p:cNvSpPr>
              <a:spLocks noChangeAspect="1" noChangeShapeType="1"/>
            </p:cNvSpPr>
            <p:nvPr/>
          </p:nvSpPr>
          <p:spPr bwMode="auto">
            <a:xfrm flipH="1">
              <a:off x="9326564" y="3533140"/>
              <a:ext cx="9525" cy="127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28" name="Line 2176">
              <a:extLst>
                <a:ext uri="{FF2B5EF4-FFF2-40B4-BE49-F238E27FC236}">
                  <a16:creationId xmlns:a16="http://schemas.microsoft.com/office/drawing/2014/main" id="{01663970-4863-4E15-8EC1-01E70D2366DA}"/>
                </a:ext>
              </a:extLst>
            </p:cNvPr>
            <p:cNvSpPr>
              <a:spLocks noChangeAspect="1" noChangeShapeType="1"/>
            </p:cNvSpPr>
            <p:nvPr/>
          </p:nvSpPr>
          <p:spPr bwMode="auto">
            <a:xfrm flipH="1">
              <a:off x="9310688" y="3556954"/>
              <a:ext cx="6350"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29" name="Line 2177">
              <a:extLst>
                <a:ext uri="{FF2B5EF4-FFF2-40B4-BE49-F238E27FC236}">
                  <a16:creationId xmlns:a16="http://schemas.microsoft.com/office/drawing/2014/main" id="{90FAD273-7BAF-4983-A532-8096B3DDB7AE}"/>
                </a:ext>
              </a:extLst>
            </p:cNvPr>
            <p:cNvSpPr>
              <a:spLocks noChangeAspect="1" noChangeShapeType="1"/>
            </p:cNvSpPr>
            <p:nvPr/>
          </p:nvSpPr>
          <p:spPr bwMode="auto">
            <a:xfrm flipH="1">
              <a:off x="9294814" y="3564890"/>
              <a:ext cx="15875"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30" name="Line 2178">
              <a:extLst>
                <a:ext uri="{FF2B5EF4-FFF2-40B4-BE49-F238E27FC236}">
                  <a16:creationId xmlns:a16="http://schemas.microsoft.com/office/drawing/2014/main" id="{8114EC76-AB3C-448D-AE2C-D656863D5135}"/>
                </a:ext>
              </a:extLst>
            </p:cNvPr>
            <p:cNvSpPr>
              <a:spLocks noChangeAspect="1" noChangeShapeType="1"/>
            </p:cNvSpPr>
            <p:nvPr/>
          </p:nvSpPr>
          <p:spPr bwMode="auto">
            <a:xfrm flipH="1">
              <a:off x="9280525" y="3579178"/>
              <a:ext cx="14288"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31" name="Line 2179">
              <a:extLst>
                <a:ext uri="{FF2B5EF4-FFF2-40B4-BE49-F238E27FC236}">
                  <a16:creationId xmlns:a16="http://schemas.microsoft.com/office/drawing/2014/main" id="{B8E7275E-0E25-4FEE-A0BA-81539F38830F}"/>
                </a:ext>
              </a:extLst>
            </p:cNvPr>
            <p:cNvSpPr>
              <a:spLocks noChangeAspect="1" noChangeShapeType="1"/>
            </p:cNvSpPr>
            <p:nvPr/>
          </p:nvSpPr>
          <p:spPr bwMode="auto">
            <a:xfrm flipH="1">
              <a:off x="9264650" y="3607754"/>
              <a:ext cx="6350" cy="79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32" name="Line 2180">
              <a:extLst>
                <a:ext uri="{FF2B5EF4-FFF2-40B4-BE49-F238E27FC236}">
                  <a16:creationId xmlns:a16="http://schemas.microsoft.com/office/drawing/2014/main" id="{F86CC430-1206-41BF-9367-C078FDE278F2}"/>
                </a:ext>
              </a:extLst>
            </p:cNvPr>
            <p:cNvSpPr>
              <a:spLocks noChangeAspect="1" noChangeShapeType="1"/>
            </p:cNvSpPr>
            <p:nvPr/>
          </p:nvSpPr>
          <p:spPr bwMode="auto">
            <a:xfrm flipH="1">
              <a:off x="9253538" y="3615691"/>
              <a:ext cx="11112"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33" name="Line 2181">
              <a:extLst>
                <a:ext uri="{FF2B5EF4-FFF2-40B4-BE49-F238E27FC236}">
                  <a16:creationId xmlns:a16="http://schemas.microsoft.com/office/drawing/2014/main" id="{6E712DCD-C397-43C6-81BF-12202C134EF0}"/>
                </a:ext>
              </a:extLst>
            </p:cNvPr>
            <p:cNvSpPr>
              <a:spLocks noChangeAspect="1" noChangeShapeType="1"/>
            </p:cNvSpPr>
            <p:nvPr/>
          </p:nvSpPr>
          <p:spPr bwMode="auto">
            <a:xfrm flipH="1">
              <a:off x="9236076" y="3625216"/>
              <a:ext cx="17463" cy="2381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34" name="Line 2182">
              <a:extLst>
                <a:ext uri="{FF2B5EF4-FFF2-40B4-BE49-F238E27FC236}">
                  <a16:creationId xmlns:a16="http://schemas.microsoft.com/office/drawing/2014/main" id="{3B8B82C7-F85B-44CA-8582-EB61C959497D}"/>
                </a:ext>
              </a:extLst>
            </p:cNvPr>
            <p:cNvSpPr>
              <a:spLocks noChangeAspect="1" noChangeShapeType="1"/>
            </p:cNvSpPr>
            <p:nvPr/>
          </p:nvSpPr>
          <p:spPr bwMode="auto">
            <a:xfrm flipH="1">
              <a:off x="9217026" y="3658553"/>
              <a:ext cx="9525"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35" name="Line 2183">
              <a:extLst>
                <a:ext uri="{FF2B5EF4-FFF2-40B4-BE49-F238E27FC236}">
                  <a16:creationId xmlns:a16="http://schemas.microsoft.com/office/drawing/2014/main" id="{E1BB9801-0388-4DA5-A0D6-0E1F28FD1E5A}"/>
                </a:ext>
              </a:extLst>
            </p:cNvPr>
            <p:cNvSpPr>
              <a:spLocks noChangeAspect="1" noChangeShapeType="1"/>
            </p:cNvSpPr>
            <p:nvPr/>
          </p:nvSpPr>
          <p:spPr bwMode="auto">
            <a:xfrm flipH="1">
              <a:off x="9217025" y="3669665"/>
              <a:ext cx="1588" cy="15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36" name="Line 2184">
              <a:extLst>
                <a:ext uri="{FF2B5EF4-FFF2-40B4-BE49-F238E27FC236}">
                  <a16:creationId xmlns:a16="http://schemas.microsoft.com/office/drawing/2014/main" id="{4F9259E6-2093-4748-9CF0-D8414DE160AB}"/>
                </a:ext>
              </a:extLst>
            </p:cNvPr>
            <p:cNvSpPr>
              <a:spLocks noChangeAspect="1" noChangeShapeType="1"/>
            </p:cNvSpPr>
            <p:nvPr/>
          </p:nvSpPr>
          <p:spPr bwMode="auto">
            <a:xfrm flipH="1">
              <a:off x="9193213" y="3671254"/>
              <a:ext cx="23812" cy="333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37" name="Line 2185">
              <a:extLst>
                <a:ext uri="{FF2B5EF4-FFF2-40B4-BE49-F238E27FC236}">
                  <a16:creationId xmlns:a16="http://schemas.microsoft.com/office/drawing/2014/main" id="{2C705236-3B99-4B60-9016-0639121EDDF8}"/>
                </a:ext>
              </a:extLst>
            </p:cNvPr>
            <p:cNvSpPr>
              <a:spLocks noChangeAspect="1" noChangeShapeType="1"/>
            </p:cNvSpPr>
            <p:nvPr/>
          </p:nvSpPr>
          <p:spPr bwMode="auto">
            <a:xfrm flipH="1">
              <a:off x="9185275" y="3715704"/>
              <a:ext cx="1588"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38" name="Line 2186">
              <a:extLst>
                <a:ext uri="{FF2B5EF4-FFF2-40B4-BE49-F238E27FC236}">
                  <a16:creationId xmlns:a16="http://schemas.microsoft.com/office/drawing/2014/main" id="{3EC42FBA-8B9A-4D10-94BA-81C23CA7AC69}"/>
                </a:ext>
              </a:extLst>
            </p:cNvPr>
            <p:cNvSpPr>
              <a:spLocks noChangeAspect="1" noChangeShapeType="1"/>
            </p:cNvSpPr>
            <p:nvPr/>
          </p:nvSpPr>
          <p:spPr bwMode="auto">
            <a:xfrm flipH="1">
              <a:off x="9172575" y="3717290"/>
              <a:ext cx="12700" cy="317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39" name="Line 2187">
              <a:extLst>
                <a:ext uri="{FF2B5EF4-FFF2-40B4-BE49-F238E27FC236}">
                  <a16:creationId xmlns:a16="http://schemas.microsoft.com/office/drawing/2014/main" id="{902325D9-A636-4A2E-9D5B-E829DA45EA62}"/>
                </a:ext>
              </a:extLst>
            </p:cNvPr>
            <p:cNvSpPr>
              <a:spLocks noChangeAspect="1" noChangeShapeType="1"/>
            </p:cNvSpPr>
            <p:nvPr/>
          </p:nvSpPr>
          <p:spPr bwMode="auto">
            <a:xfrm flipH="1">
              <a:off x="9164639" y="3749040"/>
              <a:ext cx="7937"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40" name="Line 2188">
              <a:extLst>
                <a:ext uri="{FF2B5EF4-FFF2-40B4-BE49-F238E27FC236}">
                  <a16:creationId xmlns:a16="http://schemas.microsoft.com/office/drawing/2014/main" id="{57A3F091-B624-411E-A103-66423D9AD6F0}"/>
                </a:ext>
              </a:extLst>
            </p:cNvPr>
            <p:cNvSpPr>
              <a:spLocks noChangeAspect="1" noChangeShapeType="1"/>
            </p:cNvSpPr>
            <p:nvPr/>
          </p:nvSpPr>
          <p:spPr bwMode="auto">
            <a:xfrm flipH="1">
              <a:off x="9163050" y="3763328"/>
              <a:ext cx="1588" cy="63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41" name="Line 2189">
              <a:extLst>
                <a:ext uri="{FF2B5EF4-FFF2-40B4-BE49-F238E27FC236}">
                  <a16:creationId xmlns:a16="http://schemas.microsoft.com/office/drawing/2014/main" id="{BD928BF7-F36A-4F08-8363-3A93D495EF4E}"/>
                </a:ext>
              </a:extLst>
            </p:cNvPr>
            <p:cNvSpPr>
              <a:spLocks noChangeAspect="1" noChangeShapeType="1"/>
            </p:cNvSpPr>
            <p:nvPr/>
          </p:nvSpPr>
          <p:spPr bwMode="auto">
            <a:xfrm flipH="1">
              <a:off x="9155113" y="3785553"/>
              <a:ext cx="6350" cy="238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42" name="Line 2190">
              <a:extLst>
                <a:ext uri="{FF2B5EF4-FFF2-40B4-BE49-F238E27FC236}">
                  <a16:creationId xmlns:a16="http://schemas.microsoft.com/office/drawing/2014/main" id="{33075C62-41EB-476F-ADE4-11283D645EED}"/>
                </a:ext>
              </a:extLst>
            </p:cNvPr>
            <p:cNvSpPr>
              <a:spLocks noChangeAspect="1" noChangeShapeType="1"/>
            </p:cNvSpPr>
            <p:nvPr/>
          </p:nvSpPr>
          <p:spPr bwMode="auto">
            <a:xfrm>
              <a:off x="9155114" y="3809366"/>
              <a:ext cx="3175" cy="349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43" name="Line 2191">
              <a:extLst>
                <a:ext uri="{FF2B5EF4-FFF2-40B4-BE49-F238E27FC236}">
                  <a16:creationId xmlns:a16="http://schemas.microsoft.com/office/drawing/2014/main" id="{17A745A2-AA38-4104-BB7C-D625928625FA}"/>
                </a:ext>
              </a:extLst>
            </p:cNvPr>
            <p:cNvSpPr>
              <a:spLocks noChangeAspect="1" noChangeShapeType="1"/>
            </p:cNvSpPr>
            <p:nvPr/>
          </p:nvSpPr>
          <p:spPr bwMode="auto">
            <a:xfrm>
              <a:off x="9161463" y="3858578"/>
              <a:ext cx="11112" cy="365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44" name="Line 2192">
              <a:extLst>
                <a:ext uri="{FF2B5EF4-FFF2-40B4-BE49-F238E27FC236}">
                  <a16:creationId xmlns:a16="http://schemas.microsoft.com/office/drawing/2014/main" id="{4A053D68-02D8-4C4D-B5C4-7E193500D104}"/>
                </a:ext>
              </a:extLst>
            </p:cNvPr>
            <p:cNvSpPr>
              <a:spLocks noChangeAspect="1" noChangeShapeType="1"/>
            </p:cNvSpPr>
            <p:nvPr/>
          </p:nvSpPr>
          <p:spPr bwMode="auto">
            <a:xfrm>
              <a:off x="9172575" y="3895091"/>
              <a:ext cx="0" cy="47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45" name="Line 2193">
              <a:extLst>
                <a:ext uri="{FF2B5EF4-FFF2-40B4-BE49-F238E27FC236}">
                  <a16:creationId xmlns:a16="http://schemas.microsoft.com/office/drawing/2014/main" id="{70A8EBF5-EDB2-4D42-BFA0-8349C74B6552}"/>
                </a:ext>
              </a:extLst>
            </p:cNvPr>
            <p:cNvSpPr>
              <a:spLocks noChangeAspect="1" noChangeShapeType="1"/>
            </p:cNvSpPr>
            <p:nvPr/>
          </p:nvSpPr>
          <p:spPr bwMode="auto">
            <a:xfrm>
              <a:off x="9172575" y="3899854"/>
              <a:ext cx="6350" cy="142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46" name="Line 2194">
              <a:extLst>
                <a:ext uri="{FF2B5EF4-FFF2-40B4-BE49-F238E27FC236}">
                  <a16:creationId xmlns:a16="http://schemas.microsoft.com/office/drawing/2014/main" id="{FDAC3E27-C59D-455E-B78D-F4817680695D}"/>
                </a:ext>
              </a:extLst>
            </p:cNvPr>
            <p:cNvSpPr>
              <a:spLocks noChangeAspect="1" noChangeShapeType="1"/>
            </p:cNvSpPr>
            <p:nvPr/>
          </p:nvSpPr>
          <p:spPr bwMode="auto">
            <a:xfrm>
              <a:off x="9183689" y="3928428"/>
              <a:ext cx="7937"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47" name="Line 2195">
              <a:extLst>
                <a:ext uri="{FF2B5EF4-FFF2-40B4-BE49-F238E27FC236}">
                  <a16:creationId xmlns:a16="http://schemas.microsoft.com/office/drawing/2014/main" id="{5B3034E5-E62D-404C-A4B3-835300E3B2DF}"/>
                </a:ext>
              </a:extLst>
            </p:cNvPr>
            <p:cNvSpPr>
              <a:spLocks noChangeAspect="1" noChangeShapeType="1"/>
            </p:cNvSpPr>
            <p:nvPr/>
          </p:nvSpPr>
          <p:spPr bwMode="auto">
            <a:xfrm>
              <a:off x="9191626" y="3945890"/>
              <a:ext cx="17463" cy="3333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48" name="Line 2196">
              <a:extLst>
                <a:ext uri="{FF2B5EF4-FFF2-40B4-BE49-F238E27FC236}">
                  <a16:creationId xmlns:a16="http://schemas.microsoft.com/office/drawing/2014/main" id="{ED3F8C7F-5222-4E18-9F58-3B26652FAF92}"/>
                </a:ext>
              </a:extLst>
            </p:cNvPr>
            <p:cNvSpPr>
              <a:spLocks noChangeAspect="1" noChangeShapeType="1"/>
            </p:cNvSpPr>
            <p:nvPr/>
          </p:nvSpPr>
          <p:spPr bwMode="auto">
            <a:xfrm flipH="1" flipV="1">
              <a:off x="9217025" y="3991929"/>
              <a:ext cx="0"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49" name="Line 2197">
              <a:extLst>
                <a:ext uri="{FF2B5EF4-FFF2-40B4-BE49-F238E27FC236}">
                  <a16:creationId xmlns:a16="http://schemas.microsoft.com/office/drawing/2014/main" id="{CC295120-BD78-4B5F-9154-5652D9B45D60}"/>
                </a:ext>
              </a:extLst>
            </p:cNvPr>
            <p:cNvSpPr>
              <a:spLocks noChangeAspect="1" noChangeShapeType="1"/>
            </p:cNvSpPr>
            <p:nvPr/>
          </p:nvSpPr>
          <p:spPr bwMode="auto">
            <a:xfrm>
              <a:off x="9217025" y="3991929"/>
              <a:ext cx="0" cy="158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50" name="Line 2198">
              <a:extLst>
                <a:ext uri="{FF2B5EF4-FFF2-40B4-BE49-F238E27FC236}">
                  <a16:creationId xmlns:a16="http://schemas.microsoft.com/office/drawing/2014/main" id="{EDDE5C4D-EBB4-4BE7-9468-7BD3A6F78D94}"/>
                </a:ext>
              </a:extLst>
            </p:cNvPr>
            <p:cNvSpPr>
              <a:spLocks noChangeAspect="1" noChangeShapeType="1"/>
            </p:cNvSpPr>
            <p:nvPr/>
          </p:nvSpPr>
          <p:spPr bwMode="auto">
            <a:xfrm>
              <a:off x="9217025" y="3993515"/>
              <a:ext cx="26988" cy="4445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51" name="Line 2199">
              <a:extLst>
                <a:ext uri="{FF2B5EF4-FFF2-40B4-BE49-F238E27FC236}">
                  <a16:creationId xmlns:a16="http://schemas.microsoft.com/office/drawing/2014/main" id="{43F282C8-28D4-4CF2-B314-1E8094799E9D}"/>
                </a:ext>
              </a:extLst>
            </p:cNvPr>
            <p:cNvSpPr>
              <a:spLocks noChangeAspect="1" noChangeShapeType="1"/>
            </p:cNvSpPr>
            <p:nvPr/>
          </p:nvSpPr>
          <p:spPr bwMode="auto">
            <a:xfrm>
              <a:off x="9244013" y="4037966"/>
              <a:ext cx="0" cy="317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52" name="Line 2200">
              <a:extLst>
                <a:ext uri="{FF2B5EF4-FFF2-40B4-BE49-F238E27FC236}">
                  <a16:creationId xmlns:a16="http://schemas.microsoft.com/office/drawing/2014/main" id="{263C7232-E498-4DB0-8E3B-89825765F35F}"/>
                </a:ext>
              </a:extLst>
            </p:cNvPr>
            <p:cNvSpPr>
              <a:spLocks noChangeAspect="1" noChangeShapeType="1"/>
            </p:cNvSpPr>
            <p:nvPr/>
          </p:nvSpPr>
          <p:spPr bwMode="auto">
            <a:xfrm>
              <a:off x="9253538" y="4052253"/>
              <a:ext cx="11112"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53" name="Line 2201">
              <a:extLst>
                <a:ext uri="{FF2B5EF4-FFF2-40B4-BE49-F238E27FC236}">
                  <a16:creationId xmlns:a16="http://schemas.microsoft.com/office/drawing/2014/main" id="{B52E2F51-9570-4CA1-8F1D-212A249BFBF1}"/>
                </a:ext>
              </a:extLst>
            </p:cNvPr>
            <p:cNvSpPr>
              <a:spLocks noChangeAspect="1" noChangeShapeType="1"/>
            </p:cNvSpPr>
            <p:nvPr/>
          </p:nvSpPr>
          <p:spPr bwMode="auto">
            <a:xfrm>
              <a:off x="9264650" y="4069715"/>
              <a:ext cx="7938" cy="14288"/>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54" name="Line 2202">
              <a:extLst>
                <a:ext uri="{FF2B5EF4-FFF2-40B4-BE49-F238E27FC236}">
                  <a16:creationId xmlns:a16="http://schemas.microsoft.com/office/drawing/2014/main" id="{D26D4FD4-CF0C-4BB2-AAAA-A20C6C01E52A}"/>
                </a:ext>
              </a:extLst>
            </p:cNvPr>
            <p:cNvSpPr>
              <a:spLocks noChangeAspect="1" noChangeShapeType="1"/>
            </p:cNvSpPr>
            <p:nvPr/>
          </p:nvSpPr>
          <p:spPr bwMode="auto">
            <a:xfrm>
              <a:off x="9272588" y="4084003"/>
              <a:ext cx="11112" cy="174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55" name="Line 2203">
              <a:extLst>
                <a:ext uri="{FF2B5EF4-FFF2-40B4-BE49-F238E27FC236}">
                  <a16:creationId xmlns:a16="http://schemas.microsoft.com/office/drawing/2014/main" id="{CDC4B71F-4455-4ED1-A4E4-CA258CE657FB}"/>
                </a:ext>
              </a:extLst>
            </p:cNvPr>
            <p:cNvSpPr>
              <a:spLocks noChangeAspect="1" noChangeShapeType="1"/>
            </p:cNvSpPr>
            <p:nvPr/>
          </p:nvSpPr>
          <p:spPr bwMode="auto">
            <a:xfrm>
              <a:off x="9291638" y="4110991"/>
              <a:ext cx="11112" cy="174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56" name="Line 2204">
              <a:extLst>
                <a:ext uri="{FF2B5EF4-FFF2-40B4-BE49-F238E27FC236}">
                  <a16:creationId xmlns:a16="http://schemas.microsoft.com/office/drawing/2014/main" id="{4823B13D-9DF2-401F-902B-58CA8359B57F}"/>
                </a:ext>
              </a:extLst>
            </p:cNvPr>
            <p:cNvSpPr>
              <a:spLocks noChangeAspect="1" noChangeShapeType="1"/>
            </p:cNvSpPr>
            <p:nvPr/>
          </p:nvSpPr>
          <p:spPr bwMode="auto">
            <a:xfrm>
              <a:off x="9302750" y="4128454"/>
              <a:ext cx="7938" cy="9525"/>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57" name="Line 2205">
              <a:extLst>
                <a:ext uri="{FF2B5EF4-FFF2-40B4-BE49-F238E27FC236}">
                  <a16:creationId xmlns:a16="http://schemas.microsoft.com/office/drawing/2014/main" id="{67F077CC-2679-4D82-A8B2-E4E077FE6739}"/>
                </a:ext>
              </a:extLst>
            </p:cNvPr>
            <p:cNvSpPr>
              <a:spLocks noChangeAspect="1" noChangeShapeType="1"/>
            </p:cNvSpPr>
            <p:nvPr/>
          </p:nvSpPr>
          <p:spPr bwMode="auto">
            <a:xfrm>
              <a:off x="9310688" y="4137979"/>
              <a:ext cx="12700" cy="20637"/>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58" name="Line 2206">
              <a:extLst>
                <a:ext uri="{FF2B5EF4-FFF2-40B4-BE49-F238E27FC236}">
                  <a16:creationId xmlns:a16="http://schemas.microsoft.com/office/drawing/2014/main" id="{2F96CDFD-6B61-401F-8343-CEE398086C40}"/>
                </a:ext>
              </a:extLst>
            </p:cNvPr>
            <p:cNvSpPr>
              <a:spLocks noChangeAspect="1" noChangeShapeType="1"/>
            </p:cNvSpPr>
            <p:nvPr/>
          </p:nvSpPr>
          <p:spPr bwMode="auto">
            <a:xfrm>
              <a:off x="9331326" y="4169728"/>
              <a:ext cx="3175" cy="476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59" name="Line 2207">
              <a:extLst>
                <a:ext uri="{FF2B5EF4-FFF2-40B4-BE49-F238E27FC236}">
                  <a16:creationId xmlns:a16="http://schemas.microsoft.com/office/drawing/2014/main" id="{03FC1C1D-160B-4ECE-A3A4-7736BB483801}"/>
                </a:ext>
              </a:extLst>
            </p:cNvPr>
            <p:cNvSpPr>
              <a:spLocks noChangeAspect="1" noChangeShapeType="1"/>
            </p:cNvSpPr>
            <p:nvPr/>
          </p:nvSpPr>
          <p:spPr bwMode="auto">
            <a:xfrm>
              <a:off x="9334501" y="4174491"/>
              <a:ext cx="22225" cy="30163"/>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60" name="Line 2208">
              <a:extLst>
                <a:ext uri="{FF2B5EF4-FFF2-40B4-BE49-F238E27FC236}">
                  <a16:creationId xmlns:a16="http://schemas.microsoft.com/office/drawing/2014/main" id="{7C365521-FD66-4BDF-B29C-D431754775CC}"/>
                </a:ext>
              </a:extLst>
            </p:cNvPr>
            <p:cNvSpPr>
              <a:spLocks noChangeAspect="1" noChangeShapeType="1"/>
            </p:cNvSpPr>
            <p:nvPr/>
          </p:nvSpPr>
          <p:spPr bwMode="auto">
            <a:xfrm>
              <a:off x="9356725" y="4204653"/>
              <a:ext cx="6350" cy="11112"/>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61" name="Line 2209">
              <a:extLst>
                <a:ext uri="{FF2B5EF4-FFF2-40B4-BE49-F238E27FC236}">
                  <a16:creationId xmlns:a16="http://schemas.microsoft.com/office/drawing/2014/main" id="{F3D8A4EC-B28B-4B64-A579-DF11E6E24D23}"/>
                </a:ext>
              </a:extLst>
            </p:cNvPr>
            <p:cNvSpPr>
              <a:spLocks noChangeAspect="1" noChangeShapeType="1"/>
            </p:cNvSpPr>
            <p:nvPr/>
          </p:nvSpPr>
          <p:spPr bwMode="auto">
            <a:xfrm>
              <a:off x="9371014" y="4228465"/>
              <a:ext cx="28575" cy="38100"/>
            </a:xfrm>
            <a:prstGeom prst="line">
              <a:avLst/>
            </a:prstGeom>
            <a:noFill/>
            <a:ln w="3175">
              <a:solidFill>
                <a:srgbClr val="FF0000"/>
              </a:solidFill>
              <a:round/>
              <a:headEnd/>
              <a:tailEnd/>
            </a:ln>
            <a:extLst>
              <a:ext uri="{909E8E84-426E-40DD-AFC4-6F175D3DCCD1}">
                <a14:hiddenFill xmlns:a14="http://schemas.microsoft.com/office/drawing/2010/main">
                  <a:noFill/>
                </a14:hiddenFill>
              </a:ext>
            </a:extLst>
          </p:spPr>
          <p:txBody>
            <a:bodyPr/>
            <a:lstStyle/>
            <a:p>
              <a:endParaRPr lang="en-DE"/>
            </a:p>
          </p:txBody>
        </p:sp>
        <p:sp>
          <p:nvSpPr>
            <p:cNvPr id="409763" name="Rectangle 2211">
              <a:extLst>
                <a:ext uri="{FF2B5EF4-FFF2-40B4-BE49-F238E27FC236}">
                  <a16:creationId xmlns:a16="http://schemas.microsoft.com/office/drawing/2014/main" id="{BCE1DB0D-C677-4792-9770-F3258601E237}"/>
                </a:ext>
              </a:extLst>
            </p:cNvPr>
            <p:cNvSpPr>
              <a:spLocks noChangeAspect="1" noChangeArrowheads="1"/>
            </p:cNvSpPr>
            <p:nvPr/>
          </p:nvSpPr>
          <p:spPr bwMode="auto">
            <a:xfrm>
              <a:off x="3409950" y="1156654"/>
              <a:ext cx="6985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b="1">
                  <a:solidFill>
                    <a:srgbClr val="000000"/>
                  </a:solidFill>
                </a:rPr>
                <a:t> 0.06 s</a:t>
              </a:r>
              <a:endParaRPr lang="en-GB" altLang="en-DE" b="1"/>
            </a:p>
          </p:txBody>
        </p:sp>
        <p:sp>
          <p:nvSpPr>
            <p:cNvPr id="409764" name="Rectangle 2212">
              <a:extLst>
                <a:ext uri="{FF2B5EF4-FFF2-40B4-BE49-F238E27FC236}">
                  <a16:creationId xmlns:a16="http://schemas.microsoft.com/office/drawing/2014/main" id="{1545160A-6CA1-4E55-BCE1-B21CFFBEA0D0}"/>
                </a:ext>
              </a:extLst>
            </p:cNvPr>
            <p:cNvSpPr>
              <a:spLocks noChangeAspect="1" noChangeArrowheads="1"/>
            </p:cNvSpPr>
            <p:nvPr/>
          </p:nvSpPr>
          <p:spPr bwMode="auto">
            <a:xfrm>
              <a:off x="5486400" y="1166179"/>
              <a:ext cx="6350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b="1">
                  <a:solidFill>
                    <a:srgbClr val="000000"/>
                  </a:solidFill>
                </a:rPr>
                <a:t>0.20 s</a:t>
              </a:r>
              <a:endParaRPr lang="en-GB" altLang="en-DE" b="1"/>
            </a:p>
          </p:txBody>
        </p:sp>
        <p:sp>
          <p:nvSpPr>
            <p:cNvPr id="409765" name="Freeform 2213">
              <a:extLst>
                <a:ext uri="{FF2B5EF4-FFF2-40B4-BE49-F238E27FC236}">
                  <a16:creationId xmlns:a16="http://schemas.microsoft.com/office/drawing/2014/main" id="{5B2A6F4A-1C36-4401-B5FE-7C8226293643}"/>
                </a:ext>
              </a:extLst>
            </p:cNvPr>
            <p:cNvSpPr>
              <a:spLocks noChangeAspect="1"/>
            </p:cNvSpPr>
            <p:nvPr/>
          </p:nvSpPr>
          <p:spPr bwMode="auto">
            <a:xfrm>
              <a:off x="6469063" y="1774190"/>
              <a:ext cx="1338262" cy="2014538"/>
            </a:xfrm>
            <a:custGeom>
              <a:avLst/>
              <a:gdLst>
                <a:gd name="T0" fmla="*/ 2168 w 7929"/>
                <a:gd name="T1" fmla="*/ 8686 h 8951"/>
                <a:gd name="T2" fmla="*/ 1895 w 7929"/>
                <a:gd name="T3" fmla="*/ 8416 h 8951"/>
                <a:gd name="T4" fmla="*/ 1547 w 7929"/>
                <a:gd name="T5" fmla="*/ 8024 h 8951"/>
                <a:gd name="T6" fmla="*/ 1230 w 7929"/>
                <a:gd name="T7" fmla="*/ 7617 h 8951"/>
                <a:gd name="T8" fmla="*/ 952 w 7929"/>
                <a:gd name="T9" fmla="*/ 7209 h 8951"/>
                <a:gd name="T10" fmla="*/ 711 w 7929"/>
                <a:gd name="T11" fmla="*/ 6802 h 8951"/>
                <a:gd name="T12" fmla="*/ 511 w 7929"/>
                <a:gd name="T13" fmla="*/ 6395 h 8951"/>
                <a:gd name="T14" fmla="*/ 269 w 7929"/>
                <a:gd name="T15" fmla="*/ 5785 h 8951"/>
                <a:gd name="T16" fmla="*/ 143 w 7929"/>
                <a:gd name="T17" fmla="*/ 5377 h 8951"/>
                <a:gd name="T18" fmla="*/ 33 w 7929"/>
                <a:gd name="T19" fmla="*/ 4767 h 8951"/>
                <a:gd name="T20" fmla="*/ 0 w 7929"/>
                <a:gd name="T21" fmla="*/ 4157 h 8951"/>
                <a:gd name="T22" fmla="*/ 42 w 7929"/>
                <a:gd name="T23" fmla="*/ 3546 h 8951"/>
                <a:gd name="T24" fmla="*/ 172 w 7929"/>
                <a:gd name="T25" fmla="*/ 2936 h 8951"/>
                <a:gd name="T26" fmla="*/ 314 w 7929"/>
                <a:gd name="T27" fmla="*/ 2529 h 8951"/>
                <a:gd name="T28" fmla="*/ 529 w 7929"/>
                <a:gd name="T29" fmla="*/ 2079 h 8951"/>
                <a:gd name="T30" fmla="*/ 801 w 7929"/>
                <a:gd name="T31" fmla="*/ 1635 h 8951"/>
                <a:gd name="T32" fmla="*/ 1075 w 7929"/>
                <a:gd name="T33" fmla="*/ 1290 h 8951"/>
                <a:gd name="T34" fmla="*/ 1462 w 7929"/>
                <a:gd name="T35" fmla="*/ 900 h 8951"/>
                <a:gd name="T36" fmla="*/ 1895 w 7929"/>
                <a:gd name="T37" fmla="*/ 573 h 8951"/>
                <a:gd name="T38" fmla="*/ 2437 w 7929"/>
                <a:gd name="T39" fmla="*/ 291 h 8951"/>
                <a:gd name="T40" fmla="*/ 2987 w 7929"/>
                <a:gd name="T41" fmla="*/ 104 h 8951"/>
                <a:gd name="T42" fmla="*/ 3534 w 7929"/>
                <a:gd name="T43" fmla="*/ 12 h 8951"/>
                <a:gd name="T44" fmla="*/ 4354 w 7929"/>
                <a:gd name="T45" fmla="*/ 39 h 8951"/>
                <a:gd name="T46" fmla="*/ 4901 w 7929"/>
                <a:gd name="T47" fmla="*/ 154 h 8951"/>
                <a:gd name="T48" fmla="*/ 5447 w 7929"/>
                <a:gd name="T49" fmla="*/ 350 h 8951"/>
                <a:gd name="T50" fmla="*/ 5993 w 7929"/>
                <a:gd name="T51" fmla="*/ 633 h 8951"/>
                <a:gd name="T52" fmla="*/ 6391 w 7929"/>
                <a:gd name="T53" fmla="*/ 900 h 8951"/>
                <a:gd name="T54" fmla="*/ 6814 w 7929"/>
                <a:gd name="T55" fmla="*/ 1239 h 8951"/>
                <a:gd name="T56" fmla="*/ 7095 w 7929"/>
                <a:gd name="T57" fmla="*/ 1511 h 8951"/>
                <a:gd name="T58" fmla="*/ 7445 w 7929"/>
                <a:gd name="T59" fmla="*/ 1918 h 8951"/>
                <a:gd name="T60" fmla="*/ 7679 w 7929"/>
                <a:gd name="T61" fmla="*/ 2325 h 8951"/>
                <a:gd name="T62" fmla="*/ 7875 w 7929"/>
                <a:gd name="T63" fmla="*/ 2936 h 8951"/>
                <a:gd name="T64" fmla="*/ 7924 w 7929"/>
                <a:gd name="T65" fmla="*/ 3343 h 8951"/>
                <a:gd name="T66" fmla="*/ 7906 w 7929"/>
                <a:gd name="T67" fmla="*/ 3842 h 8951"/>
                <a:gd name="T68" fmla="*/ 7810 w 7929"/>
                <a:gd name="T69" fmla="*/ 4361 h 8951"/>
                <a:gd name="T70" fmla="*/ 7633 w 7929"/>
                <a:gd name="T71" fmla="*/ 4841 h 8951"/>
                <a:gd name="T72" fmla="*/ 7359 w 7929"/>
                <a:gd name="T73" fmla="*/ 5362 h 8951"/>
                <a:gd name="T74" fmla="*/ 7086 w 7929"/>
                <a:gd name="T75" fmla="*/ 5774 h 8951"/>
                <a:gd name="T76" fmla="*/ 6814 w 7929"/>
                <a:gd name="T77" fmla="*/ 6139 h 8951"/>
                <a:gd name="T78" fmla="*/ 6540 w 7929"/>
                <a:gd name="T79" fmla="*/ 6471 h 8951"/>
                <a:gd name="T80" fmla="*/ 6231 w 7929"/>
                <a:gd name="T81" fmla="*/ 6802 h 8951"/>
                <a:gd name="T82" fmla="*/ 5788 w 7929"/>
                <a:gd name="T83" fmla="*/ 7209 h 8951"/>
                <a:gd name="T84" fmla="*/ 5447 w 7929"/>
                <a:gd name="T85" fmla="*/ 7478 h 8951"/>
                <a:gd name="T86" fmla="*/ 4943 w 7929"/>
                <a:gd name="T87" fmla="*/ 7820 h 8951"/>
                <a:gd name="T88" fmla="*/ 4619 w 7929"/>
                <a:gd name="T89" fmla="*/ 8024 h 8951"/>
                <a:gd name="T90" fmla="*/ 4081 w 7929"/>
                <a:gd name="T91" fmla="*/ 8349 h 8951"/>
                <a:gd name="T92" fmla="*/ 3534 w 7929"/>
                <a:gd name="T93" fmla="*/ 8632 h 8951"/>
                <a:gd name="T94" fmla="*/ 3066 w 7929"/>
                <a:gd name="T95" fmla="*/ 8837 h 8951"/>
                <a:gd name="T96" fmla="*/ 2442 w 7929"/>
                <a:gd name="T97" fmla="*/ 8880 h 8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929" h="8951">
                  <a:moveTo>
                    <a:pt x="2442" y="8880"/>
                  </a:moveTo>
                  <a:lnTo>
                    <a:pt x="2398" y="8837"/>
                  </a:lnTo>
                  <a:lnTo>
                    <a:pt x="2168" y="8686"/>
                  </a:lnTo>
                  <a:lnTo>
                    <a:pt x="2124" y="8634"/>
                  </a:lnTo>
                  <a:lnTo>
                    <a:pt x="1912" y="8431"/>
                  </a:lnTo>
                  <a:lnTo>
                    <a:pt x="1895" y="8416"/>
                  </a:lnTo>
                  <a:lnTo>
                    <a:pt x="1723" y="8227"/>
                  </a:lnTo>
                  <a:lnTo>
                    <a:pt x="1621" y="8120"/>
                  </a:lnTo>
                  <a:lnTo>
                    <a:pt x="1547" y="8024"/>
                  </a:lnTo>
                  <a:lnTo>
                    <a:pt x="1385" y="7820"/>
                  </a:lnTo>
                  <a:lnTo>
                    <a:pt x="1348" y="7776"/>
                  </a:lnTo>
                  <a:lnTo>
                    <a:pt x="1230" y="7617"/>
                  </a:lnTo>
                  <a:lnTo>
                    <a:pt x="1090" y="7413"/>
                  </a:lnTo>
                  <a:lnTo>
                    <a:pt x="1075" y="7392"/>
                  </a:lnTo>
                  <a:lnTo>
                    <a:pt x="952" y="7209"/>
                  </a:lnTo>
                  <a:lnTo>
                    <a:pt x="830" y="7006"/>
                  </a:lnTo>
                  <a:lnTo>
                    <a:pt x="801" y="6958"/>
                  </a:lnTo>
                  <a:lnTo>
                    <a:pt x="711" y="6802"/>
                  </a:lnTo>
                  <a:lnTo>
                    <a:pt x="604" y="6599"/>
                  </a:lnTo>
                  <a:lnTo>
                    <a:pt x="529" y="6434"/>
                  </a:lnTo>
                  <a:lnTo>
                    <a:pt x="511" y="6395"/>
                  </a:lnTo>
                  <a:lnTo>
                    <a:pt x="415" y="6192"/>
                  </a:lnTo>
                  <a:lnTo>
                    <a:pt x="335" y="5988"/>
                  </a:lnTo>
                  <a:lnTo>
                    <a:pt x="269" y="5785"/>
                  </a:lnTo>
                  <a:lnTo>
                    <a:pt x="256" y="5743"/>
                  </a:lnTo>
                  <a:lnTo>
                    <a:pt x="202" y="5581"/>
                  </a:lnTo>
                  <a:lnTo>
                    <a:pt x="143" y="5377"/>
                  </a:lnTo>
                  <a:lnTo>
                    <a:pt x="97" y="5174"/>
                  </a:lnTo>
                  <a:lnTo>
                    <a:pt x="60" y="4970"/>
                  </a:lnTo>
                  <a:lnTo>
                    <a:pt x="33" y="4767"/>
                  </a:lnTo>
                  <a:lnTo>
                    <a:pt x="14" y="4564"/>
                  </a:lnTo>
                  <a:lnTo>
                    <a:pt x="4" y="4361"/>
                  </a:lnTo>
                  <a:lnTo>
                    <a:pt x="0" y="4157"/>
                  </a:lnTo>
                  <a:lnTo>
                    <a:pt x="6" y="3954"/>
                  </a:lnTo>
                  <a:lnTo>
                    <a:pt x="19" y="3750"/>
                  </a:lnTo>
                  <a:lnTo>
                    <a:pt x="42" y="3546"/>
                  </a:lnTo>
                  <a:lnTo>
                    <a:pt x="74" y="3343"/>
                  </a:lnTo>
                  <a:lnTo>
                    <a:pt x="117" y="3139"/>
                  </a:lnTo>
                  <a:lnTo>
                    <a:pt x="172" y="2936"/>
                  </a:lnTo>
                  <a:lnTo>
                    <a:pt x="243" y="2732"/>
                  </a:lnTo>
                  <a:lnTo>
                    <a:pt x="256" y="2700"/>
                  </a:lnTo>
                  <a:lnTo>
                    <a:pt x="314" y="2529"/>
                  </a:lnTo>
                  <a:lnTo>
                    <a:pt x="398" y="2325"/>
                  </a:lnTo>
                  <a:lnTo>
                    <a:pt x="504" y="2122"/>
                  </a:lnTo>
                  <a:lnTo>
                    <a:pt x="529" y="2079"/>
                  </a:lnTo>
                  <a:lnTo>
                    <a:pt x="614" y="1918"/>
                  </a:lnTo>
                  <a:lnTo>
                    <a:pt x="745" y="1714"/>
                  </a:lnTo>
                  <a:lnTo>
                    <a:pt x="801" y="1635"/>
                  </a:lnTo>
                  <a:lnTo>
                    <a:pt x="889" y="1511"/>
                  </a:lnTo>
                  <a:lnTo>
                    <a:pt x="1060" y="1307"/>
                  </a:lnTo>
                  <a:lnTo>
                    <a:pt x="1075" y="1290"/>
                  </a:lnTo>
                  <a:lnTo>
                    <a:pt x="1243" y="1104"/>
                  </a:lnTo>
                  <a:lnTo>
                    <a:pt x="1348" y="1003"/>
                  </a:lnTo>
                  <a:lnTo>
                    <a:pt x="1462" y="900"/>
                  </a:lnTo>
                  <a:lnTo>
                    <a:pt x="1621" y="768"/>
                  </a:lnTo>
                  <a:lnTo>
                    <a:pt x="1719" y="698"/>
                  </a:lnTo>
                  <a:lnTo>
                    <a:pt x="1895" y="573"/>
                  </a:lnTo>
                  <a:lnTo>
                    <a:pt x="2030" y="494"/>
                  </a:lnTo>
                  <a:lnTo>
                    <a:pt x="2168" y="412"/>
                  </a:lnTo>
                  <a:lnTo>
                    <a:pt x="2437" y="291"/>
                  </a:lnTo>
                  <a:lnTo>
                    <a:pt x="2442" y="289"/>
                  </a:lnTo>
                  <a:lnTo>
                    <a:pt x="2715" y="178"/>
                  </a:lnTo>
                  <a:lnTo>
                    <a:pt x="2987" y="104"/>
                  </a:lnTo>
                  <a:lnTo>
                    <a:pt x="3078" y="87"/>
                  </a:lnTo>
                  <a:lnTo>
                    <a:pt x="3261" y="47"/>
                  </a:lnTo>
                  <a:lnTo>
                    <a:pt x="3534" y="12"/>
                  </a:lnTo>
                  <a:lnTo>
                    <a:pt x="3807" y="0"/>
                  </a:lnTo>
                  <a:lnTo>
                    <a:pt x="4081" y="9"/>
                  </a:lnTo>
                  <a:lnTo>
                    <a:pt x="4354" y="39"/>
                  </a:lnTo>
                  <a:lnTo>
                    <a:pt x="4597" y="87"/>
                  </a:lnTo>
                  <a:lnTo>
                    <a:pt x="4628" y="91"/>
                  </a:lnTo>
                  <a:lnTo>
                    <a:pt x="4901" y="154"/>
                  </a:lnTo>
                  <a:lnTo>
                    <a:pt x="5173" y="242"/>
                  </a:lnTo>
                  <a:lnTo>
                    <a:pt x="5288" y="291"/>
                  </a:lnTo>
                  <a:lnTo>
                    <a:pt x="5447" y="350"/>
                  </a:lnTo>
                  <a:lnTo>
                    <a:pt x="5720" y="485"/>
                  </a:lnTo>
                  <a:lnTo>
                    <a:pt x="5735" y="494"/>
                  </a:lnTo>
                  <a:lnTo>
                    <a:pt x="5993" y="633"/>
                  </a:lnTo>
                  <a:lnTo>
                    <a:pt x="6090" y="698"/>
                  </a:lnTo>
                  <a:lnTo>
                    <a:pt x="6267" y="809"/>
                  </a:lnTo>
                  <a:lnTo>
                    <a:pt x="6391" y="900"/>
                  </a:lnTo>
                  <a:lnTo>
                    <a:pt x="6540" y="1010"/>
                  </a:lnTo>
                  <a:lnTo>
                    <a:pt x="6654" y="1104"/>
                  </a:lnTo>
                  <a:lnTo>
                    <a:pt x="6814" y="1239"/>
                  </a:lnTo>
                  <a:lnTo>
                    <a:pt x="6889" y="1307"/>
                  </a:lnTo>
                  <a:lnTo>
                    <a:pt x="7086" y="1502"/>
                  </a:lnTo>
                  <a:lnTo>
                    <a:pt x="7095" y="1511"/>
                  </a:lnTo>
                  <a:lnTo>
                    <a:pt x="7286" y="1714"/>
                  </a:lnTo>
                  <a:lnTo>
                    <a:pt x="7359" y="1809"/>
                  </a:lnTo>
                  <a:lnTo>
                    <a:pt x="7445" y="1918"/>
                  </a:lnTo>
                  <a:lnTo>
                    <a:pt x="7574" y="2122"/>
                  </a:lnTo>
                  <a:lnTo>
                    <a:pt x="7633" y="2236"/>
                  </a:lnTo>
                  <a:lnTo>
                    <a:pt x="7679" y="2325"/>
                  </a:lnTo>
                  <a:lnTo>
                    <a:pt x="7765" y="2529"/>
                  </a:lnTo>
                  <a:lnTo>
                    <a:pt x="7830" y="2732"/>
                  </a:lnTo>
                  <a:lnTo>
                    <a:pt x="7875" y="2936"/>
                  </a:lnTo>
                  <a:lnTo>
                    <a:pt x="7905" y="3139"/>
                  </a:lnTo>
                  <a:lnTo>
                    <a:pt x="7906" y="3154"/>
                  </a:lnTo>
                  <a:lnTo>
                    <a:pt x="7924" y="3343"/>
                  </a:lnTo>
                  <a:lnTo>
                    <a:pt x="7929" y="3546"/>
                  </a:lnTo>
                  <a:lnTo>
                    <a:pt x="7917" y="3750"/>
                  </a:lnTo>
                  <a:lnTo>
                    <a:pt x="7906" y="3842"/>
                  </a:lnTo>
                  <a:lnTo>
                    <a:pt x="7894" y="3954"/>
                  </a:lnTo>
                  <a:lnTo>
                    <a:pt x="7859" y="4157"/>
                  </a:lnTo>
                  <a:lnTo>
                    <a:pt x="7810" y="4361"/>
                  </a:lnTo>
                  <a:lnTo>
                    <a:pt x="7747" y="4564"/>
                  </a:lnTo>
                  <a:lnTo>
                    <a:pt x="7666" y="4767"/>
                  </a:lnTo>
                  <a:lnTo>
                    <a:pt x="7633" y="4841"/>
                  </a:lnTo>
                  <a:lnTo>
                    <a:pt x="7575" y="4970"/>
                  </a:lnTo>
                  <a:lnTo>
                    <a:pt x="7473" y="5174"/>
                  </a:lnTo>
                  <a:lnTo>
                    <a:pt x="7359" y="5362"/>
                  </a:lnTo>
                  <a:lnTo>
                    <a:pt x="7350" y="5377"/>
                  </a:lnTo>
                  <a:lnTo>
                    <a:pt x="7225" y="5581"/>
                  </a:lnTo>
                  <a:lnTo>
                    <a:pt x="7086" y="5774"/>
                  </a:lnTo>
                  <a:lnTo>
                    <a:pt x="7079" y="5785"/>
                  </a:lnTo>
                  <a:lnTo>
                    <a:pt x="6932" y="5988"/>
                  </a:lnTo>
                  <a:lnTo>
                    <a:pt x="6814" y="6139"/>
                  </a:lnTo>
                  <a:lnTo>
                    <a:pt x="6770" y="6192"/>
                  </a:lnTo>
                  <a:lnTo>
                    <a:pt x="6602" y="6395"/>
                  </a:lnTo>
                  <a:lnTo>
                    <a:pt x="6540" y="6471"/>
                  </a:lnTo>
                  <a:lnTo>
                    <a:pt x="6424" y="6599"/>
                  </a:lnTo>
                  <a:lnTo>
                    <a:pt x="6267" y="6769"/>
                  </a:lnTo>
                  <a:lnTo>
                    <a:pt x="6231" y="6802"/>
                  </a:lnTo>
                  <a:lnTo>
                    <a:pt x="6020" y="7006"/>
                  </a:lnTo>
                  <a:lnTo>
                    <a:pt x="5993" y="7032"/>
                  </a:lnTo>
                  <a:lnTo>
                    <a:pt x="5788" y="7209"/>
                  </a:lnTo>
                  <a:lnTo>
                    <a:pt x="5720" y="7268"/>
                  </a:lnTo>
                  <a:lnTo>
                    <a:pt x="5529" y="7413"/>
                  </a:lnTo>
                  <a:lnTo>
                    <a:pt x="5447" y="7478"/>
                  </a:lnTo>
                  <a:lnTo>
                    <a:pt x="5246" y="7617"/>
                  </a:lnTo>
                  <a:lnTo>
                    <a:pt x="5173" y="7672"/>
                  </a:lnTo>
                  <a:lnTo>
                    <a:pt x="4943" y="7820"/>
                  </a:lnTo>
                  <a:lnTo>
                    <a:pt x="4901" y="7851"/>
                  </a:lnTo>
                  <a:lnTo>
                    <a:pt x="4628" y="8019"/>
                  </a:lnTo>
                  <a:lnTo>
                    <a:pt x="4619" y="8024"/>
                  </a:lnTo>
                  <a:lnTo>
                    <a:pt x="4354" y="8188"/>
                  </a:lnTo>
                  <a:lnTo>
                    <a:pt x="4275" y="8227"/>
                  </a:lnTo>
                  <a:lnTo>
                    <a:pt x="4081" y="8349"/>
                  </a:lnTo>
                  <a:lnTo>
                    <a:pt x="3912" y="8431"/>
                  </a:lnTo>
                  <a:lnTo>
                    <a:pt x="3807" y="8498"/>
                  </a:lnTo>
                  <a:lnTo>
                    <a:pt x="3534" y="8632"/>
                  </a:lnTo>
                  <a:lnTo>
                    <a:pt x="3530" y="8634"/>
                  </a:lnTo>
                  <a:lnTo>
                    <a:pt x="3261" y="8774"/>
                  </a:lnTo>
                  <a:lnTo>
                    <a:pt x="3066" y="8837"/>
                  </a:lnTo>
                  <a:lnTo>
                    <a:pt x="2987" y="8884"/>
                  </a:lnTo>
                  <a:lnTo>
                    <a:pt x="2715" y="8951"/>
                  </a:lnTo>
                  <a:lnTo>
                    <a:pt x="2442" y="8880"/>
                  </a:lnTo>
                </a:path>
              </a:pathLst>
            </a:custGeom>
            <a:noFill/>
            <a:ln w="28575" cmpd="sng">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DE"/>
            </a:p>
          </p:txBody>
        </p:sp>
        <p:sp>
          <p:nvSpPr>
            <p:cNvPr id="409766" name="Rectangle 2214">
              <a:extLst>
                <a:ext uri="{FF2B5EF4-FFF2-40B4-BE49-F238E27FC236}">
                  <a16:creationId xmlns:a16="http://schemas.microsoft.com/office/drawing/2014/main" id="{C6A54ED4-A906-4DE5-B286-A0B84DD3E073}"/>
                </a:ext>
              </a:extLst>
            </p:cNvPr>
            <p:cNvSpPr>
              <a:spLocks noChangeAspect="1" noChangeArrowheads="1"/>
            </p:cNvSpPr>
            <p:nvPr/>
          </p:nvSpPr>
          <p:spPr bwMode="auto">
            <a:xfrm>
              <a:off x="7539038" y="1156654"/>
              <a:ext cx="6350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b="1">
                  <a:solidFill>
                    <a:srgbClr val="000000"/>
                  </a:solidFill>
                </a:rPr>
                <a:t>0.50 s</a:t>
              </a:r>
              <a:endParaRPr lang="en-GB" altLang="en-DE" b="1"/>
            </a:p>
          </p:txBody>
        </p:sp>
        <p:sp>
          <p:nvSpPr>
            <p:cNvPr id="409767" name="Rectangle 2215">
              <a:extLst>
                <a:ext uri="{FF2B5EF4-FFF2-40B4-BE49-F238E27FC236}">
                  <a16:creationId xmlns:a16="http://schemas.microsoft.com/office/drawing/2014/main" id="{430CEECB-CE4D-4E78-A1E2-A1E6730E3282}"/>
                </a:ext>
              </a:extLst>
            </p:cNvPr>
            <p:cNvSpPr>
              <a:spLocks noChangeAspect="1" noChangeArrowheads="1"/>
            </p:cNvSpPr>
            <p:nvPr/>
          </p:nvSpPr>
          <p:spPr bwMode="auto">
            <a:xfrm>
              <a:off x="9620250" y="1156654"/>
              <a:ext cx="6350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altLang="en-DE" b="1">
                  <a:solidFill>
                    <a:srgbClr val="000000"/>
                  </a:solidFill>
                </a:rPr>
                <a:t>0.70 s</a:t>
              </a:r>
              <a:endParaRPr lang="en-GB" altLang="en-DE" b="1"/>
            </a:p>
          </p:txBody>
        </p:sp>
      </p:grpSp>
      <p:sp>
        <p:nvSpPr>
          <p:cNvPr id="409768" name="Text Box 2216">
            <a:extLst>
              <a:ext uri="{FF2B5EF4-FFF2-40B4-BE49-F238E27FC236}">
                <a16:creationId xmlns:a16="http://schemas.microsoft.com/office/drawing/2014/main" id="{0944F823-24E5-4677-85AF-E6E00E179373}"/>
              </a:ext>
            </a:extLst>
          </p:cNvPr>
          <p:cNvSpPr txBox="1">
            <a:spLocks noChangeArrowheads="1"/>
          </p:cNvSpPr>
          <p:nvPr/>
        </p:nvSpPr>
        <p:spPr bwMode="auto">
          <a:xfrm>
            <a:off x="1789112" y="5878831"/>
            <a:ext cx="8632825"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nSpc>
                <a:spcPct val="110000"/>
              </a:lnSpc>
            </a:pPr>
            <a:r>
              <a:rPr lang="en-US" altLang="en-DE" sz="2000" dirty="0"/>
              <a:t>Ramp-down: inverse sequence</a:t>
            </a:r>
          </a:p>
          <a:p>
            <a:pPr>
              <a:lnSpc>
                <a:spcPct val="110000"/>
              </a:lnSpc>
            </a:pPr>
            <a:r>
              <a:rPr lang="en-US" altLang="en-DE" sz="2000" dirty="0"/>
              <a:t>avoid early H</a:t>
            </a:r>
            <a:r>
              <a:rPr lang="en-US" altLang="en-DE" sz="2000" dirty="0">
                <a:sym typeface="Wingdings" panose="05000000000000000000" pitchFamily="2" charset="2"/>
              </a:rPr>
              <a:t>L transition with inboard limiter contact by additional heating</a:t>
            </a:r>
            <a:endParaRPr lang="en-US" altLang="en-DE" sz="2000" dirty="0"/>
          </a:p>
        </p:txBody>
      </p:sp>
      <p:sp>
        <p:nvSpPr>
          <p:cNvPr id="3" name="Foliennummernplatzhalter 2">
            <a:extLst>
              <a:ext uri="{FF2B5EF4-FFF2-40B4-BE49-F238E27FC236}">
                <a16:creationId xmlns:a16="http://schemas.microsoft.com/office/drawing/2014/main" id="{8752F65D-1B1B-4C2A-BFBD-3CCB5BA9E5A7}"/>
              </a:ext>
            </a:extLst>
          </p:cNvPr>
          <p:cNvSpPr>
            <a:spLocks noGrp="1"/>
          </p:cNvSpPr>
          <p:nvPr>
            <p:ph type="sldNum" sz="quarter" idx="12"/>
          </p:nvPr>
        </p:nvSpPr>
        <p:spPr/>
        <p:txBody>
          <a:bodyPr/>
          <a:lstStyle/>
          <a:p>
            <a:fld id="{3B1A4699-952B-42DA-8DC4-38A59B49610C}" type="slidenum">
              <a:rPr lang="de-DE" smtClean="0"/>
              <a:pPr/>
              <a:t>6</a:t>
            </a:fld>
            <a:endParaRPr lang="de-DE" dirty="0"/>
          </a:p>
        </p:txBody>
      </p:sp>
      <p:pic>
        <p:nvPicPr>
          <p:cNvPr id="2218" name="Grafik 2217">
            <a:extLst>
              <a:ext uri="{FF2B5EF4-FFF2-40B4-BE49-F238E27FC236}">
                <a16:creationId xmlns:a16="http://schemas.microsoft.com/office/drawing/2014/main" id="{2ED4F0EB-B16F-45D0-80E7-1A952D764071}"/>
              </a:ext>
            </a:extLst>
          </p:cNvPr>
          <p:cNvPicPr>
            <a:picLocks noChangeAspect="1"/>
          </p:cNvPicPr>
          <p:nvPr/>
        </p:nvPicPr>
        <p:blipFill>
          <a:blip r:embed="rId3"/>
          <a:stretch>
            <a:fillRect/>
          </a:stretch>
        </p:blipFill>
        <p:spPr>
          <a:xfrm>
            <a:off x="10503851" y="186513"/>
            <a:ext cx="688697" cy="612000"/>
          </a:xfrm>
          <a:prstGeom prst="rect">
            <a:avLst/>
          </a:prstGeom>
        </p:spPr>
      </p:pic>
      <p:sp>
        <p:nvSpPr>
          <p:cNvPr id="2219" name="Textfeld 2218"/>
          <p:cNvSpPr txBox="1"/>
          <p:nvPr/>
        </p:nvSpPr>
        <p:spPr>
          <a:xfrm>
            <a:off x="8911908" y="6047269"/>
            <a:ext cx="3020058"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Rudolf Neu – PWI </a:t>
            </a:r>
            <a:r>
              <a:rPr lang="de-DE" sz="1600" dirty="0" err="1" smtClean="0"/>
              <a:t>consequences</a:t>
            </a:r>
            <a:endParaRPr lang="de-DE" sz="1600" dirty="0" smtClean="0"/>
          </a:p>
        </p:txBody>
      </p:sp>
    </p:spTree>
    <p:extLst>
      <p:ext uri="{BB962C8B-B14F-4D97-AF65-F5344CB8AC3E}">
        <p14:creationId xmlns:p14="http://schemas.microsoft.com/office/powerpoint/2010/main" val="374041816"/>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err="1" smtClean="0"/>
              <a:t>Conclusions</a:t>
            </a:r>
            <a:endParaRPr lang="en-US" dirty="0"/>
          </a:p>
        </p:txBody>
      </p:sp>
      <p:sp>
        <p:nvSpPr>
          <p:cNvPr id="4" name="Date Placeholder 3"/>
          <p:cNvSpPr>
            <a:spLocks noGrp="1"/>
          </p:cNvSpPr>
          <p:nvPr>
            <p:ph type="dt" sz="half" idx="14"/>
          </p:nvPr>
        </p:nvSpPr>
        <p:spPr/>
        <p:txBody>
          <a:bodyPr/>
          <a:lstStyle/>
          <a:p>
            <a:r>
              <a:rPr lang="en-US" smtClean="0"/>
              <a:t>EFPW 2024, Prague</a:t>
            </a:r>
            <a:endParaRPr lang="en-US" dirty="0"/>
          </a:p>
        </p:txBody>
      </p:sp>
      <p:sp>
        <p:nvSpPr>
          <p:cNvPr id="5" name="Footer Placeholder 4"/>
          <p:cNvSpPr>
            <a:spLocks noGrp="1"/>
          </p:cNvSpPr>
          <p:nvPr>
            <p:ph type="ftr" sz="quarter" idx="15"/>
          </p:nvPr>
        </p:nvSpPr>
        <p:spPr/>
        <p:txBody>
          <a:bodyPr/>
          <a:lstStyle/>
          <a:p>
            <a:pPr algn="l">
              <a:tabLst>
                <a:tab pos="9775825" algn="r"/>
                <a:tab pos="10226675" algn="r"/>
              </a:tabLst>
            </a:pPr>
            <a:r>
              <a:rPr lang="de-DE" smtClean="0"/>
              <a:t>Max-Planck-Institut für Plasmaphysik</a:t>
            </a:r>
            <a:endParaRPr lang="de-DE" dirty="0"/>
          </a:p>
        </p:txBody>
      </p:sp>
      <p:sp>
        <p:nvSpPr>
          <p:cNvPr id="6" name="Slide Number Placeholder 5"/>
          <p:cNvSpPr>
            <a:spLocks noGrp="1"/>
          </p:cNvSpPr>
          <p:nvPr>
            <p:ph type="sldNum" sz="quarter" idx="16"/>
          </p:nvPr>
        </p:nvSpPr>
        <p:spPr/>
        <p:txBody>
          <a:bodyPr/>
          <a:lstStyle/>
          <a:p>
            <a:fld id="{3B1A4699-952B-42DA-8DC4-38A59B49610C}" type="slidenum">
              <a:rPr lang="de-DE" smtClean="0"/>
              <a:pPr/>
              <a:t>7</a:t>
            </a:fld>
            <a:endParaRPr lang="de-DE" dirty="0"/>
          </a:p>
        </p:txBody>
      </p:sp>
      <p:sp>
        <p:nvSpPr>
          <p:cNvPr id="7" name="Content Placeholder 1"/>
          <p:cNvSpPr>
            <a:spLocks noGrp="1"/>
          </p:cNvSpPr>
          <p:nvPr>
            <p:ph sz="quarter" idx="13"/>
          </p:nvPr>
        </p:nvSpPr>
        <p:spPr>
          <a:xfrm>
            <a:off x="255828" y="888533"/>
            <a:ext cx="11608905" cy="5442694"/>
          </a:xfrm>
        </p:spPr>
        <p:txBody>
          <a:bodyPr>
            <a:normAutofit lnSpcReduction="10000"/>
          </a:bodyPr>
          <a:lstStyle/>
          <a:p>
            <a:r>
              <a:rPr lang="de-DE" dirty="0" smtClean="0"/>
              <a:t>W-Control </a:t>
            </a:r>
            <a:r>
              <a:rPr lang="de-DE" dirty="0" err="1" smtClean="0"/>
              <a:t>strategies</a:t>
            </a:r>
            <a:r>
              <a:rPr lang="de-DE" dirty="0" smtClean="0"/>
              <a:t> in AUG </a:t>
            </a:r>
            <a:r>
              <a:rPr lang="de-DE" dirty="0" err="1" smtClean="0"/>
              <a:t>are</a:t>
            </a:r>
            <a:r>
              <a:rPr lang="de-DE" dirty="0" smtClean="0"/>
              <a:t> </a:t>
            </a:r>
            <a:r>
              <a:rPr lang="de-DE" dirty="0" err="1" smtClean="0"/>
              <a:t>well</a:t>
            </a:r>
            <a:r>
              <a:rPr lang="de-DE" dirty="0" smtClean="0"/>
              <a:t> </a:t>
            </a:r>
            <a:r>
              <a:rPr lang="de-DE" dirty="0" err="1" smtClean="0"/>
              <a:t>refined</a:t>
            </a:r>
            <a:r>
              <a:rPr lang="de-DE" dirty="0" smtClean="0"/>
              <a:t> </a:t>
            </a:r>
            <a:r>
              <a:rPr lang="de-DE" dirty="0" err="1" smtClean="0"/>
              <a:t>and</a:t>
            </a:r>
            <a:r>
              <a:rPr lang="de-DE" dirty="0" smtClean="0"/>
              <a:t> </a:t>
            </a:r>
            <a:r>
              <a:rPr lang="de-DE" dirty="0" err="1" smtClean="0"/>
              <a:t>allow</a:t>
            </a:r>
            <a:r>
              <a:rPr lang="de-DE" dirty="0" smtClean="0"/>
              <a:t> </a:t>
            </a:r>
            <a:r>
              <a:rPr lang="de-DE" dirty="0" err="1" smtClean="0"/>
              <a:t>access</a:t>
            </a:r>
            <a:r>
              <a:rPr lang="de-DE" dirty="0" smtClean="0"/>
              <a:t> </a:t>
            </a:r>
            <a:r>
              <a:rPr lang="de-DE" dirty="0" err="1" smtClean="0"/>
              <a:t>to</a:t>
            </a:r>
            <a:r>
              <a:rPr lang="de-DE" dirty="0" smtClean="0"/>
              <a:t> </a:t>
            </a:r>
            <a:r>
              <a:rPr lang="de-DE" dirty="0" err="1" smtClean="0"/>
              <a:t>practical</a:t>
            </a:r>
            <a:r>
              <a:rPr lang="de-DE" dirty="0" smtClean="0"/>
              <a:t> all </a:t>
            </a:r>
            <a:r>
              <a:rPr lang="de-DE" dirty="0" err="1" smtClean="0"/>
              <a:t>confinement</a:t>
            </a:r>
            <a:r>
              <a:rPr lang="de-DE" dirty="0" smtClean="0"/>
              <a:t> </a:t>
            </a:r>
            <a:r>
              <a:rPr lang="de-DE" dirty="0" err="1" smtClean="0"/>
              <a:t>regimes</a:t>
            </a:r>
            <a:endParaRPr lang="de-DE" dirty="0" smtClean="0"/>
          </a:p>
          <a:p>
            <a:pPr marL="642938" lvl="4" indent="-285750"/>
            <a:r>
              <a:rPr lang="de-DE" b="1" dirty="0" smtClean="0"/>
              <a:t>Generally:</a:t>
            </a:r>
          </a:p>
          <a:p>
            <a:pPr marL="931500" lvl="5"/>
            <a:r>
              <a:rPr lang="de-DE" b="1" dirty="0" smtClean="0"/>
              <a:t>High n</a:t>
            </a:r>
            <a:r>
              <a:rPr lang="de-DE" b="1" baseline="-25000" dirty="0" smtClean="0"/>
              <a:t>e</a:t>
            </a:r>
            <a:r>
              <a:rPr lang="de-DE" dirty="0" smtClean="0"/>
              <a:t>, </a:t>
            </a:r>
            <a:r>
              <a:rPr lang="de-DE" dirty="0" err="1" smtClean="0"/>
              <a:t>and</a:t>
            </a:r>
            <a:r>
              <a:rPr lang="de-DE" dirty="0" smtClean="0"/>
              <a:t>/</a:t>
            </a:r>
            <a:r>
              <a:rPr lang="de-DE" dirty="0" err="1" smtClean="0"/>
              <a:t>or</a:t>
            </a:r>
            <a:r>
              <a:rPr lang="de-DE" dirty="0" smtClean="0"/>
              <a:t> </a:t>
            </a:r>
            <a:r>
              <a:rPr lang="de-DE" dirty="0" err="1" smtClean="0"/>
              <a:t>seeded</a:t>
            </a:r>
            <a:r>
              <a:rPr lang="de-DE" dirty="0" smtClean="0"/>
              <a:t> </a:t>
            </a:r>
            <a:r>
              <a:rPr lang="de-DE" dirty="0" err="1" smtClean="0"/>
              <a:t>scenarios</a:t>
            </a:r>
            <a:r>
              <a:rPr lang="de-DE" dirty="0" smtClean="0"/>
              <a:t> </a:t>
            </a:r>
            <a:r>
              <a:rPr lang="de-DE" dirty="0" err="1" smtClean="0"/>
              <a:t>feature</a:t>
            </a:r>
            <a:r>
              <a:rPr lang="de-DE" dirty="0" smtClean="0"/>
              <a:t> </a:t>
            </a:r>
            <a:r>
              <a:rPr lang="de-DE" dirty="0" err="1" smtClean="0"/>
              <a:t>low</a:t>
            </a:r>
            <a:r>
              <a:rPr lang="de-DE" dirty="0" smtClean="0"/>
              <a:t> </a:t>
            </a:r>
            <a:r>
              <a:rPr lang="de-DE" dirty="0" err="1" smtClean="0"/>
              <a:t>divertor</a:t>
            </a:r>
            <a:r>
              <a:rPr lang="de-DE" dirty="0" smtClean="0"/>
              <a:t> T </a:t>
            </a:r>
            <a:r>
              <a:rPr lang="de-DE" dirty="0" err="1" smtClean="0"/>
              <a:t>and</a:t>
            </a:r>
            <a:r>
              <a:rPr lang="de-DE" dirty="0" smtClean="0"/>
              <a:t> </a:t>
            </a:r>
            <a:r>
              <a:rPr lang="de-DE" dirty="0" err="1" smtClean="0"/>
              <a:t>allow</a:t>
            </a:r>
            <a:r>
              <a:rPr lang="de-DE" dirty="0" smtClean="0"/>
              <a:t> </a:t>
            </a:r>
            <a:r>
              <a:rPr lang="de-DE" dirty="0" err="1" smtClean="0"/>
              <a:t>operation</a:t>
            </a:r>
            <a:r>
              <a:rPr lang="de-DE" dirty="0" smtClean="0"/>
              <a:t> w/o </a:t>
            </a:r>
            <a:r>
              <a:rPr lang="de-DE" dirty="0" err="1" smtClean="0"/>
              <a:t>boronizion</a:t>
            </a:r>
            <a:endParaRPr lang="de-DE" dirty="0" smtClean="0"/>
          </a:p>
          <a:p>
            <a:pPr marL="931500" lvl="5"/>
            <a:r>
              <a:rPr lang="de-DE" b="1" dirty="0" smtClean="0"/>
              <a:t>Low </a:t>
            </a:r>
            <a:r>
              <a:rPr lang="de-DE" b="1" dirty="0"/>
              <a:t>n</a:t>
            </a:r>
            <a:r>
              <a:rPr lang="de-DE" b="1" baseline="-25000" dirty="0"/>
              <a:t>e</a:t>
            </a:r>
            <a:r>
              <a:rPr lang="de-DE" b="1" dirty="0" smtClean="0"/>
              <a:t> </a:t>
            </a:r>
            <a:r>
              <a:rPr lang="de-DE" dirty="0" err="1" smtClean="0"/>
              <a:t>scenarios</a:t>
            </a:r>
            <a:r>
              <a:rPr lang="de-DE" dirty="0" smtClean="0"/>
              <a:t> </a:t>
            </a:r>
            <a:r>
              <a:rPr lang="de-DE" dirty="0" err="1" smtClean="0"/>
              <a:t>feature</a:t>
            </a:r>
            <a:r>
              <a:rPr lang="de-DE" dirty="0" smtClean="0"/>
              <a:t> </a:t>
            </a:r>
            <a:r>
              <a:rPr lang="de-DE" dirty="0" err="1" smtClean="0"/>
              <a:t>reactor</a:t>
            </a:r>
            <a:r>
              <a:rPr lang="de-DE" dirty="0" smtClean="0"/>
              <a:t>-irrelevant </a:t>
            </a:r>
            <a:r>
              <a:rPr lang="de-DE" dirty="0" err="1" smtClean="0"/>
              <a:t>divertor</a:t>
            </a:r>
            <a:r>
              <a:rPr lang="de-DE" dirty="0" smtClean="0"/>
              <a:t> </a:t>
            </a:r>
            <a:r>
              <a:rPr lang="de-DE" dirty="0" err="1" smtClean="0"/>
              <a:t>and</a:t>
            </a:r>
            <a:r>
              <a:rPr lang="de-DE" dirty="0" smtClean="0"/>
              <a:t> SOL </a:t>
            </a:r>
            <a:r>
              <a:rPr lang="de-DE" dirty="0" err="1" smtClean="0"/>
              <a:t>conditions</a:t>
            </a:r>
            <a:r>
              <a:rPr lang="de-DE" dirty="0" smtClean="0"/>
              <a:t> </a:t>
            </a:r>
            <a:r>
              <a:rPr lang="de-DE" dirty="0" err="1" smtClean="0"/>
              <a:t>and</a:t>
            </a:r>
            <a:r>
              <a:rPr lang="de-DE" dirty="0" smtClean="0"/>
              <a:t> </a:t>
            </a:r>
            <a:r>
              <a:rPr lang="de-DE" dirty="0" err="1" smtClean="0"/>
              <a:t>thus</a:t>
            </a:r>
            <a:r>
              <a:rPr lang="de-DE" dirty="0" smtClean="0"/>
              <a:t>,                    potent, additional W-</a:t>
            </a:r>
            <a:r>
              <a:rPr lang="de-DE" dirty="0" err="1" smtClean="0"/>
              <a:t>control</a:t>
            </a:r>
            <a:r>
              <a:rPr lang="de-DE" dirty="0" smtClean="0"/>
              <a:t> </a:t>
            </a:r>
            <a:r>
              <a:rPr lang="de-DE" dirty="0" err="1" smtClean="0"/>
              <a:t>strategies</a:t>
            </a:r>
            <a:r>
              <a:rPr lang="de-DE" dirty="0" smtClean="0"/>
              <a:t> </a:t>
            </a:r>
            <a:r>
              <a:rPr lang="de-DE" dirty="0" err="1" smtClean="0"/>
              <a:t>are</a:t>
            </a:r>
            <a:r>
              <a:rPr lang="de-DE" dirty="0" smtClean="0"/>
              <a:t> </a:t>
            </a:r>
            <a:r>
              <a:rPr lang="de-DE" dirty="0" err="1" smtClean="0"/>
              <a:t>necessary</a:t>
            </a:r>
            <a:endParaRPr lang="de-DE" dirty="0" smtClean="0"/>
          </a:p>
          <a:p>
            <a:pPr marL="931500" lvl="5"/>
            <a:r>
              <a:rPr lang="de-DE" dirty="0" smtClean="0"/>
              <a:t>W-core </a:t>
            </a:r>
            <a:r>
              <a:rPr lang="de-DE" dirty="0" err="1" smtClean="0"/>
              <a:t>transport</a:t>
            </a:r>
            <a:r>
              <a:rPr lang="de-DE" dirty="0" smtClean="0"/>
              <a:t> </a:t>
            </a:r>
            <a:r>
              <a:rPr lang="de-DE" dirty="0" err="1" smtClean="0"/>
              <a:t>mostly</a:t>
            </a:r>
            <a:r>
              <a:rPr lang="de-DE" dirty="0" smtClean="0"/>
              <a:t> </a:t>
            </a:r>
            <a:r>
              <a:rPr lang="de-DE" dirty="0" err="1" smtClean="0"/>
              <a:t>understood</a:t>
            </a:r>
            <a:r>
              <a:rPr lang="de-DE" dirty="0" smtClean="0"/>
              <a:t> (</a:t>
            </a:r>
            <a:r>
              <a:rPr lang="de-DE" dirty="0" err="1" smtClean="0"/>
              <a:t>except</a:t>
            </a:r>
            <a:r>
              <a:rPr lang="de-DE" dirty="0" smtClean="0"/>
              <a:t> </a:t>
            </a:r>
            <a:r>
              <a:rPr lang="de-DE" dirty="0" err="1" smtClean="0"/>
              <a:t>for</a:t>
            </a:r>
            <a:r>
              <a:rPr lang="de-DE" dirty="0" smtClean="0"/>
              <a:t> </a:t>
            </a:r>
            <a:r>
              <a:rPr lang="de-DE" dirty="0" err="1" smtClean="0"/>
              <a:t>role</a:t>
            </a:r>
            <a:r>
              <a:rPr lang="de-DE" dirty="0" smtClean="0"/>
              <a:t> </a:t>
            </a:r>
            <a:r>
              <a:rPr lang="de-DE" dirty="0" err="1" smtClean="0"/>
              <a:t>of</a:t>
            </a:r>
            <a:r>
              <a:rPr lang="de-DE" dirty="0" smtClean="0"/>
              <a:t> MHD)</a:t>
            </a:r>
          </a:p>
          <a:p>
            <a:pPr marL="642938" lvl="4" indent="-285750"/>
            <a:endParaRPr lang="de-DE" dirty="0" smtClean="0"/>
          </a:p>
          <a:p>
            <a:pPr marL="642938" lvl="4" indent="-285750"/>
            <a:r>
              <a:rPr lang="de-DE" b="1" dirty="0" smtClean="0"/>
              <a:t>High </a:t>
            </a:r>
            <a:r>
              <a:rPr lang="de-DE" b="1" dirty="0" err="1" smtClean="0"/>
              <a:t>density</a:t>
            </a:r>
            <a:r>
              <a:rPr lang="de-DE" b="1" dirty="0" smtClean="0"/>
              <a:t> </a:t>
            </a:r>
            <a:r>
              <a:rPr lang="de-DE" b="1" dirty="0" err="1" smtClean="0"/>
              <a:t>scenarios</a:t>
            </a:r>
            <a:r>
              <a:rPr lang="de-DE" dirty="0" smtClean="0"/>
              <a:t> </a:t>
            </a:r>
            <a:r>
              <a:rPr lang="de-DE" dirty="0" err="1" smtClean="0"/>
              <a:t>feature</a:t>
            </a:r>
            <a:r>
              <a:rPr lang="de-DE" dirty="0" smtClean="0"/>
              <a:t> </a:t>
            </a:r>
            <a:r>
              <a:rPr lang="de-DE" dirty="0" err="1" smtClean="0"/>
              <a:t>low</a:t>
            </a:r>
            <a:r>
              <a:rPr lang="de-DE" dirty="0" smtClean="0"/>
              <a:t> W-content, </a:t>
            </a:r>
            <a:r>
              <a:rPr lang="de-DE" dirty="0" err="1" smtClean="0"/>
              <a:t>access</a:t>
            </a:r>
            <a:r>
              <a:rPr lang="de-DE" dirty="0" smtClean="0"/>
              <a:t> </a:t>
            </a:r>
            <a:r>
              <a:rPr lang="de-DE" dirty="0" err="1" smtClean="0"/>
              <a:t>to</a:t>
            </a:r>
            <a:r>
              <a:rPr lang="de-DE" dirty="0" smtClean="0"/>
              <a:t> </a:t>
            </a:r>
            <a:r>
              <a:rPr lang="de-DE" dirty="0" err="1" smtClean="0"/>
              <a:t>good</a:t>
            </a:r>
            <a:r>
              <a:rPr lang="de-DE" dirty="0" smtClean="0"/>
              <a:t> </a:t>
            </a:r>
            <a:r>
              <a:rPr lang="de-DE" dirty="0" err="1" smtClean="0"/>
              <a:t>confinement</a:t>
            </a:r>
            <a:r>
              <a:rPr lang="de-DE" dirty="0" smtClean="0"/>
              <a:t> via </a:t>
            </a:r>
            <a:r>
              <a:rPr lang="de-DE" dirty="0" err="1" smtClean="0"/>
              <a:t>seeding</a:t>
            </a:r>
            <a:r>
              <a:rPr lang="de-DE" dirty="0" smtClean="0"/>
              <a:t> </a:t>
            </a:r>
            <a:r>
              <a:rPr lang="de-DE" dirty="0" err="1" smtClean="0"/>
              <a:t>and</a:t>
            </a:r>
            <a:r>
              <a:rPr lang="de-DE" dirty="0" smtClean="0"/>
              <a:t> </a:t>
            </a:r>
            <a:r>
              <a:rPr lang="de-DE" dirty="0" err="1" smtClean="0"/>
              <a:t>higher</a:t>
            </a:r>
            <a:r>
              <a:rPr lang="de-DE" dirty="0" smtClean="0"/>
              <a:t> </a:t>
            </a:r>
            <a:r>
              <a:rPr lang="de-DE" dirty="0" smtClean="0">
                <a:latin typeface="Symbol" panose="05050102010706020507" pitchFamily="18" charset="2"/>
              </a:rPr>
              <a:t>b</a:t>
            </a:r>
          </a:p>
          <a:p>
            <a:pPr marL="642938" lvl="4" indent="-285750"/>
            <a:r>
              <a:rPr lang="de-DE" dirty="0" smtClean="0"/>
              <a:t>ITER BL at high n</a:t>
            </a:r>
            <a:r>
              <a:rPr lang="de-DE" baseline="-25000" dirty="0" smtClean="0"/>
              <a:t>e</a:t>
            </a:r>
            <a:r>
              <a:rPr lang="de-DE" dirty="0" smtClean="0"/>
              <a:t> </a:t>
            </a:r>
            <a:r>
              <a:rPr lang="de-DE" dirty="0" err="1" smtClean="0"/>
              <a:t>exhibits</a:t>
            </a:r>
            <a:r>
              <a:rPr lang="de-DE" dirty="0" smtClean="0"/>
              <a:t> </a:t>
            </a:r>
            <a:r>
              <a:rPr lang="de-DE" dirty="0" err="1" smtClean="0"/>
              <a:t>confinement</a:t>
            </a:r>
            <a:r>
              <a:rPr lang="de-DE" dirty="0" smtClean="0"/>
              <a:t> </a:t>
            </a:r>
            <a:r>
              <a:rPr lang="de-DE" dirty="0" err="1" smtClean="0"/>
              <a:t>gap</a:t>
            </a:r>
            <a:r>
              <a:rPr lang="de-DE" dirty="0" smtClean="0"/>
              <a:t>, </a:t>
            </a:r>
            <a:r>
              <a:rPr lang="de-DE" dirty="0" err="1" smtClean="0"/>
              <a:t>which</a:t>
            </a:r>
            <a:r>
              <a:rPr lang="de-DE" dirty="0" smtClean="0"/>
              <a:t> </a:t>
            </a:r>
            <a:r>
              <a:rPr lang="de-DE" dirty="0" err="1" smtClean="0"/>
              <a:t>is</a:t>
            </a:r>
            <a:r>
              <a:rPr lang="de-DE" dirty="0" smtClean="0"/>
              <a:t> </a:t>
            </a:r>
            <a:r>
              <a:rPr lang="de-DE" dirty="0" err="1" smtClean="0"/>
              <a:t>possibly</a:t>
            </a:r>
            <a:r>
              <a:rPr lang="de-DE" dirty="0" smtClean="0"/>
              <a:t> </a:t>
            </a:r>
            <a:r>
              <a:rPr lang="de-DE" dirty="0" err="1" smtClean="0"/>
              <a:t>related</a:t>
            </a:r>
            <a:r>
              <a:rPr lang="de-DE" dirty="0" smtClean="0"/>
              <a:t> </a:t>
            </a:r>
            <a:r>
              <a:rPr lang="de-DE" dirty="0" err="1" smtClean="0"/>
              <a:t>to</a:t>
            </a:r>
            <a:r>
              <a:rPr lang="de-DE" dirty="0" smtClean="0"/>
              <a:t> flat n</a:t>
            </a:r>
            <a:r>
              <a:rPr lang="de-DE" baseline="-25000" dirty="0" smtClean="0"/>
              <a:t>e</a:t>
            </a:r>
            <a:r>
              <a:rPr lang="de-DE" dirty="0" smtClean="0"/>
              <a:t>-</a:t>
            </a:r>
            <a:r>
              <a:rPr lang="de-DE" dirty="0" err="1" smtClean="0"/>
              <a:t>profiles</a:t>
            </a:r>
            <a:endParaRPr lang="de-DE" dirty="0" smtClean="0"/>
          </a:p>
          <a:p>
            <a:pPr marL="642938" lvl="4" indent="-285750"/>
            <a:r>
              <a:rPr lang="de-DE" dirty="0" smtClean="0"/>
              <a:t>Edge </a:t>
            </a:r>
            <a:r>
              <a:rPr lang="de-DE" dirty="0" err="1" smtClean="0"/>
              <a:t>stability</a:t>
            </a:r>
            <a:r>
              <a:rPr lang="de-DE" dirty="0" smtClean="0"/>
              <a:t> </a:t>
            </a:r>
            <a:r>
              <a:rPr lang="de-DE" dirty="0" err="1" smtClean="0"/>
              <a:t>of</a:t>
            </a:r>
            <a:r>
              <a:rPr lang="de-DE" dirty="0" smtClean="0"/>
              <a:t> ITER BL (</a:t>
            </a:r>
            <a:r>
              <a:rPr lang="de-DE" dirty="0" err="1" smtClean="0"/>
              <a:t>and</a:t>
            </a:r>
            <a:r>
              <a:rPr lang="de-DE" dirty="0" smtClean="0"/>
              <a:t> </a:t>
            </a:r>
            <a:r>
              <a:rPr lang="de-DE" dirty="0" err="1" smtClean="0"/>
              <a:t>slightly</a:t>
            </a:r>
            <a:r>
              <a:rPr lang="de-DE" dirty="0" smtClean="0"/>
              <a:t> </a:t>
            </a:r>
            <a:r>
              <a:rPr lang="de-DE" dirty="0" err="1" smtClean="0">
                <a:latin typeface="Symbol" panose="05050102010706020507" pitchFamily="18" charset="2"/>
              </a:rPr>
              <a:t>t</a:t>
            </a:r>
            <a:r>
              <a:rPr lang="de-DE" baseline="-25000" dirty="0" err="1" smtClean="0"/>
              <a:t>E</a:t>
            </a:r>
            <a:r>
              <a:rPr lang="de-DE" dirty="0" smtClean="0"/>
              <a:t>) </a:t>
            </a:r>
            <a:r>
              <a:rPr lang="de-DE" dirty="0" err="1" smtClean="0"/>
              <a:t>improves</a:t>
            </a:r>
            <a:r>
              <a:rPr lang="de-DE" dirty="0" smtClean="0"/>
              <a:t> </a:t>
            </a:r>
            <a:r>
              <a:rPr lang="de-DE" dirty="0" err="1" smtClean="0"/>
              <a:t>when</a:t>
            </a:r>
            <a:r>
              <a:rPr lang="de-DE" dirty="0" smtClean="0"/>
              <a:t> </a:t>
            </a:r>
            <a:r>
              <a:rPr lang="de-DE" dirty="0" err="1" smtClean="0"/>
              <a:t>entering</a:t>
            </a:r>
            <a:r>
              <a:rPr lang="de-DE" dirty="0" smtClean="0"/>
              <a:t> a </a:t>
            </a:r>
            <a:r>
              <a:rPr lang="de-DE" dirty="0" err="1" smtClean="0"/>
              <a:t>small</a:t>
            </a:r>
            <a:r>
              <a:rPr lang="de-DE" dirty="0" smtClean="0"/>
              <a:t> ELM </a:t>
            </a:r>
            <a:r>
              <a:rPr lang="de-DE" dirty="0" err="1" smtClean="0"/>
              <a:t>regime</a:t>
            </a:r>
            <a:r>
              <a:rPr lang="de-DE" dirty="0" smtClean="0"/>
              <a:t> (QCE/EDA)</a:t>
            </a:r>
          </a:p>
          <a:p>
            <a:pPr marL="642938" lvl="4" indent="-285750"/>
            <a:endParaRPr lang="de-DE" dirty="0"/>
          </a:p>
          <a:p>
            <a:pPr marL="642938" lvl="4" indent="-285750"/>
            <a:r>
              <a:rPr lang="de-DE" b="1" dirty="0" smtClean="0"/>
              <a:t>Low </a:t>
            </a:r>
            <a:r>
              <a:rPr lang="de-DE" b="1" dirty="0" err="1" smtClean="0"/>
              <a:t>density</a:t>
            </a:r>
            <a:r>
              <a:rPr lang="de-DE" b="1" dirty="0" smtClean="0"/>
              <a:t> </a:t>
            </a:r>
            <a:r>
              <a:rPr lang="de-DE" b="1" dirty="0" err="1" smtClean="0"/>
              <a:t>scenarios</a:t>
            </a:r>
            <a:r>
              <a:rPr lang="de-DE" b="1" dirty="0" smtClean="0"/>
              <a:t> </a:t>
            </a:r>
            <a:r>
              <a:rPr lang="de-DE" dirty="0" err="1" smtClean="0"/>
              <a:t>require</a:t>
            </a:r>
            <a:r>
              <a:rPr lang="de-DE" dirty="0" smtClean="0"/>
              <a:t> </a:t>
            </a:r>
            <a:r>
              <a:rPr lang="de-DE" dirty="0" err="1" smtClean="0"/>
              <a:t>consideration</a:t>
            </a:r>
            <a:r>
              <a:rPr lang="de-DE" dirty="0" smtClean="0"/>
              <a:t> </a:t>
            </a:r>
            <a:r>
              <a:rPr lang="de-DE" dirty="0" err="1" smtClean="0"/>
              <a:t>of</a:t>
            </a:r>
            <a:r>
              <a:rPr lang="de-DE" dirty="0" smtClean="0"/>
              <a:t> W-</a:t>
            </a:r>
            <a:r>
              <a:rPr lang="de-DE" dirty="0" err="1" smtClean="0"/>
              <a:t>control</a:t>
            </a:r>
            <a:r>
              <a:rPr lang="de-DE" dirty="0" smtClean="0"/>
              <a:t>, </a:t>
            </a:r>
            <a:r>
              <a:rPr lang="de-DE" dirty="0" err="1" smtClean="0"/>
              <a:t>which</a:t>
            </a:r>
            <a:r>
              <a:rPr lang="de-DE" dirty="0" smtClean="0"/>
              <a:t> </a:t>
            </a:r>
            <a:r>
              <a:rPr lang="de-DE" dirty="0" err="1" smtClean="0"/>
              <a:t>potentially</a:t>
            </a:r>
            <a:r>
              <a:rPr lang="de-DE" dirty="0" smtClean="0"/>
              <a:t> </a:t>
            </a:r>
            <a:r>
              <a:rPr lang="de-DE" dirty="0" err="1" smtClean="0"/>
              <a:t>affects</a:t>
            </a:r>
            <a:r>
              <a:rPr lang="de-DE" dirty="0" smtClean="0"/>
              <a:t> </a:t>
            </a:r>
            <a:r>
              <a:rPr lang="de-DE" dirty="0" err="1" smtClean="0"/>
              <a:t>confinement</a:t>
            </a:r>
            <a:endParaRPr lang="de-DE" dirty="0"/>
          </a:p>
          <a:p>
            <a:pPr marL="642938" lvl="4" indent="-285750"/>
            <a:r>
              <a:rPr lang="de-DE" dirty="0" err="1" smtClean="0"/>
              <a:t>Nevertheless</a:t>
            </a:r>
            <a:r>
              <a:rPr lang="de-DE" dirty="0" smtClean="0"/>
              <a:t> high </a:t>
            </a:r>
            <a:r>
              <a:rPr lang="de-DE" dirty="0" err="1" smtClean="0"/>
              <a:t>confinement</a:t>
            </a:r>
            <a:r>
              <a:rPr lang="de-DE" dirty="0" smtClean="0"/>
              <a:t> </a:t>
            </a:r>
            <a:r>
              <a:rPr lang="de-DE" dirty="0" err="1" smtClean="0"/>
              <a:t>improved</a:t>
            </a:r>
            <a:r>
              <a:rPr lang="de-DE" dirty="0" smtClean="0"/>
              <a:t> H-</a:t>
            </a:r>
            <a:r>
              <a:rPr lang="de-DE" dirty="0" err="1" smtClean="0"/>
              <a:t>modes</a:t>
            </a:r>
            <a:r>
              <a:rPr lang="de-DE" dirty="0" smtClean="0"/>
              <a:t> </a:t>
            </a:r>
            <a:r>
              <a:rPr lang="de-DE" dirty="0" err="1" smtClean="0"/>
              <a:t>and</a:t>
            </a:r>
            <a:r>
              <a:rPr lang="de-DE" dirty="0" smtClean="0"/>
              <a:t> </a:t>
            </a:r>
            <a:r>
              <a:rPr lang="de-DE" dirty="0" err="1" smtClean="0"/>
              <a:t>advanced</a:t>
            </a:r>
            <a:r>
              <a:rPr lang="de-DE" dirty="0" smtClean="0"/>
              <a:t> </a:t>
            </a:r>
            <a:r>
              <a:rPr lang="de-DE" dirty="0" err="1" smtClean="0"/>
              <a:t>scenarios</a:t>
            </a:r>
            <a:r>
              <a:rPr lang="de-DE" dirty="0" smtClean="0"/>
              <a:t> </a:t>
            </a:r>
            <a:r>
              <a:rPr lang="de-DE" dirty="0" err="1" smtClean="0"/>
              <a:t>demonstrated</a:t>
            </a:r>
            <a:r>
              <a:rPr lang="de-DE" dirty="0" smtClean="0"/>
              <a:t> also </a:t>
            </a:r>
            <a:r>
              <a:rPr lang="de-DE" dirty="0" err="1" smtClean="0"/>
              <a:t>two</a:t>
            </a:r>
            <a:r>
              <a:rPr lang="de-DE" dirty="0" smtClean="0"/>
              <a:t> </a:t>
            </a:r>
            <a:r>
              <a:rPr lang="de-DE" dirty="0" err="1" smtClean="0"/>
              <a:t>weeks</a:t>
            </a:r>
            <a:r>
              <a:rPr lang="de-DE" dirty="0" smtClean="0"/>
              <a:t> after </a:t>
            </a:r>
            <a:r>
              <a:rPr lang="de-DE" dirty="0" err="1" smtClean="0"/>
              <a:t>boronization</a:t>
            </a:r>
            <a:endParaRPr lang="de-DE" dirty="0" smtClean="0"/>
          </a:p>
          <a:p>
            <a:pPr marL="642938" lvl="4" indent="-285750"/>
            <a:r>
              <a:rPr lang="de-DE" dirty="0" smtClean="0"/>
              <a:t>QH </a:t>
            </a:r>
            <a:r>
              <a:rPr lang="de-DE" dirty="0" err="1" smtClean="0"/>
              <a:t>and</a:t>
            </a:r>
            <a:r>
              <a:rPr lang="de-DE" dirty="0" smtClean="0"/>
              <a:t> RMP ELM-suppression </a:t>
            </a:r>
            <a:r>
              <a:rPr lang="de-DE" dirty="0" err="1" smtClean="0"/>
              <a:t>only</a:t>
            </a:r>
            <a:r>
              <a:rPr lang="de-DE" dirty="0" smtClean="0"/>
              <a:t> </a:t>
            </a:r>
            <a:r>
              <a:rPr lang="de-DE" dirty="0" err="1" smtClean="0"/>
              <a:t>possible</a:t>
            </a:r>
            <a:r>
              <a:rPr lang="de-DE" dirty="0" smtClean="0"/>
              <a:t> in AUG </a:t>
            </a:r>
            <a:r>
              <a:rPr lang="de-DE" dirty="0" err="1" smtClean="0"/>
              <a:t>with</a:t>
            </a:r>
            <a:r>
              <a:rPr lang="de-DE" dirty="0" smtClean="0"/>
              <a:t> </a:t>
            </a:r>
            <a:r>
              <a:rPr lang="de-DE" dirty="0" err="1" smtClean="0"/>
              <a:t>boronization</a:t>
            </a:r>
            <a:endParaRPr lang="de-DE" dirty="0" smtClean="0"/>
          </a:p>
          <a:p>
            <a:pPr marL="642938" lvl="4" indent="-285750"/>
            <a:endParaRPr lang="de-DE" dirty="0"/>
          </a:p>
          <a:p>
            <a:pPr marL="285750" indent="-285750">
              <a:buFont typeface="Arial" panose="020B0604020202020204" pitchFamily="34" charset="0"/>
              <a:buChar char="•"/>
            </a:pPr>
            <a:endParaRPr lang="en-US" dirty="0"/>
          </a:p>
        </p:txBody>
      </p:sp>
      <p:sp>
        <p:nvSpPr>
          <p:cNvPr id="8" name="Textfeld 7"/>
          <p:cNvSpPr txBox="1"/>
          <p:nvPr/>
        </p:nvSpPr>
        <p:spPr>
          <a:xfrm>
            <a:off x="6159105" y="6257854"/>
            <a:ext cx="5336269"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Thomas Pütterich – Hybrid &amp; </a:t>
            </a:r>
            <a:r>
              <a:rPr lang="de-DE" sz="1600" dirty="0" err="1" smtClean="0"/>
              <a:t>baseline</a:t>
            </a:r>
            <a:r>
              <a:rPr lang="de-DE" sz="1600" dirty="0" smtClean="0"/>
              <a:t> </a:t>
            </a:r>
            <a:r>
              <a:rPr lang="de-DE" sz="1600" dirty="0" err="1" smtClean="0"/>
              <a:t>scenarios</a:t>
            </a:r>
            <a:r>
              <a:rPr lang="de-DE" sz="1600" dirty="0" smtClean="0"/>
              <a:t> </a:t>
            </a:r>
            <a:r>
              <a:rPr lang="de-DE" sz="1600" dirty="0" err="1" smtClean="0"/>
              <a:t>from</a:t>
            </a:r>
            <a:r>
              <a:rPr lang="de-DE" sz="1600" dirty="0" smtClean="0"/>
              <a:t> AUG</a:t>
            </a:r>
            <a:endParaRPr lang="de-DE" sz="1600" dirty="0" smtClean="0"/>
          </a:p>
        </p:txBody>
      </p:sp>
    </p:spTree>
    <p:extLst>
      <p:ext uri="{BB962C8B-B14F-4D97-AF65-F5344CB8AC3E}">
        <p14:creationId xmlns:p14="http://schemas.microsoft.com/office/powerpoint/2010/main" val="170310533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69574" y="874233"/>
            <a:ext cx="12122426" cy="4772024"/>
          </a:xfrm>
        </p:spPr>
        <p:txBody>
          <a:bodyPr lIns="216000">
            <a:noAutofit/>
          </a:bodyPr>
          <a:lstStyle/>
          <a:p>
            <a:pPr marL="0" lvl="4" indent="-285750">
              <a:spcBef>
                <a:spcPts val="0"/>
              </a:spcBef>
            </a:pPr>
            <a:r>
              <a:rPr lang="de-DE" dirty="0" err="1" smtClean="0"/>
              <a:t>Many</a:t>
            </a:r>
            <a:r>
              <a:rPr lang="de-DE" dirty="0" smtClean="0"/>
              <a:t> </a:t>
            </a:r>
            <a:r>
              <a:rPr lang="de-DE" b="1" dirty="0" err="1" smtClean="0"/>
              <a:t>observations</a:t>
            </a:r>
            <a:r>
              <a:rPr lang="de-DE" b="1" dirty="0" smtClean="0"/>
              <a:t> in type-I </a:t>
            </a:r>
            <a:r>
              <a:rPr lang="de-DE" b="1" dirty="0" err="1" smtClean="0"/>
              <a:t>ELMy</a:t>
            </a:r>
            <a:r>
              <a:rPr lang="de-DE" b="1" dirty="0" smtClean="0"/>
              <a:t> H-mode</a:t>
            </a:r>
            <a:r>
              <a:rPr lang="de-DE" dirty="0" smtClean="0"/>
              <a:t>, </a:t>
            </a:r>
            <a:r>
              <a:rPr lang="de-DE" dirty="0" err="1" smtClean="0"/>
              <a:t>including</a:t>
            </a:r>
            <a:r>
              <a:rPr lang="de-DE" dirty="0" smtClean="0"/>
              <a:t> </a:t>
            </a:r>
            <a:r>
              <a:rPr lang="de-DE" dirty="0" err="1" smtClean="0"/>
              <a:t>edge</a:t>
            </a:r>
            <a:r>
              <a:rPr lang="de-DE" dirty="0" smtClean="0"/>
              <a:t> </a:t>
            </a:r>
            <a:r>
              <a:rPr lang="de-DE" dirty="0" err="1" smtClean="0"/>
              <a:t>transport</a:t>
            </a:r>
            <a:r>
              <a:rPr lang="de-DE" dirty="0" smtClean="0"/>
              <a:t> </a:t>
            </a:r>
            <a:r>
              <a:rPr lang="de-DE" dirty="0" err="1" smtClean="0"/>
              <a:t>and</a:t>
            </a:r>
            <a:r>
              <a:rPr lang="de-DE" dirty="0" smtClean="0"/>
              <a:t> </a:t>
            </a:r>
            <a:r>
              <a:rPr lang="de-DE" dirty="0" err="1" smtClean="0"/>
              <a:t>erosion</a:t>
            </a:r>
            <a:endParaRPr lang="de-DE" dirty="0" smtClean="0"/>
          </a:p>
          <a:p>
            <a:pPr marL="0" lvl="4" indent="-285750">
              <a:spcBef>
                <a:spcPts val="0"/>
              </a:spcBef>
            </a:pPr>
            <a:endParaRPr lang="de-DE" b="1" dirty="0" smtClean="0"/>
          </a:p>
          <a:p>
            <a:pPr marL="0" lvl="4" indent="-285750">
              <a:spcBef>
                <a:spcPts val="0"/>
              </a:spcBef>
            </a:pPr>
            <a:r>
              <a:rPr lang="de-DE" b="1" dirty="0" err="1" smtClean="0"/>
              <a:t>Does</a:t>
            </a:r>
            <a:r>
              <a:rPr lang="de-DE" b="1" dirty="0" smtClean="0"/>
              <a:t> </a:t>
            </a:r>
            <a:r>
              <a:rPr lang="de-DE" b="1" dirty="0" err="1" smtClean="0"/>
              <a:t>neoclassical</a:t>
            </a:r>
            <a:r>
              <a:rPr lang="de-DE" b="1" dirty="0" smtClean="0"/>
              <a:t> </a:t>
            </a:r>
            <a:r>
              <a:rPr lang="de-DE" b="1" dirty="0" err="1" smtClean="0"/>
              <a:t>pedestal</a:t>
            </a:r>
            <a:r>
              <a:rPr lang="de-DE" b="1" dirty="0" smtClean="0"/>
              <a:t> </a:t>
            </a:r>
            <a:r>
              <a:rPr lang="de-DE" b="1" dirty="0" err="1" smtClean="0"/>
              <a:t>transport</a:t>
            </a:r>
            <a:r>
              <a:rPr lang="de-DE" b="1" dirty="0" smtClean="0"/>
              <a:t> </a:t>
            </a:r>
            <a:r>
              <a:rPr lang="de-DE" b="1" dirty="0" err="1" smtClean="0"/>
              <a:t>extrapolate</a:t>
            </a:r>
            <a:r>
              <a:rPr lang="de-DE" b="1" dirty="0" smtClean="0"/>
              <a:t> </a:t>
            </a:r>
            <a:r>
              <a:rPr lang="de-DE" b="1" dirty="0" err="1" smtClean="0"/>
              <a:t>to</a:t>
            </a:r>
            <a:r>
              <a:rPr lang="de-DE" b="1" dirty="0" smtClean="0"/>
              <a:t> ITER/DEMO?</a:t>
            </a:r>
          </a:p>
          <a:p>
            <a:pPr marL="0" lvl="4" indent="-285750">
              <a:spcBef>
                <a:spcPts val="0"/>
              </a:spcBef>
            </a:pPr>
            <a:endParaRPr lang="de-DE" b="1" dirty="0" smtClean="0"/>
          </a:p>
          <a:p>
            <a:pPr marL="0" lvl="4" indent="-285750">
              <a:spcBef>
                <a:spcPts val="0"/>
              </a:spcBef>
            </a:pPr>
            <a:r>
              <a:rPr lang="de-DE" b="1" dirty="0" smtClean="0"/>
              <a:t>RMPs </a:t>
            </a:r>
            <a:r>
              <a:rPr lang="de-DE" b="1" dirty="0" err="1" smtClean="0"/>
              <a:t>and</a:t>
            </a:r>
            <a:r>
              <a:rPr lang="de-DE" b="1" dirty="0" smtClean="0"/>
              <a:t> QH-</a:t>
            </a:r>
            <a:r>
              <a:rPr lang="de-DE" b="1" dirty="0" err="1" smtClean="0"/>
              <a:t>modes</a:t>
            </a:r>
            <a:r>
              <a:rPr lang="de-DE" b="1" dirty="0" smtClean="0"/>
              <a:t> in AUG at </a:t>
            </a:r>
            <a:r>
              <a:rPr lang="de-DE" b="1" dirty="0" err="1" smtClean="0"/>
              <a:t>extremely</a:t>
            </a:r>
            <a:r>
              <a:rPr lang="de-DE" b="1" dirty="0" smtClean="0"/>
              <a:t> </a:t>
            </a:r>
            <a:r>
              <a:rPr lang="de-DE" b="1" dirty="0" err="1" smtClean="0"/>
              <a:t>low</a:t>
            </a:r>
            <a:r>
              <a:rPr lang="de-DE" b="1" dirty="0" smtClean="0"/>
              <a:t> n</a:t>
            </a:r>
            <a:r>
              <a:rPr lang="de-DE" b="1" baseline="-25000" dirty="0" smtClean="0"/>
              <a:t>e</a:t>
            </a:r>
            <a:r>
              <a:rPr lang="de-DE" b="1" dirty="0" smtClean="0"/>
              <a:t> </a:t>
            </a:r>
            <a:r>
              <a:rPr lang="en-DE" dirty="0" smtClean="0"/>
              <a:t>–</a:t>
            </a:r>
            <a:r>
              <a:rPr lang="de-DE" dirty="0" smtClean="0"/>
              <a:t> In ITER high SOL/</a:t>
            </a:r>
            <a:r>
              <a:rPr lang="de-DE" dirty="0" err="1" smtClean="0"/>
              <a:t>divertor</a:t>
            </a:r>
            <a:r>
              <a:rPr lang="de-DE" dirty="0" smtClean="0"/>
              <a:t> n</a:t>
            </a:r>
            <a:r>
              <a:rPr lang="de-DE" baseline="-25000" dirty="0" smtClean="0"/>
              <a:t>e</a:t>
            </a:r>
            <a:r>
              <a:rPr lang="de-DE" dirty="0"/>
              <a:t> </a:t>
            </a:r>
          </a:p>
          <a:p>
            <a:pPr marL="715963" lvl="5" indent="-358775">
              <a:spcBef>
                <a:spcPts val="0"/>
              </a:spcBef>
            </a:pPr>
            <a:r>
              <a:rPr lang="de-DE" dirty="0" smtClean="0"/>
              <a:t>In AUG: </a:t>
            </a:r>
            <a:r>
              <a:rPr lang="de-DE" dirty="0" err="1" smtClean="0"/>
              <a:t>coverage</a:t>
            </a:r>
            <a:r>
              <a:rPr lang="de-DE" dirty="0" smtClean="0"/>
              <a:t> </a:t>
            </a:r>
            <a:r>
              <a:rPr lang="de-DE" dirty="0" err="1" smtClean="0"/>
              <a:t>with</a:t>
            </a:r>
            <a:r>
              <a:rPr lang="de-DE" dirty="0" smtClean="0"/>
              <a:t> B </a:t>
            </a:r>
            <a:r>
              <a:rPr lang="de-DE" dirty="0" err="1" smtClean="0"/>
              <a:t>necessary</a:t>
            </a:r>
            <a:endParaRPr lang="de-DE" dirty="0" smtClean="0"/>
          </a:p>
          <a:p>
            <a:pPr marL="715963" lvl="5" indent="-358775">
              <a:spcBef>
                <a:spcPts val="0"/>
              </a:spcBef>
            </a:pPr>
            <a:r>
              <a:rPr lang="de-DE" dirty="0" err="1" smtClean="0"/>
              <a:t>Probably</a:t>
            </a:r>
            <a:r>
              <a:rPr lang="de-DE" dirty="0" smtClean="0"/>
              <a:t> </a:t>
            </a:r>
            <a:r>
              <a:rPr lang="de-DE" dirty="0" err="1" smtClean="0"/>
              <a:t>no</a:t>
            </a:r>
            <a:r>
              <a:rPr lang="de-DE" dirty="0" smtClean="0"/>
              <a:t> </a:t>
            </a:r>
            <a:r>
              <a:rPr lang="de-DE" dirty="0" err="1" smtClean="0"/>
              <a:t>problem</a:t>
            </a:r>
            <a:r>
              <a:rPr lang="de-DE" dirty="0" smtClean="0"/>
              <a:t> in ITER/DEMO </a:t>
            </a:r>
            <a:r>
              <a:rPr lang="de-DE" dirty="0" err="1" smtClean="0"/>
              <a:t>as</a:t>
            </a:r>
            <a:r>
              <a:rPr lang="de-DE" dirty="0" smtClean="0"/>
              <a:t> </a:t>
            </a:r>
            <a:r>
              <a:rPr lang="de-DE" dirty="0" err="1" smtClean="0"/>
              <a:t>edge</a:t>
            </a:r>
            <a:r>
              <a:rPr lang="de-DE" dirty="0" smtClean="0"/>
              <a:t> must </a:t>
            </a:r>
            <a:r>
              <a:rPr lang="de-DE" dirty="0" err="1" smtClean="0"/>
              <a:t>have</a:t>
            </a:r>
            <a:r>
              <a:rPr lang="de-DE" dirty="0" smtClean="0"/>
              <a:t> high n</a:t>
            </a:r>
            <a:r>
              <a:rPr lang="de-DE" baseline="-25000" dirty="0" smtClean="0"/>
              <a:t>e</a:t>
            </a:r>
          </a:p>
          <a:p>
            <a:pPr marL="0" lvl="4" indent="-285750">
              <a:spcBef>
                <a:spcPts val="0"/>
              </a:spcBef>
            </a:pPr>
            <a:endParaRPr lang="de-DE" dirty="0" smtClean="0"/>
          </a:p>
          <a:p>
            <a:pPr marL="0" lvl="4" indent="-285750">
              <a:spcBef>
                <a:spcPts val="0"/>
              </a:spcBef>
            </a:pPr>
            <a:r>
              <a:rPr lang="de-DE" b="1" dirty="0" smtClean="0"/>
              <a:t>QCE / EDA / high </a:t>
            </a:r>
            <a:r>
              <a:rPr lang="de-DE" b="1" dirty="0" err="1" smtClean="0"/>
              <a:t>radiation</a:t>
            </a:r>
            <a:r>
              <a:rPr lang="de-DE" b="1" dirty="0" smtClean="0"/>
              <a:t> </a:t>
            </a:r>
            <a:r>
              <a:rPr lang="de-DE" b="1" dirty="0" err="1" smtClean="0"/>
              <a:t>scenarios</a:t>
            </a:r>
            <a:r>
              <a:rPr lang="de-DE" b="1" dirty="0" smtClean="0"/>
              <a:t> at high n</a:t>
            </a:r>
            <a:r>
              <a:rPr lang="de-DE" b="1" baseline="-25000" dirty="0" smtClean="0"/>
              <a:t>e </a:t>
            </a:r>
            <a:r>
              <a:rPr lang="de-DE" dirty="0" smtClean="0"/>
              <a:t>(high </a:t>
            </a:r>
            <a:r>
              <a:rPr lang="de-DE" dirty="0" err="1" smtClean="0"/>
              <a:t>collisionality</a:t>
            </a:r>
            <a:r>
              <a:rPr lang="de-DE" dirty="0" smtClean="0"/>
              <a:t>):</a:t>
            </a:r>
          </a:p>
          <a:p>
            <a:pPr marL="715963" lvl="5" indent="-358775">
              <a:spcBef>
                <a:spcPts val="0"/>
              </a:spcBef>
            </a:pPr>
            <a:r>
              <a:rPr lang="de-DE" dirty="0" err="1" smtClean="0"/>
              <a:t>Probably</a:t>
            </a:r>
            <a:r>
              <a:rPr lang="de-DE" dirty="0" smtClean="0"/>
              <a:t> </a:t>
            </a:r>
            <a:r>
              <a:rPr lang="de-DE" dirty="0" err="1" smtClean="0"/>
              <a:t>scale</a:t>
            </a:r>
            <a:r>
              <a:rPr lang="de-DE" dirty="0" smtClean="0"/>
              <a:t> </a:t>
            </a:r>
            <a:r>
              <a:rPr lang="de-DE" dirty="0" err="1" smtClean="0"/>
              <a:t>to</a:t>
            </a:r>
            <a:r>
              <a:rPr lang="de-DE" dirty="0" smtClean="0"/>
              <a:t> ITER/DEMO </a:t>
            </a:r>
            <a:r>
              <a:rPr lang="de-DE" dirty="0" err="1" smtClean="0"/>
              <a:t>as</a:t>
            </a:r>
            <a:r>
              <a:rPr lang="de-DE" dirty="0" smtClean="0"/>
              <a:t> </a:t>
            </a:r>
            <a:r>
              <a:rPr lang="de-DE" dirty="0" err="1" smtClean="0"/>
              <a:t>separatrix</a:t>
            </a:r>
            <a:r>
              <a:rPr lang="de-DE" dirty="0" smtClean="0"/>
              <a:t> </a:t>
            </a:r>
            <a:r>
              <a:rPr lang="de-DE" dirty="0" err="1" smtClean="0"/>
              <a:t>values</a:t>
            </a:r>
            <a:r>
              <a:rPr lang="de-DE" dirty="0" smtClean="0"/>
              <a:t> </a:t>
            </a:r>
            <a:r>
              <a:rPr lang="de-DE" dirty="0" err="1" smtClean="0"/>
              <a:t>seem</a:t>
            </a:r>
            <a:r>
              <a:rPr lang="de-DE" dirty="0" smtClean="0"/>
              <a:t> </a:t>
            </a:r>
            <a:r>
              <a:rPr lang="de-DE" dirty="0" err="1" smtClean="0"/>
              <a:t>important</a:t>
            </a:r>
            <a:r>
              <a:rPr lang="de-DE" dirty="0"/>
              <a:t> </a:t>
            </a:r>
            <a:r>
              <a:rPr lang="de-DE" dirty="0" smtClean="0"/>
              <a:t>(but </a:t>
            </a:r>
            <a:r>
              <a:rPr lang="de-DE" dirty="0" err="1" smtClean="0"/>
              <a:t>pedestal</a:t>
            </a:r>
            <a:r>
              <a:rPr lang="de-DE" dirty="0" smtClean="0"/>
              <a:t> at different </a:t>
            </a:r>
            <a:r>
              <a:rPr lang="de-DE" dirty="0" smtClean="0">
                <a:latin typeface="Symbol" panose="05050102010706020507" pitchFamily="18" charset="2"/>
              </a:rPr>
              <a:t>n</a:t>
            </a:r>
            <a:r>
              <a:rPr lang="de-DE" dirty="0" smtClean="0"/>
              <a:t>*)</a:t>
            </a:r>
          </a:p>
          <a:p>
            <a:pPr marL="0" lvl="3" indent="-358775">
              <a:spcBef>
                <a:spcPts val="0"/>
              </a:spcBef>
            </a:pPr>
            <a:endParaRPr lang="de-DE" dirty="0" smtClean="0"/>
          </a:p>
          <a:p>
            <a:pPr marL="0" lvl="3" indent="-358775">
              <a:spcBef>
                <a:spcPts val="0"/>
              </a:spcBef>
            </a:pPr>
            <a:r>
              <a:rPr lang="de-DE" b="1" dirty="0" err="1" smtClean="0"/>
              <a:t>Confinement</a:t>
            </a:r>
            <a:r>
              <a:rPr lang="de-DE" b="1" dirty="0" smtClean="0"/>
              <a:t> Gap </a:t>
            </a:r>
            <a:r>
              <a:rPr lang="de-DE" b="1" dirty="0" err="1" smtClean="0"/>
              <a:t>for</a:t>
            </a:r>
            <a:r>
              <a:rPr lang="de-DE" b="1" dirty="0" smtClean="0"/>
              <a:t> ITER BL in AUG </a:t>
            </a:r>
            <a:r>
              <a:rPr lang="de-DE" dirty="0" err="1" smtClean="0"/>
              <a:t>possibly</a:t>
            </a:r>
            <a:r>
              <a:rPr lang="de-DE" dirty="0" smtClean="0"/>
              <a:t> </a:t>
            </a:r>
            <a:r>
              <a:rPr lang="de-DE" dirty="0" err="1" smtClean="0"/>
              <a:t>disappears</a:t>
            </a:r>
            <a:r>
              <a:rPr lang="de-DE" dirty="0" smtClean="0"/>
              <a:t> in ITER </a:t>
            </a:r>
            <a:r>
              <a:rPr lang="de-DE" dirty="0" err="1" smtClean="0"/>
              <a:t>as</a:t>
            </a:r>
            <a:r>
              <a:rPr lang="de-DE" dirty="0" smtClean="0"/>
              <a:t> high n</a:t>
            </a:r>
            <a:r>
              <a:rPr lang="de-DE" baseline="-25000" dirty="0" smtClean="0"/>
              <a:t>e</a:t>
            </a:r>
            <a:r>
              <a:rPr lang="de-DE" dirty="0" smtClean="0"/>
              <a:t> </a:t>
            </a:r>
            <a:r>
              <a:rPr lang="de-DE" dirty="0" err="1" smtClean="0"/>
              <a:t>edge</a:t>
            </a:r>
            <a:r>
              <a:rPr lang="de-DE" dirty="0" smtClean="0"/>
              <a:t> </a:t>
            </a:r>
            <a:r>
              <a:rPr lang="de-DE" dirty="0" err="1" smtClean="0"/>
              <a:t>combines</a:t>
            </a:r>
            <a:r>
              <a:rPr lang="de-DE" dirty="0" smtClean="0"/>
              <a:t> </a:t>
            </a:r>
            <a:r>
              <a:rPr lang="de-DE" dirty="0" err="1" smtClean="0"/>
              <a:t>with</a:t>
            </a:r>
            <a:r>
              <a:rPr lang="de-DE" dirty="0" smtClean="0"/>
              <a:t> </a:t>
            </a:r>
            <a:r>
              <a:rPr lang="de-DE" dirty="0" err="1" smtClean="0"/>
              <a:t>low</a:t>
            </a:r>
            <a:r>
              <a:rPr lang="de-DE" dirty="0" smtClean="0"/>
              <a:t> </a:t>
            </a:r>
            <a:r>
              <a:rPr lang="de-DE" dirty="0" smtClean="0">
                <a:latin typeface="Symbol" panose="05050102010706020507" pitchFamily="18" charset="2"/>
              </a:rPr>
              <a:t>n</a:t>
            </a:r>
            <a:r>
              <a:rPr lang="de-DE" dirty="0" smtClean="0"/>
              <a:t>*</a:t>
            </a:r>
          </a:p>
          <a:p>
            <a:pPr marL="0" lvl="3" indent="-358775">
              <a:spcAft>
                <a:spcPts val="600"/>
              </a:spcAft>
            </a:pPr>
            <a:endParaRPr lang="de-DE" dirty="0" smtClean="0"/>
          </a:p>
          <a:p>
            <a:pPr marL="0" lvl="4" indent="-285750">
              <a:spcAft>
                <a:spcPts val="600"/>
              </a:spcAft>
            </a:pPr>
            <a:endParaRPr lang="de-DE" dirty="0"/>
          </a:p>
          <a:p>
            <a:pPr marL="285750" indent="-285750">
              <a:buFont typeface="Arial" panose="020B0604020202020204" pitchFamily="34" charset="0"/>
              <a:buChar char="•"/>
            </a:pPr>
            <a:endParaRPr lang="en-US" dirty="0"/>
          </a:p>
        </p:txBody>
      </p:sp>
      <p:sp>
        <p:nvSpPr>
          <p:cNvPr id="3" name="Title 2"/>
          <p:cNvSpPr>
            <a:spLocks noGrp="1"/>
          </p:cNvSpPr>
          <p:nvPr>
            <p:ph type="title"/>
          </p:nvPr>
        </p:nvSpPr>
        <p:spPr>
          <a:xfrm>
            <a:off x="307700" y="208866"/>
            <a:ext cx="9576471" cy="894416"/>
          </a:xfrm>
        </p:spPr>
        <p:txBody>
          <a:bodyPr/>
          <a:lstStyle/>
          <a:p>
            <a:r>
              <a:rPr lang="de-DE" dirty="0"/>
              <a:t>W-Control </a:t>
            </a:r>
            <a:r>
              <a:rPr lang="de-DE" dirty="0" err="1"/>
              <a:t>strategies</a:t>
            </a:r>
            <a:r>
              <a:rPr lang="de-DE" dirty="0"/>
              <a:t> </a:t>
            </a:r>
            <a:r>
              <a:rPr lang="de-DE" dirty="0" err="1"/>
              <a:t>are</a:t>
            </a:r>
            <a:r>
              <a:rPr lang="de-DE" dirty="0"/>
              <a:t> </a:t>
            </a:r>
            <a:r>
              <a:rPr lang="de-DE" dirty="0" err="1"/>
              <a:t>difficult</a:t>
            </a:r>
            <a:r>
              <a:rPr lang="de-DE" dirty="0"/>
              <a:t> </a:t>
            </a:r>
            <a:r>
              <a:rPr lang="de-DE" dirty="0" err="1"/>
              <a:t>to</a:t>
            </a:r>
            <a:r>
              <a:rPr lang="de-DE" dirty="0"/>
              <a:t> </a:t>
            </a:r>
            <a:r>
              <a:rPr lang="de-DE" dirty="0" err="1"/>
              <a:t>extrapolate</a:t>
            </a:r>
            <a:r>
              <a:rPr lang="de-DE" dirty="0"/>
              <a:t>, </a:t>
            </a:r>
            <a:r>
              <a:rPr lang="de-DE" dirty="0" err="1"/>
              <a:t>because</a:t>
            </a:r>
            <a:endParaRPr lang="de-DE" dirty="0"/>
          </a:p>
        </p:txBody>
      </p:sp>
      <p:sp>
        <p:nvSpPr>
          <p:cNvPr id="4" name="Date Placeholder 3"/>
          <p:cNvSpPr>
            <a:spLocks noGrp="1"/>
          </p:cNvSpPr>
          <p:nvPr>
            <p:ph type="dt" sz="half" idx="14"/>
          </p:nvPr>
        </p:nvSpPr>
        <p:spPr/>
        <p:txBody>
          <a:bodyPr/>
          <a:lstStyle/>
          <a:p>
            <a:r>
              <a:rPr lang="en-US" smtClean="0"/>
              <a:t>EFPW 2024, Prague</a:t>
            </a:r>
            <a:endParaRPr lang="en-US" dirty="0"/>
          </a:p>
        </p:txBody>
      </p:sp>
      <p:sp>
        <p:nvSpPr>
          <p:cNvPr id="5" name="Footer Placeholder 4"/>
          <p:cNvSpPr>
            <a:spLocks noGrp="1"/>
          </p:cNvSpPr>
          <p:nvPr>
            <p:ph type="ftr" sz="quarter" idx="15"/>
          </p:nvPr>
        </p:nvSpPr>
        <p:spPr/>
        <p:txBody>
          <a:bodyPr/>
          <a:lstStyle/>
          <a:p>
            <a:pPr algn="l">
              <a:tabLst>
                <a:tab pos="9775825" algn="r"/>
                <a:tab pos="10226675" algn="r"/>
              </a:tabLst>
            </a:pPr>
            <a:r>
              <a:rPr lang="de-DE" smtClean="0"/>
              <a:t>Max-Planck-Institut für Plasmaphysik</a:t>
            </a:r>
            <a:endParaRPr lang="de-DE" dirty="0"/>
          </a:p>
        </p:txBody>
      </p:sp>
      <p:sp>
        <p:nvSpPr>
          <p:cNvPr id="6" name="Slide Number Placeholder 5"/>
          <p:cNvSpPr>
            <a:spLocks noGrp="1"/>
          </p:cNvSpPr>
          <p:nvPr>
            <p:ph type="sldNum" sz="quarter" idx="16"/>
          </p:nvPr>
        </p:nvSpPr>
        <p:spPr/>
        <p:txBody>
          <a:bodyPr/>
          <a:lstStyle/>
          <a:p>
            <a:fld id="{3B1A4699-952B-42DA-8DC4-38A59B49610C}" type="slidenum">
              <a:rPr lang="de-DE" smtClean="0"/>
              <a:pPr/>
              <a:t>8</a:t>
            </a:fld>
            <a:endParaRPr lang="de-DE" dirty="0"/>
          </a:p>
        </p:txBody>
      </p:sp>
      <p:sp>
        <p:nvSpPr>
          <p:cNvPr id="7" name="TextBox 6"/>
          <p:cNvSpPr txBox="1"/>
          <p:nvPr/>
        </p:nvSpPr>
        <p:spPr>
          <a:xfrm>
            <a:off x="1470991" y="4979409"/>
            <a:ext cx="9467836" cy="743793"/>
          </a:xfrm>
          <a:prstGeom prst="rect">
            <a:avLst/>
          </a:prstGeom>
          <a:noFill/>
        </p:spPr>
        <p:txBody>
          <a:bodyPr wrap="square" lIns="0" tIns="0" rIns="0" bIns="0" rtlCol="0" anchor="t" anchorCtr="0">
            <a:spAutoFit/>
          </a:bodyPr>
          <a:lstStyle/>
          <a:p>
            <a:pPr algn="ctr">
              <a:lnSpc>
                <a:spcPts val="2300"/>
              </a:lnSpc>
              <a:spcBef>
                <a:spcPts val="1150"/>
              </a:spcBef>
            </a:pPr>
            <a:r>
              <a:rPr lang="de-DE" sz="2000" b="1" dirty="0" err="1" smtClean="0">
                <a:solidFill>
                  <a:srgbClr val="0070C0"/>
                </a:solidFill>
              </a:rPr>
              <a:t>Often</a:t>
            </a:r>
            <a:r>
              <a:rPr lang="de-DE" sz="2000" b="1" dirty="0" smtClean="0">
                <a:solidFill>
                  <a:srgbClr val="0070C0"/>
                </a:solidFill>
              </a:rPr>
              <a:t> </a:t>
            </a:r>
            <a:r>
              <a:rPr lang="de-DE" sz="2000" b="1" dirty="0" err="1" smtClean="0">
                <a:solidFill>
                  <a:srgbClr val="0070C0"/>
                </a:solidFill>
              </a:rPr>
              <a:t>the</a:t>
            </a:r>
            <a:r>
              <a:rPr lang="de-DE" sz="2000" b="1" dirty="0" smtClean="0">
                <a:solidFill>
                  <a:srgbClr val="0070C0"/>
                </a:solidFill>
              </a:rPr>
              <a:t> </a:t>
            </a:r>
            <a:r>
              <a:rPr lang="de-DE" sz="2000" b="1" dirty="0" err="1" smtClean="0">
                <a:solidFill>
                  <a:srgbClr val="0070C0"/>
                </a:solidFill>
              </a:rPr>
              <a:t>uncertainties</a:t>
            </a:r>
            <a:r>
              <a:rPr lang="de-DE" sz="2000" b="1" dirty="0" smtClean="0">
                <a:solidFill>
                  <a:srgbClr val="0070C0"/>
                </a:solidFill>
              </a:rPr>
              <a:t> </a:t>
            </a:r>
            <a:r>
              <a:rPr lang="de-DE" sz="2000" b="1" dirty="0" err="1" smtClean="0">
                <a:solidFill>
                  <a:srgbClr val="0070C0"/>
                </a:solidFill>
              </a:rPr>
              <a:t>of</a:t>
            </a:r>
            <a:r>
              <a:rPr lang="de-DE" sz="2000" b="1" dirty="0" smtClean="0">
                <a:solidFill>
                  <a:srgbClr val="0070C0"/>
                </a:solidFill>
              </a:rPr>
              <a:t> </a:t>
            </a:r>
            <a:r>
              <a:rPr lang="de-DE" sz="2000" b="1" dirty="0" err="1" smtClean="0">
                <a:solidFill>
                  <a:srgbClr val="0070C0"/>
                </a:solidFill>
              </a:rPr>
              <a:t>predictions</a:t>
            </a:r>
            <a:r>
              <a:rPr lang="de-DE" sz="2000" b="1" dirty="0" smtClean="0">
                <a:solidFill>
                  <a:srgbClr val="0070C0"/>
                </a:solidFill>
              </a:rPr>
              <a:t> </a:t>
            </a:r>
            <a:r>
              <a:rPr lang="de-DE" sz="2000" b="1" dirty="0" err="1" smtClean="0">
                <a:solidFill>
                  <a:srgbClr val="0070C0"/>
                </a:solidFill>
              </a:rPr>
              <a:t>for</a:t>
            </a:r>
            <a:r>
              <a:rPr lang="de-DE" sz="2000" b="1" dirty="0" smtClean="0">
                <a:solidFill>
                  <a:srgbClr val="0070C0"/>
                </a:solidFill>
              </a:rPr>
              <a:t> </a:t>
            </a:r>
            <a:r>
              <a:rPr lang="de-DE" sz="2000" b="1" dirty="0" err="1" smtClean="0">
                <a:solidFill>
                  <a:srgbClr val="0070C0"/>
                </a:solidFill>
              </a:rPr>
              <a:t>plasmas</a:t>
            </a:r>
            <a:r>
              <a:rPr lang="de-DE" sz="2000" b="1" dirty="0" smtClean="0">
                <a:solidFill>
                  <a:srgbClr val="0070C0"/>
                </a:solidFill>
              </a:rPr>
              <a:t> in </a:t>
            </a:r>
            <a:r>
              <a:rPr lang="de-DE" sz="2000" b="1" dirty="0" err="1" smtClean="0">
                <a:solidFill>
                  <a:srgbClr val="0070C0"/>
                </a:solidFill>
              </a:rPr>
              <a:t>ITER‘s</a:t>
            </a:r>
            <a:r>
              <a:rPr lang="de-DE" sz="2000" b="1" dirty="0" smtClean="0">
                <a:solidFill>
                  <a:srgbClr val="0070C0"/>
                </a:solidFill>
              </a:rPr>
              <a:t>/</a:t>
            </a:r>
            <a:r>
              <a:rPr lang="de-DE" sz="2000" b="1" dirty="0" err="1" smtClean="0">
                <a:solidFill>
                  <a:srgbClr val="0070C0"/>
                </a:solidFill>
              </a:rPr>
              <a:t>DEMO‘s</a:t>
            </a:r>
            <a:r>
              <a:rPr lang="de-DE" sz="2000" b="1" dirty="0" smtClean="0">
                <a:solidFill>
                  <a:srgbClr val="0070C0"/>
                </a:solidFill>
              </a:rPr>
              <a:t> </a:t>
            </a:r>
          </a:p>
          <a:p>
            <a:pPr algn="ctr">
              <a:lnSpc>
                <a:spcPts val="2300"/>
              </a:lnSpc>
              <a:spcBef>
                <a:spcPts val="1150"/>
              </a:spcBef>
            </a:pPr>
            <a:r>
              <a:rPr lang="de-DE" sz="2000" b="1" dirty="0" err="1">
                <a:solidFill>
                  <a:srgbClr val="0070C0"/>
                </a:solidFill>
              </a:rPr>
              <a:t>a</a:t>
            </a:r>
            <a:r>
              <a:rPr lang="de-DE" sz="2000" b="1" dirty="0" err="1" smtClean="0">
                <a:solidFill>
                  <a:srgbClr val="0070C0"/>
                </a:solidFill>
              </a:rPr>
              <a:t>re</a:t>
            </a:r>
            <a:r>
              <a:rPr lang="de-DE" sz="2000" b="1" dirty="0" smtClean="0">
                <a:solidFill>
                  <a:srgbClr val="0070C0"/>
                </a:solidFill>
              </a:rPr>
              <a:t> </a:t>
            </a:r>
            <a:r>
              <a:rPr lang="de-DE" sz="2000" b="1" dirty="0" err="1" smtClean="0">
                <a:solidFill>
                  <a:srgbClr val="0070C0"/>
                </a:solidFill>
              </a:rPr>
              <a:t>enhanced</a:t>
            </a:r>
            <a:r>
              <a:rPr lang="de-DE" sz="2000" b="1" dirty="0" smtClean="0">
                <a:solidFill>
                  <a:srgbClr val="0070C0"/>
                </a:solidFill>
              </a:rPr>
              <a:t> </a:t>
            </a:r>
            <a:r>
              <a:rPr lang="de-DE" sz="2000" b="1" dirty="0" err="1" smtClean="0">
                <a:solidFill>
                  <a:srgbClr val="0070C0"/>
                </a:solidFill>
              </a:rPr>
              <a:t>considering</a:t>
            </a:r>
            <a:r>
              <a:rPr lang="de-DE" sz="2000" b="1" dirty="0" smtClean="0">
                <a:solidFill>
                  <a:srgbClr val="0070C0"/>
                </a:solidFill>
              </a:rPr>
              <a:t> </a:t>
            </a:r>
            <a:r>
              <a:rPr lang="de-DE" sz="2000" b="1" dirty="0" err="1" smtClean="0">
                <a:solidFill>
                  <a:srgbClr val="0070C0"/>
                </a:solidFill>
              </a:rPr>
              <a:t>the</a:t>
            </a:r>
            <a:r>
              <a:rPr lang="de-DE" sz="2000" b="1" dirty="0" smtClean="0">
                <a:solidFill>
                  <a:srgbClr val="0070C0"/>
                </a:solidFill>
              </a:rPr>
              <a:t> </a:t>
            </a:r>
            <a:r>
              <a:rPr lang="de-DE" sz="2000" b="1" dirty="0" err="1" smtClean="0">
                <a:solidFill>
                  <a:srgbClr val="0070C0"/>
                </a:solidFill>
              </a:rPr>
              <a:t>uncertainties</a:t>
            </a:r>
            <a:r>
              <a:rPr lang="de-DE" sz="2000" b="1" dirty="0" smtClean="0">
                <a:solidFill>
                  <a:srgbClr val="0070C0"/>
                </a:solidFill>
              </a:rPr>
              <a:t> </a:t>
            </a:r>
            <a:r>
              <a:rPr lang="de-DE" sz="2000" b="1" dirty="0" err="1" smtClean="0">
                <a:solidFill>
                  <a:srgbClr val="0070C0"/>
                </a:solidFill>
              </a:rPr>
              <a:t>for</a:t>
            </a:r>
            <a:r>
              <a:rPr lang="de-DE" sz="2000" b="1" dirty="0" smtClean="0">
                <a:solidFill>
                  <a:srgbClr val="0070C0"/>
                </a:solidFill>
              </a:rPr>
              <a:t> W-</a:t>
            </a:r>
            <a:r>
              <a:rPr lang="de-DE" sz="2000" b="1" dirty="0" err="1" smtClean="0">
                <a:solidFill>
                  <a:srgbClr val="0070C0"/>
                </a:solidFill>
              </a:rPr>
              <a:t>control</a:t>
            </a:r>
            <a:r>
              <a:rPr lang="de-DE" sz="2000" b="1" dirty="0" smtClean="0">
                <a:solidFill>
                  <a:srgbClr val="0070C0"/>
                </a:solidFill>
              </a:rPr>
              <a:t>.</a:t>
            </a:r>
            <a:endParaRPr lang="en-US" sz="2000" b="1" dirty="0" err="1" smtClean="0">
              <a:solidFill>
                <a:srgbClr val="0070C0"/>
              </a:solidFill>
            </a:endParaRPr>
          </a:p>
        </p:txBody>
      </p:sp>
      <p:sp>
        <p:nvSpPr>
          <p:cNvPr id="8" name="Textfeld 7"/>
          <p:cNvSpPr txBox="1"/>
          <p:nvPr/>
        </p:nvSpPr>
        <p:spPr>
          <a:xfrm>
            <a:off x="6159105" y="6257854"/>
            <a:ext cx="5336269"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Thomas Pütterich – Hybrid &amp; </a:t>
            </a:r>
            <a:r>
              <a:rPr lang="de-DE" sz="1600" dirty="0" err="1" smtClean="0"/>
              <a:t>baseline</a:t>
            </a:r>
            <a:r>
              <a:rPr lang="de-DE" sz="1600" dirty="0" smtClean="0"/>
              <a:t> </a:t>
            </a:r>
            <a:r>
              <a:rPr lang="de-DE" sz="1600" dirty="0" err="1" smtClean="0"/>
              <a:t>scenarios</a:t>
            </a:r>
            <a:r>
              <a:rPr lang="de-DE" sz="1600" dirty="0" smtClean="0"/>
              <a:t> </a:t>
            </a:r>
            <a:r>
              <a:rPr lang="de-DE" sz="1600" dirty="0" err="1" smtClean="0"/>
              <a:t>from</a:t>
            </a:r>
            <a:r>
              <a:rPr lang="de-DE" sz="1600" dirty="0" smtClean="0"/>
              <a:t> AUG</a:t>
            </a:r>
            <a:endParaRPr lang="de-DE" sz="1600" dirty="0" smtClean="0"/>
          </a:p>
        </p:txBody>
      </p:sp>
    </p:spTree>
    <p:extLst>
      <p:ext uri="{BB962C8B-B14F-4D97-AF65-F5344CB8AC3E}">
        <p14:creationId xmlns:p14="http://schemas.microsoft.com/office/powerpoint/2010/main" val="370404758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feld 23">
            <a:extLst>
              <a:ext uri="{FF2B5EF4-FFF2-40B4-BE49-F238E27FC236}">
                <a16:creationId xmlns:a16="http://schemas.microsoft.com/office/drawing/2014/main" id="{3E77C04F-0F41-4073-93C7-7AEFFED90354}"/>
              </a:ext>
            </a:extLst>
          </p:cNvPr>
          <p:cNvSpPr txBox="1"/>
          <p:nvPr/>
        </p:nvSpPr>
        <p:spPr>
          <a:xfrm>
            <a:off x="8457392" y="5829446"/>
            <a:ext cx="3628810" cy="845616"/>
          </a:xfrm>
          <a:prstGeom prst="rect">
            <a:avLst/>
          </a:prstGeom>
          <a:noFill/>
        </p:spPr>
        <p:txBody>
          <a:bodyPr wrap="square" lIns="0" tIns="0" rIns="0" bIns="0" rtlCol="0" anchor="t" anchorCtr="0">
            <a:spAutoFit/>
          </a:bodyPr>
          <a:lstStyle/>
          <a:p>
            <a:pPr algn="ctr">
              <a:lnSpc>
                <a:spcPct val="120000"/>
              </a:lnSpc>
              <a:spcBef>
                <a:spcPts val="1150"/>
              </a:spcBef>
            </a:pPr>
            <a:r>
              <a:rPr lang="de-DE" sz="2400" dirty="0" err="1">
                <a:sym typeface="Symbol" panose="05050102010706020507" pitchFamily="18" charset="2"/>
              </a:rPr>
              <a:t>With</a:t>
            </a:r>
            <a:r>
              <a:rPr lang="de-DE" sz="2400" dirty="0">
                <a:sym typeface="Symbol" panose="05050102010706020507" pitchFamily="18" charset="2"/>
              </a:rPr>
              <a:t> NBI, T</a:t>
            </a:r>
            <a:r>
              <a:rPr lang="de-DE" sz="2400" baseline="-25000" dirty="0">
                <a:sym typeface="Symbol" panose="05050102010706020507" pitchFamily="18" charset="2"/>
              </a:rPr>
              <a:t>e</a:t>
            </a:r>
            <a:r>
              <a:rPr lang="de-DE" sz="2400" dirty="0">
                <a:sym typeface="Symbol" panose="05050102010706020507" pitchFamily="18" charset="2"/>
              </a:rPr>
              <a:t> &lt; T</a:t>
            </a:r>
            <a:r>
              <a:rPr lang="de-DE" sz="2400" baseline="-25000" dirty="0">
                <a:sym typeface="Symbol" panose="05050102010706020507" pitchFamily="18" charset="2"/>
              </a:rPr>
              <a:t>i</a:t>
            </a:r>
            <a:r>
              <a:rPr lang="de-DE" sz="2400" dirty="0">
                <a:sym typeface="Symbol" panose="05050102010706020507" pitchFamily="18" charset="2"/>
              </a:rPr>
              <a:t>  10 </a:t>
            </a:r>
            <a:r>
              <a:rPr lang="de-DE" sz="2400" dirty="0" err="1">
                <a:sym typeface="Symbol" panose="05050102010706020507" pitchFamily="18" charset="2"/>
              </a:rPr>
              <a:t>keV</a:t>
            </a:r>
            <a:r>
              <a:rPr lang="de-DE" sz="2400" dirty="0">
                <a:sym typeface="Symbol" panose="05050102010706020507" pitchFamily="18" charset="2"/>
              </a:rPr>
              <a:t> </a:t>
            </a:r>
            <a:r>
              <a:rPr lang="de-DE" sz="2400" dirty="0" err="1">
                <a:sym typeface="Symbol" panose="05050102010706020507" pitchFamily="18" charset="2"/>
              </a:rPr>
              <a:t>achievable</a:t>
            </a:r>
            <a:r>
              <a:rPr lang="de-DE" sz="2400" dirty="0">
                <a:sym typeface="Symbol" panose="05050102010706020507" pitchFamily="18" charset="2"/>
              </a:rPr>
              <a:t> in AUG</a:t>
            </a:r>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669212" y="6518110"/>
            <a:ext cx="217349" cy="144000"/>
          </a:xfrm>
        </p:spPr>
        <p:txBody>
          <a:bodyPr/>
          <a:lstStyle/>
          <a:p>
            <a:fld id="{3B1A4699-952B-42DA-8DC4-38A59B49610C}" type="slidenum">
              <a:rPr lang="de-DE" smtClean="0"/>
              <a:pPr/>
              <a:t>9</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58813" y="441325"/>
            <a:ext cx="9612984" cy="782638"/>
          </a:xfrm>
        </p:spPr>
        <p:txBody>
          <a:bodyPr/>
          <a:lstStyle/>
          <a:p>
            <a:r>
              <a:rPr lang="en-GB" dirty="0" err="1"/>
              <a:t>T</a:t>
            </a:r>
            <a:r>
              <a:rPr lang="en-GB" baseline="-25000" dirty="0" err="1"/>
              <a:t>i</a:t>
            </a:r>
            <a:r>
              <a:rPr lang="en-GB" dirty="0"/>
              <a:t> clamping in W7-X and AUG (only electron heating)</a:t>
            </a:r>
            <a:br>
              <a:rPr lang="en-GB" dirty="0"/>
            </a:br>
            <a:endParaRPr lang="en-GB" dirty="0"/>
          </a:p>
        </p:txBody>
      </p:sp>
      <p:sp>
        <p:nvSpPr>
          <p:cNvPr id="10" name="Textfeld 9">
            <a:extLst>
              <a:ext uri="{FF2B5EF4-FFF2-40B4-BE49-F238E27FC236}">
                <a16:creationId xmlns:a16="http://schemas.microsoft.com/office/drawing/2014/main" id="{95A7D55B-8402-4746-B509-4C1A52238432}"/>
              </a:ext>
            </a:extLst>
          </p:cNvPr>
          <p:cNvSpPr txBox="1"/>
          <p:nvPr/>
        </p:nvSpPr>
        <p:spPr>
          <a:xfrm>
            <a:off x="3645986" y="1288917"/>
            <a:ext cx="769441"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a:sym typeface="Symbol" panose="05050102010706020507" pitchFamily="18" charset="2"/>
              </a:rPr>
              <a:t>W7-X</a:t>
            </a:r>
          </a:p>
        </p:txBody>
      </p:sp>
      <p:pic>
        <p:nvPicPr>
          <p:cNvPr id="2" name="Grafik 1">
            <a:extLst>
              <a:ext uri="{FF2B5EF4-FFF2-40B4-BE49-F238E27FC236}">
                <a16:creationId xmlns:a16="http://schemas.microsoft.com/office/drawing/2014/main" id="{EE3BE56A-48DF-4FEF-A47C-34E526B1B6F4}"/>
              </a:ext>
            </a:extLst>
          </p:cNvPr>
          <p:cNvPicPr>
            <a:picLocks noChangeAspect="1"/>
          </p:cNvPicPr>
          <p:nvPr/>
        </p:nvPicPr>
        <p:blipFill rotWithShape="1">
          <a:blip r:embed="rId2"/>
          <a:srcRect b="51185"/>
          <a:stretch/>
        </p:blipFill>
        <p:spPr>
          <a:xfrm>
            <a:off x="136995" y="1943779"/>
            <a:ext cx="3922253" cy="3348000"/>
          </a:xfrm>
          <a:prstGeom prst="rect">
            <a:avLst/>
          </a:prstGeom>
        </p:spPr>
      </p:pic>
      <p:pic>
        <p:nvPicPr>
          <p:cNvPr id="7" name="Grafik 6">
            <a:extLst>
              <a:ext uri="{FF2B5EF4-FFF2-40B4-BE49-F238E27FC236}">
                <a16:creationId xmlns:a16="http://schemas.microsoft.com/office/drawing/2014/main" id="{7A424758-099C-47C5-B4FC-F00118717A8B}"/>
              </a:ext>
            </a:extLst>
          </p:cNvPr>
          <p:cNvPicPr>
            <a:picLocks noChangeAspect="1"/>
          </p:cNvPicPr>
          <p:nvPr/>
        </p:nvPicPr>
        <p:blipFill rotWithShape="1">
          <a:blip r:embed="rId2"/>
          <a:srcRect t="50801" b="-142"/>
          <a:stretch/>
        </p:blipFill>
        <p:spPr>
          <a:xfrm>
            <a:off x="4211790" y="1907779"/>
            <a:ext cx="3922253" cy="3384000"/>
          </a:xfrm>
          <a:prstGeom prst="rect">
            <a:avLst/>
          </a:prstGeom>
        </p:spPr>
      </p:pic>
      <p:pic>
        <p:nvPicPr>
          <p:cNvPr id="8" name="Grafik 7">
            <a:extLst>
              <a:ext uri="{FF2B5EF4-FFF2-40B4-BE49-F238E27FC236}">
                <a16:creationId xmlns:a16="http://schemas.microsoft.com/office/drawing/2014/main" id="{9E44110D-125C-45CC-9284-17B3A1AC468A}"/>
              </a:ext>
            </a:extLst>
          </p:cNvPr>
          <p:cNvPicPr>
            <a:picLocks noChangeAspect="1"/>
          </p:cNvPicPr>
          <p:nvPr/>
        </p:nvPicPr>
        <p:blipFill rotWithShape="1">
          <a:blip r:embed="rId3"/>
          <a:srcRect t="51624" b="612"/>
          <a:stretch/>
        </p:blipFill>
        <p:spPr>
          <a:xfrm>
            <a:off x="8286586" y="1943779"/>
            <a:ext cx="3905414" cy="3276000"/>
          </a:xfrm>
          <a:prstGeom prst="rect">
            <a:avLst/>
          </a:prstGeom>
        </p:spPr>
      </p:pic>
      <p:cxnSp>
        <p:nvCxnSpPr>
          <p:cNvPr id="5" name="Gerader Verbinder 4">
            <a:extLst>
              <a:ext uri="{FF2B5EF4-FFF2-40B4-BE49-F238E27FC236}">
                <a16:creationId xmlns:a16="http://schemas.microsoft.com/office/drawing/2014/main" id="{42FC86A9-0396-493D-AC2E-807CF1D313DD}"/>
              </a:ext>
            </a:extLst>
          </p:cNvPr>
          <p:cNvCxnSpPr>
            <a:cxnSpLocks/>
          </p:cNvCxnSpPr>
          <p:nvPr/>
        </p:nvCxnSpPr>
        <p:spPr>
          <a:xfrm>
            <a:off x="8134043" y="786447"/>
            <a:ext cx="0" cy="4866208"/>
          </a:xfrm>
          <a:prstGeom prst="line">
            <a:avLst/>
          </a:prstGeom>
          <a:ln w="38100" cmpd="sng">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158C23A4-3309-4A97-837A-0FD08A914C32}"/>
              </a:ext>
            </a:extLst>
          </p:cNvPr>
          <p:cNvSpPr txBox="1"/>
          <p:nvPr/>
        </p:nvSpPr>
        <p:spPr>
          <a:xfrm>
            <a:off x="6096000" y="5323399"/>
            <a:ext cx="2789837" cy="256289"/>
          </a:xfrm>
          <a:prstGeom prst="rect">
            <a:avLst/>
          </a:prstGeom>
          <a:noFill/>
        </p:spPr>
        <p:txBody>
          <a:bodyPr wrap="square" lIns="0" tIns="0" rIns="0" bIns="0" rtlCol="0" anchor="t" anchorCtr="0">
            <a:spAutoFit/>
          </a:bodyPr>
          <a:lstStyle/>
          <a:p>
            <a:pPr algn="l">
              <a:lnSpc>
                <a:spcPts val="2300"/>
              </a:lnSpc>
              <a:spcBef>
                <a:spcPts val="1150"/>
              </a:spcBef>
            </a:pPr>
            <a:r>
              <a:rPr lang="de-DE" sz="1200" dirty="0" err="1">
                <a:sym typeface="Symbol" panose="05050102010706020507" pitchFamily="18" charset="2"/>
              </a:rPr>
              <a:t>Beurskens</a:t>
            </a:r>
            <a:r>
              <a:rPr lang="de-DE" sz="1200" dirty="0">
                <a:sym typeface="Symbol" panose="05050102010706020507" pitchFamily="18" charset="2"/>
              </a:rPr>
              <a:t> M et al., NF, 2021</a:t>
            </a:r>
          </a:p>
        </p:txBody>
      </p:sp>
      <p:sp>
        <p:nvSpPr>
          <p:cNvPr id="13" name="Textfeld 12">
            <a:extLst>
              <a:ext uri="{FF2B5EF4-FFF2-40B4-BE49-F238E27FC236}">
                <a16:creationId xmlns:a16="http://schemas.microsoft.com/office/drawing/2014/main" id="{F08AA4A6-DC4A-4F85-919E-65A63AC96060}"/>
              </a:ext>
            </a:extLst>
          </p:cNvPr>
          <p:cNvSpPr txBox="1"/>
          <p:nvPr/>
        </p:nvSpPr>
        <p:spPr>
          <a:xfrm>
            <a:off x="9265168" y="5279566"/>
            <a:ext cx="2789837" cy="256289"/>
          </a:xfrm>
          <a:prstGeom prst="rect">
            <a:avLst/>
          </a:prstGeom>
          <a:noFill/>
        </p:spPr>
        <p:txBody>
          <a:bodyPr wrap="square" lIns="0" tIns="0" rIns="0" bIns="0" rtlCol="0" anchor="t" anchorCtr="0">
            <a:spAutoFit/>
          </a:bodyPr>
          <a:lstStyle/>
          <a:p>
            <a:pPr algn="l">
              <a:lnSpc>
                <a:spcPts val="2300"/>
              </a:lnSpc>
              <a:spcBef>
                <a:spcPts val="1150"/>
              </a:spcBef>
            </a:pPr>
            <a:r>
              <a:rPr lang="de-DE" sz="1200" dirty="0" err="1">
                <a:sym typeface="Symbol" panose="05050102010706020507" pitchFamily="18" charset="2"/>
              </a:rPr>
              <a:t>Beurskens</a:t>
            </a:r>
            <a:r>
              <a:rPr lang="de-DE" sz="1200" dirty="0">
                <a:sym typeface="Symbol" panose="05050102010706020507" pitchFamily="18" charset="2"/>
              </a:rPr>
              <a:t> M et al., NF, 2022</a:t>
            </a:r>
          </a:p>
        </p:txBody>
      </p:sp>
      <p:sp>
        <p:nvSpPr>
          <p:cNvPr id="15" name="Textfeld 14">
            <a:extLst>
              <a:ext uri="{FF2B5EF4-FFF2-40B4-BE49-F238E27FC236}">
                <a16:creationId xmlns:a16="http://schemas.microsoft.com/office/drawing/2014/main" id="{03775832-FDB3-4D18-8A83-7CEB46C3880A}"/>
              </a:ext>
            </a:extLst>
          </p:cNvPr>
          <p:cNvSpPr txBox="1"/>
          <p:nvPr/>
        </p:nvSpPr>
        <p:spPr>
          <a:xfrm>
            <a:off x="251947" y="5976564"/>
            <a:ext cx="7757217" cy="743793"/>
          </a:xfrm>
          <a:prstGeom prst="rect">
            <a:avLst/>
          </a:prstGeom>
          <a:noFill/>
        </p:spPr>
        <p:txBody>
          <a:bodyPr wrap="square" lIns="0" tIns="0" rIns="0" bIns="0" rtlCol="0" anchor="t" anchorCtr="0">
            <a:spAutoFit/>
          </a:bodyPr>
          <a:lstStyle/>
          <a:p>
            <a:pPr algn="l">
              <a:lnSpc>
                <a:spcPts val="2300"/>
              </a:lnSpc>
              <a:spcBef>
                <a:spcPts val="1150"/>
              </a:spcBef>
            </a:pPr>
            <a:r>
              <a:rPr lang="de-DE" sz="2400" dirty="0" err="1">
                <a:sym typeface="Symbol" panose="05050102010706020507" pitchFamily="18" charset="2"/>
              </a:rPr>
              <a:t>Qualitatively</a:t>
            </a:r>
            <a:r>
              <a:rPr lang="de-DE" sz="2400" dirty="0">
                <a:sym typeface="Symbol" panose="05050102010706020507" pitchFamily="18" charset="2"/>
              </a:rPr>
              <a:t> </a:t>
            </a:r>
            <a:r>
              <a:rPr lang="de-DE" sz="2400" dirty="0" err="1">
                <a:sym typeface="Symbol" panose="05050102010706020507" pitchFamily="18" charset="2"/>
              </a:rPr>
              <a:t>similar</a:t>
            </a:r>
            <a:r>
              <a:rPr lang="de-DE" sz="2400" dirty="0">
                <a:sym typeface="Symbol" panose="05050102010706020507" pitchFamily="18" charset="2"/>
              </a:rPr>
              <a:t> </a:t>
            </a:r>
            <a:r>
              <a:rPr lang="de-DE" sz="2400" dirty="0" err="1">
                <a:sym typeface="Symbol" panose="05050102010706020507" pitchFamily="18" charset="2"/>
              </a:rPr>
              <a:t>behavior</a:t>
            </a:r>
            <a:r>
              <a:rPr lang="de-DE" sz="2400" dirty="0">
                <a:sym typeface="Symbol" panose="05050102010706020507" pitchFamily="18" charset="2"/>
              </a:rPr>
              <a:t> in WEST </a:t>
            </a:r>
            <a:r>
              <a:rPr lang="de-DE" sz="2400" dirty="0" err="1">
                <a:sym typeface="Symbol" panose="05050102010706020507" pitchFamily="18" charset="2"/>
              </a:rPr>
              <a:t>using</a:t>
            </a:r>
            <a:r>
              <a:rPr lang="de-DE" sz="2400" dirty="0">
                <a:sym typeface="Symbol" panose="05050102010706020507" pitchFamily="18" charset="2"/>
              </a:rPr>
              <a:t> LH-</a:t>
            </a:r>
            <a:r>
              <a:rPr lang="de-DE" sz="2400" dirty="0" err="1">
                <a:sym typeface="Symbol" panose="05050102010706020507" pitchFamily="18" charset="2"/>
              </a:rPr>
              <a:t>heating</a:t>
            </a:r>
            <a:r>
              <a:rPr lang="de-DE" sz="2400" dirty="0">
                <a:sym typeface="Symbol" panose="05050102010706020507" pitchFamily="18" charset="2"/>
              </a:rPr>
              <a:t>.</a:t>
            </a:r>
          </a:p>
          <a:p>
            <a:pPr algn="l">
              <a:lnSpc>
                <a:spcPts val="2300"/>
              </a:lnSpc>
              <a:spcBef>
                <a:spcPts val="1150"/>
              </a:spcBef>
            </a:pPr>
            <a:r>
              <a:rPr lang="de-DE" sz="2400" i="1" dirty="0">
                <a:sym typeface="Symbol" panose="05050102010706020507" pitchFamily="18" charset="2"/>
              </a:rPr>
              <a:t>P. Manas et al</a:t>
            </a:r>
            <a:r>
              <a:rPr lang="de-DE" sz="2400" dirty="0">
                <a:sym typeface="Symbol" panose="05050102010706020507" pitchFamily="18" charset="2"/>
              </a:rPr>
              <a:t>., </a:t>
            </a:r>
            <a:r>
              <a:rPr lang="de-DE" sz="2400" dirty="0" err="1">
                <a:sym typeface="Symbol" panose="05050102010706020507" pitchFamily="18" charset="2"/>
              </a:rPr>
              <a:t>accepted</a:t>
            </a:r>
            <a:r>
              <a:rPr lang="de-DE" sz="2400" dirty="0">
                <a:sym typeface="Symbol" panose="05050102010706020507" pitchFamily="18" charset="2"/>
              </a:rPr>
              <a:t> </a:t>
            </a:r>
            <a:r>
              <a:rPr lang="de-DE" sz="2400" dirty="0" err="1">
                <a:sym typeface="Symbol" panose="05050102010706020507" pitchFamily="18" charset="2"/>
              </a:rPr>
              <a:t>by</a:t>
            </a:r>
            <a:r>
              <a:rPr lang="de-DE" sz="2400" dirty="0">
                <a:sym typeface="Symbol" panose="05050102010706020507" pitchFamily="18" charset="2"/>
              </a:rPr>
              <a:t> NF</a:t>
            </a:r>
          </a:p>
        </p:txBody>
      </p:sp>
      <p:sp>
        <p:nvSpPr>
          <p:cNvPr id="16" name="Textfeld 15">
            <a:extLst>
              <a:ext uri="{FF2B5EF4-FFF2-40B4-BE49-F238E27FC236}">
                <a16:creationId xmlns:a16="http://schemas.microsoft.com/office/drawing/2014/main" id="{89386D6E-5498-4796-8DB5-8FB4659DB3F9}"/>
              </a:ext>
            </a:extLst>
          </p:cNvPr>
          <p:cNvSpPr txBox="1"/>
          <p:nvPr/>
        </p:nvSpPr>
        <p:spPr>
          <a:xfrm>
            <a:off x="9334662" y="1289272"/>
            <a:ext cx="2035814" cy="294953"/>
          </a:xfrm>
          <a:prstGeom prst="rect">
            <a:avLst/>
          </a:prstGeom>
          <a:noFill/>
        </p:spPr>
        <p:txBody>
          <a:bodyPr wrap="none" lIns="0" tIns="0" rIns="0" bIns="0" rtlCol="0" anchor="t" anchorCtr="0">
            <a:spAutoFit/>
          </a:bodyPr>
          <a:lstStyle/>
          <a:p>
            <a:pPr algn="l">
              <a:lnSpc>
                <a:spcPts val="2300"/>
              </a:lnSpc>
              <a:spcBef>
                <a:spcPts val="1150"/>
              </a:spcBef>
            </a:pPr>
            <a:r>
              <a:rPr lang="de-DE" sz="2400" b="1" dirty="0">
                <a:sym typeface="Symbol" panose="05050102010706020507" pitchFamily="18" charset="2"/>
              </a:rPr>
              <a:t>AUG</a:t>
            </a:r>
            <a:r>
              <a:rPr lang="de-DE" sz="2400" dirty="0">
                <a:sym typeface="Symbol" panose="05050102010706020507" pitchFamily="18" charset="2"/>
              </a:rPr>
              <a:t> (EC </a:t>
            </a:r>
            <a:r>
              <a:rPr lang="de-DE" sz="2400" dirty="0" err="1">
                <a:sym typeface="Symbol" panose="05050102010706020507" pitchFamily="18" charset="2"/>
              </a:rPr>
              <a:t>only</a:t>
            </a:r>
            <a:r>
              <a:rPr lang="de-DE" sz="2400" dirty="0">
                <a:sym typeface="Symbol" panose="05050102010706020507" pitchFamily="18" charset="2"/>
              </a:rPr>
              <a:t>)</a:t>
            </a:r>
          </a:p>
        </p:txBody>
      </p:sp>
      <p:sp>
        <p:nvSpPr>
          <p:cNvPr id="17" name="Textfeld 16">
            <a:extLst>
              <a:ext uri="{FF2B5EF4-FFF2-40B4-BE49-F238E27FC236}">
                <a16:creationId xmlns:a16="http://schemas.microsoft.com/office/drawing/2014/main" id="{A53A1569-1E24-4A03-A4EA-2156DEB48A07}"/>
              </a:ext>
            </a:extLst>
          </p:cNvPr>
          <p:cNvSpPr txBox="1"/>
          <p:nvPr/>
        </p:nvSpPr>
        <p:spPr>
          <a:xfrm>
            <a:off x="136994" y="2530926"/>
            <a:ext cx="798142" cy="294953"/>
          </a:xfrm>
          <a:prstGeom prst="rect">
            <a:avLst/>
          </a:prstGeom>
          <a:noFill/>
        </p:spPr>
        <p:txBody>
          <a:bodyPr wrap="square" lIns="0" tIns="0" rIns="0" bIns="0" rtlCol="0" anchor="t" anchorCtr="0">
            <a:spAutoFit/>
          </a:bodyPr>
          <a:lstStyle/>
          <a:p>
            <a:pPr algn="l">
              <a:lnSpc>
                <a:spcPts val="2300"/>
              </a:lnSpc>
              <a:spcBef>
                <a:spcPts val="1150"/>
              </a:spcBef>
            </a:pPr>
            <a:r>
              <a:rPr lang="de-DE" sz="2400" b="1" dirty="0">
                <a:sym typeface="Symbol" panose="05050102010706020507" pitchFamily="18" charset="2"/>
              </a:rPr>
              <a:t>T</a:t>
            </a:r>
            <a:r>
              <a:rPr lang="de-DE" sz="2400" b="1" baseline="-25000" dirty="0">
                <a:sym typeface="Symbol" panose="05050102010706020507" pitchFamily="18" charset="2"/>
              </a:rPr>
              <a:t>i</a:t>
            </a:r>
            <a:r>
              <a:rPr lang="de-DE" sz="2400" b="1" dirty="0">
                <a:solidFill>
                  <a:srgbClr val="9900FF"/>
                </a:solidFill>
                <a:sym typeface="Symbol" panose="05050102010706020507" pitchFamily="18" charset="2"/>
              </a:rPr>
              <a:t> </a:t>
            </a:r>
          </a:p>
        </p:txBody>
      </p:sp>
      <p:sp>
        <p:nvSpPr>
          <p:cNvPr id="18" name="Textfeld 17">
            <a:extLst>
              <a:ext uri="{FF2B5EF4-FFF2-40B4-BE49-F238E27FC236}">
                <a16:creationId xmlns:a16="http://schemas.microsoft.com/office/drawing/2014/main" id="{0D73A0DE-5A7D-4783-A3F3-9E42D6FD1E73}"/>
              </a:ext>
            </a:extLst>
          </p:cNvPr>
          <p:cNvSpPr txBox="1"/>
          <p:nvPr/>
        </p:nvSpPr>
        <p:spPr>
          <a:xfrm>
            <a:off x="1452522" y="5108361"/>
            <a:ext cx="798142" cy="294953"/>
          </a:xfrm>
          <a:prstGeom prst="rect">
            <a:avLst/>
          </a:prstGeom>
          <a:noFill/>
        </p:spPr>
        <p:txBody>
          <a:bodyPr wrap="square" lIns="0" tIns="0" rIns="0" bIns="0" rtlCol="0" anchor="t" anchorCtr="0">
            <a:spAutoFit/>
          </a:bodyPr>
          <a:lstStyle/>
          <a:p>
            <a:pPr algn="l">
              <a:lnSpc>
                <a:spcPts val="2300"/>
              </a:lnSpc>
              <a:spcBef>
                <a:spcPts val="1150"/>
              </a:spcBef>
            </a:pPr>
            <a:r>
              <a:rPr lang="de-DE" sz="2400" b="1" dirty="0">
                <a:sym typeface="Symbol" panose="05050102010706020507" pitchFamily="18" charset="2"/>
              </a:rPr>
              <a:t>T</a:t>
            </a:r>
            <a:r>
              <a:rPr lang="de-DE" sz="2400" b="1" baseline="-25000" dirty="0">
                <a:sym typeface="Symbol" panose="05050102010706020507" pitchFamily="18" charset="2"/>
              </a:rPr>
              <a:t>e</a:t>
            </a:r>
            <a:r>
              <a:rPr lang="de-DE" sz="2400" b="1" dirty="0">
                <a:solidFill>
                  <a:srgbClr val="9900FF"/>
                </a:solidFill>
                <a:sym typeface="Symbol" panose="05050102010706020507" pitchFamily="18" charset="2"/>
              </a:rPr>
              <a:t> </a:t>
            </a:r>
          </a:p>
        </p:txBody>
      </p:sp>
      <p:sp>
        <p:nvSpPr>
          <p:cNvPr id="19" name="Textfeld 18">
            <a:extLst>
              <a:ext uri="{FF2B5EF4-FFF2-40B4-BE49-F238E27FC236}">
                <a16:creationId xmlns:a16="http://schemas.microsoft.com/office/drawing/2014/main" id="{69881FC0-1ADA-4705-8487-6AEFA68D72F5}"/>
              </a:ext>
            </a:extLst>
          </p:cNvPr>
          <p:cNvSpPr txBox="1"/>
          <p:nvPr/>
        </p:nvSpPr>
        <p:spPr>
          <a:xfrm>
            <a:off x="11487490" y="5108362"/>
            <a:ext cx="798142" cy="294953"/>
          </a:xfrm>
          <a:prstGeom prst="rect">
            <a:avLst/>
          </a:prstGeom>
          <a:noFill/>
        </p:spPr>
        <p:txBody>
          <a:bodyPr wrap="square" lIns="0" tIns="0" rIns="0" bIns="0" rtlCol="0" anchor="t" anchorCtr="0">
            <a:spAutoFit/>
          </a:bodyPr>
          <a:lstStyle/>
          <a:p>
            <a:pPr algn="l">
              <a:lnSpc>
                <a:spcPts val="2300"/>
              </a:lnSpc>
              <a:spcBef>
                <a:spcPts val="1150"/>
              </a:spcBef>
            </a:pPr>
            <a:r>
              <a:rPr lang="de-DE" sz="2400" b="1" dirty="0">
                <a:sym typeface="Symbol" panose="05050102010706020507" pitchFamily="18" charset="2"/>
              </a:rPr>
              <a:t>T</a:t>
            </a:r>
            <a:r>
              <a:rPr lang="de-DE" sz="2400" b="1" baseline="-25000" dirty="0">
                <a:sym typeface="Symbol" panose="05050102010706020507" pitchFamily="18" charset="2"/>
              </a:rPr>
              <a:t>e</a:t>
            </a:r>
            <a:r>
              <a:rPr lang="de-DE" sz="2400" b="1" dirty="0">
                <a:solidFill>
                  <a:srgbClr val="9900FF"/>
                </a:solidFill>
                <a:sym typeface="Symbol" panose="05050102010706020507" pitchFamily="18" charset="2"/>
              </a:rPr>
              <a:t> </a:t>
            </a:r>
          </a:p>
        </p:txBody>
      </p:sp>
      <p:sp>
        <p:nvSpPr>
          <p:cNvPr id="20" name="Textfeld 19">
            <a:extLst>
              <a:ext uri="{FF2B5EF4-FFF2-40B4-BE49-F238E27FC236}">
                <a16:creationId xmlns:a16="http://schemas.microsoft.com/office/drawing/2014/main" id="{1E293CD8-663C-4C66-8D29-D28430D49820}"/>
              </a:ext>
            </a:extLst>
          </p:cNvPr>
          <p:cNvSpPr txBox="1"/>
          <p:nvPr/>
        </p:nvSpPr>
        <p:spPr>
          <a:xfrm>
            <a:off x="5416788" y="5163219"/>
            <a:ext cx="798142" cy="294953"/>
          </a:xfrm>
          <a:prstGeom prst="rect">
            <a:avLst/>
          </a:prstGeom>
          <a:noFill/>
        </p:spPr>
        <p:txBody>
          <a:bodyPr wrap="square" lIns="0" tIns="0" rIns="0" bIns="0" rtlCol="0" anchor="t" anchorCtr="0">
            <a:spAutoFit/>
          </a:bodyPr>
          <a:lstStyle/>
          <a:p>
            <a:pPr algn="l">
              <a:lnSpc>
                <a:spcPts val="2300"/>
              </a:lnSpc>
              <a:spcBef>
                <a:spcPts val="1150"/>
              </a:spcBef>
            </a:pPr>
            <a:r>
              <a:rPr lang="de-DE" sz="2400" b="1" dirty="0">
                <a:sym typeface="Symbol" panose="05050102010706020507" pitchFamily="18" charset="2"/>
              </a:rPr>
              <a:t>n</a:t>
            </a:r>
            <a:r>
              <a:rPr lang="de-DE" sz="2400" b="1" baseline="-25000" dirty="0">
                <a:sym typeface="Symbol" panose="05050102010706020507" pitchFamily="18" charset="2"/>
              </a:rPr>
              <a:t>e</a:t>
            </a:r>
            <a:r>
              <a:rPr lang="de-DE" sz="2400" b="1" dirty="0">
                <a:solidFill>
                  <a:srgbClr val="9900FF"/>
                </a:solidFill>
                <a:sym typeface="Symbol" panose="05050102010706020507" pitchFamily="18" charset="2"/>
              </a:rPr>
              <a:t> </a:t>
            </a:r>
          </a:p>
        </p:txBody>
      </p:sp>
      <p:sp>
        <p:nvSpPr>
          <p:cNvPr id="21" name="Textfeld 20">
            <a:extLst>
              <a:ext uri="{FF2B5EF4-FFF2-40B4-BE49-F238E27FC236}">
                <a16:creationId xmlns:a16="http://schemas.microsoft.com/office/drawing/2014/main" id="{965FC4D1-9696-438F-BBAD-54F670D2FA32}"/>
              </a:ext>
            </a:extLst>
          </p:cNvPr>
          <p:cNvSpPr txBox="1"/>
          <p:nvPr/>
        </p:nvSpPr>
        <p:spPr>
          <a:xfrm>
            <a:off x="8410366" y="2530926"/>
            <a:ext cx="798142" cy="294953"/>
          </a:xfrm>
          <a:prstGeom prst="rect">
            <a:avLst/>
          </a:prstGeom>
          <a:noFill/>
        </p:spPr>
        <p:txBody>
          <a:bodyPr wrap="square" lIns="0" tIns="0" rIns="0" bIns="0" rtlCol="0" anchor="t" anchorCtr="0">
            <a:spAutoFit/>
          </a:bodyPr>
          <a:lstStyle/>
          <a:p>
            <a:pPr algn="l">
              <a:lnSpc>
                <a:spcPts val="2300"/>
              </a:lnSpc>
              <a:spcBef>
                <a:spcPts val="1150"/>
              </a:spcBef>
            </a:pPr>
            <a:r>
              <a:rPr lang="de-DE" sz="2400" b="1" dirty="0">
                <a:sym typeface="Symbol" panose="05050102010706020507" pitchFamily="18" charset="2"/>
              </a:rPr>
              <a:t>T</a:t>
            </a:r>
            <a:r>
              <a:rPr lang="de-DE" sz="2400" b="1" baseline="-25000" dirty="0">
                <a:sym typeface="Symbol" panose="05050102010706020507" pitchFamily="18" charset="2"/>
              </a:rPr>
              <a:t>i</a:t>
            </a:r>
            <a:r>
              <a:rPr lang="de-DE" sz="2400" b="1" dirty="0">
                <a:solidFill>
                  <a:srgbClr val="9900FF"/>
                </a:solidFill>
                <a:sym typeface="Symbol" panose="05050102010706020507" pitchFamily="18" charset="2"/>
              </a:rPr>
              <a:t> </a:t>
            </a:r>
          </a:p>
        </p:txBody>
      </p:sp>
      <p:sp>
        <p:nvSpPr>
          <p:cNvPr id="22" name="Textfeld 21">
            <a:extLst>
              <a:ext uri="{FF2B5EF4-FFF2-40B4-BE49-F238E27FC236}">
                <a16:creationId xmlns:a16="http://schemas.microsoft.com/office/drawing/2014/main" id="{172A3877-73B1-4389-9D1F-7F051D5E28E2}"/>
              </a:ext>
            </a:extLst>
          </p:cNvPr>
          <p:cNvSpPr txBox="1"/>
          <p:nvPr/>
        </p:nvSpPr>
        <p:spPr>
          <a:xfrm>
            <a:off x="5297858" y="3072074"/>
            <a:ext cx="798142" cy="294953"/>
          </a:xfrm>
          <a:prstGeom prst="rect">
            <a:avLst/>
          </a:prstGeom>
          <a:noFill/>
        </p:spPr>
        <p:txBody>
          <a:bodyPr wrap="square" lIns="0" tIns="0" rIns="0" bIns="0" rtlCol="0" anchor="t" anchorCtr="0">
            <a:spAutoFit/>
          </a:bodyPr>
          <a:lstStyle/>
          <a:p>
            <a:pPr algn="l">
              <a:lnSpc>
                <a:spcPts val="2300"/>
              </a:lnSpc>
              <a:spcBef>
                <a:spcPts val="1150"/>
              </a:spcBef>
            </a:pPr>
            <a:r>
              <a:rPr lang="de-DE" sz="2400" b="1" dirty="0">
                <a:sym typeface="Symbol" panose="05050102010706020507" pitchFamily="18" charset="2"/>
              </a:rPr>
              <a:t>T</a:t>
            </a:r>
            <a:r>
              <a:rPr lang="de-DE" sz="2400" b="1" baseline="-25000" dirty="0">
                <a:sym typeface="Symbol" panose="05050102010706020507" pitchFamily="18" charset="2"/>
              </a:rPr>
              <a:t>e</a:t>
            </a:r>
            <a:r>
              <a:rPr lang="de-DE" sz="2400" b="1" dirty="0">
                <a:solidFill>
                  <a:srgbClr val="9900FF"/>
                </a:solidFill>
                <a:sym typeface="Symbol" panose="05050102010706020507" pitchFamily="18" charset="2"/>
              </a:rPr>
              <a:t> </a:t>
            </a:r>
          </a:p>
        </p:txBody>
      </p:sp>
      <p:sp>
        <p:nvSpPr>
          <p:cNvPr id="23" name="Textfeld 22">
            <a:extLst>
              <a:ext uri="{FF2B5EF4-FFF2-40B4-BE49-F238E27FC236}">
                <a16:creationId xmlns:a16="http://schemas.microsoft.com/office/drawing/2014/main" id="{013625B3-9E06-4C5C-B1E1-3F1BFF891E67}"/>
              </a:ext>
            </a:extLst>
          </p:cNvPr>
          <p:cNvSpPr txBox="1"/>
          <p:nvPr/>
        </p:nvSpPr>
        <p:spPr>
          <a:xfrm>
            <a:off x="4667163" y="4181926"/>
            <a:ext cx="798142" cy="294953"/>
          </a:xfrm>
          <a:prstGeom prst="rect">
            <a:avLst/>
          </a:prstGeom>
          <a:noFill/>
        </p:spPr>
        <p:txBody>
          <a:bodyPr wrap="square" lIns="0" tIns="0" rIns="0" bIns="0" rtlCol="0" anchor="t" anchorCtr="0">
            <a:spAutoFit/>
          </a:bodyPr>
          <a:lstStyle/>
          <a:p>
            <a:pPr algn="l">
              <a:lnSpc>
                <a:spcPts val="2300"/>
              </a:lnSpc>
              <a:spcBef>
                <a:spcPts val="1150"/>
              </a:spcBef>
            </a:pPr>
            <a:r>
              <a:rPr lang="de-DE" sz="2400" b="1" dirty="0">
                <a:sym typeface="Symbol" panose="05050102010706020507" pitchFamily="18" charset="2"/>
              </a:rPr>
              <a:t>T</a:t>
            </a:r>
            <a:r>
              <a:rPr lang="de-DE" sz="2400" b="1" baseline="-25000" dirty="0">
                <a:sym typeface="Symbol" panose="05050102010706020507" pitchFamily="18" charset="2"/>
              </a:rPr>
              <a:t>i</a:t>
            </a:r>
            <a:r>
              <a:rPr lang="de-DE" sz="2400" b="1" dirty="0">
                <a:solidFill>
                  <a:srgbClr val="9900FF"/>
                </a:solidFill>
                <a:sym typeface="Symbol" panose="05050102010706020507" pitchFamily="18" charset="2"/>
              </a:rPr>
              <a:t> </a:t>
            </a:r>
          </a:p>
        </p:txBody>
      </p:sp>
      <p:sp>
        <p:nvSpPr>
          <p:cNvPr id="25" name="Textfeld 24"/>
          <p:cNvSpPr txBox="1"/>
          <p:nvPr/>
        </p:nvSpPr>
        <p:spPr>
          <a:xfrm>
            <a:off x="8729264" y="6572880"/>
            <a:ext cx="3113032"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Joerg Stober– PWI </a:t>
            </a:r>
            <a:r>
              <a:rPr lang="de-DE" sz="1600" dirty="0" err="1" smtClean="0"/>
              <a:t>consequences</a:t>
            </a:r>
            <a:endParaRPr lang="de-DE" sz="1600" dirty="0" smtClean="0"/>
          </a:p>
        </p:txBody>
      </p:sp>
    </p:spTree>
    <p:extLst>
      <p:ext uri="{BB962C8B-B14F-4D97-AF65-F5344CB8AC3E}">
        <p14:creationId xmlns:p14="http://schemas.microsoft.com/office/powerpoint/2010/main" val="39763464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13" grpId="0"/>
      <p:bldP spid="15" grpId="0"/>
      <p:bldP spid="16" grpId="0"/>
      <p:bldP spid="19" grpId="0"/>
      <p:bldP spid="2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8.potx" id="{D2DA0B10-2BA6-44DB-B950-CA041C561F12}" vid="{43F89877-7080-4C7C-9358-8AA6B1915611}"/>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8.potx" id="{D2DA0B10-2BA6-44DB-B950-CA041C561F12}" vid="{E15EC6A8-E453-40A4-9111-A5809108EB1C}"/>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8</Template>
  <TotalTime>0</TotalTime>
  <Words>1516</Words>
  <Application>Microsoft Office PowerPoint</Application>
  <PresentationFormat>Breitbild</PresentationFormat>
  <Paragraphs>230</Paragraphs>
  <Slides>12</Slides>
  <Notes>4</Notes>
  <HiddenSlides>0</HiddenSlides>
  <MMClips>0</MMClips>
  <ScaleCrop>false</ScaleCrop>
  <HeadingPairs>
    <vt:vector size="8" baseType="variant">
      <vt:variant>
        <vt:lpstr>Verwendete Schriftarten</vt:lpstr>
      </vt:variant>
      <vt:variant>
        <vt:i4>8</vt:i4>
      </vt:variant>
      <vt:variant>
        <vt:lpstr>Design</vt:lpstr>
      </vt:variant>
      <vt:variant>
        <vt:i4>2</vt:i4>
      </vt:variant>
      <vt:variant>
        <vt:lpstr>Eingebettete OLE-Server</vt:lpstr>
      </vt:variant>
      <vt:variant>
        <vt:i4>1</vt:i4>
      </vt:variant>
      <vt:variant>
        <vt:lpstr>Folientitel</vt:lpstr>
      </vt:variant>
      <vt:variant>
        <vt:i4>12</vt:i4>
      </vt:variant>
    </vt:vector>
  </HeadingPairs>
  <TitlesOfParts>
    <vt:vector size="23" baseType="lpstr">
      <vt:lpstr>ＭＳ Ｐゴシック</vt:lpstr>
      <vt:lpstr>.SF NS Symbols Regular</vt:lpstr>
      <vt:lpstr>Arial</vt:lpstr>
      <vt:lpstr>Arial Narrow</vt:lpstr>
      <vt:lpstr>Calibri</vt:lpstr>
      <vt:lpstr>Symbol</vt:lpstr>
      <vt:lpstr>Wingdings</vt:lpstr>
      <vt:lpstr>Wingdings 3</vt:lpstr>
      <vt:lpstr>W7X</vt:lpstr>
      <vt:lpstr>IPP</vt:lpstr>
      <vt:lpstr>think-cell Folie</vt:lpstr>
      <vt:lpstr>Review: 31st European Fusion Programme Workshop – EFPW31 “Tungsten as first wall material: from ITER towards fusion power plants”</vt:lpstr>
      <vt:lpstr>EFPW – Covering physics and programmatic issues</vt:lpstr>
      <vt:lpstr>PowerPoint-Präsentation</vt:lpstr>
      <vt:lpstr>Plasma-Surface Interaction Processes</vt:lpstr>
      <vt:lpstr>WEST: Large variety of dusts found on the divertor </vt:lpstr>
      <vt:lpstr>PowerPoint-Präsentation</vt:lpstr>
      <vt:lpstr>Conclusions</vt:lpstr>
      <vt:lpstr>W-Control strategies are difficult to extrapolate, because</vt:lpstr>
      <vt:lpstr>Ti clamping in W7-X and AUG (only electron heating) </vt:lpstr>
      <vt:lpstr>PowerPoint-Präsentation</vt:lpstr>
      <vt:lpstr>Parallelization of ITER and DEMO and the role of ITER</vt:lpstr>
      <vt:lpstr>Gaps to be addressed</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s fueling and neutral penetration at Wendelstein 7-X</dc:title>
  <dc:creator>Thierry Kremeyer</dc:creator>
  <cp:lastModifiedBy>Thierry Kremeyer</cp:lastModifiedBy>
  <cp:revision>368</cp:revision>
  <dcterms:created xsi:type="dcterms:W3CDTF">2022-05-31T12:51:51Z</dcterms:created>
  <dcterms:modified xsi:type="dcterms:W3CDTF">2024-02-20T13:50:12Z</dcterms:modified>
</cp:coreProperties>
</file>